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ags/tag10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tags/tag103.xml" ContentType="application/vnd.openxmlformats-officedocument.presentationml.tags+xml"/>
  <Override PartName="/ppt/theme/themeOverride2.xml" ContentType="application/vnd.openxmlformats-officedocument.themeOverride+xml"/>
  <Override PartName="/ppt/tags/tag104.xml" ContentType="application/vnd.openxmlformats-officedocument.presentationml.tags+xml"/>
  <Override PartName="/ppt/tags/tag105.xml" ContentType="application/vnd.openxmlformats-officedocument.presentationml.tags+xml"/>
  <Override PartName="/ppt/theme/themeOverride3.xml" ContentType="application/vnd.openxmlformats-officedocument.themeOverr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Override4.xml" ContentType="application/vnd.openxmlformats-officedocument.themeOverr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Override5.xml" ContentType="application/vnd.openxmlformats-officedocument.themeOverride+xml"/>
  <Override PartName="/ppt/tags/tag112.xml" ContentType="application/vnd.openxmlformats-officedocument.presentationml.tags+xml"/>
  <Override PartName="/ppt/theme/themeOverride6.xml" ContentType="application/vnd.openxmlformats-officedocument.themeOverride+xml"/>
  <Override PartName="/ppt/tags/tag113.xml" ContentType="application/vnd.openxmlformats-officedocument.presentationml.tags+xml"/>
  <Override PartName="/ppt/theme/themeOverride7.xml" ContentType="application/vnd.openxmlformats-officedocument.themeOverride+xml"/>
  <Override PartName="/ppt/tags/tag114.xml" ContentType="application/vnd.openxmlformats-officedocument.presentationml.tags+xml"/>
  <Override PartName="/ppt/tags/tag115.xml" ContentType="application/vnd.openxmlformats-officedocument.presentationml.tags+xml"/>
  <Override PartName="/ppt/theme/themeOverride8.xml" ContentType="application/vnd.openxmlformats-officedocument.themeOverride+xml"/>
  <Override PartName="/ppt/tags/tag116.xml" ContentType="application/vnd.openxmlformats-officedocument.presentationml.tags+xml"/>
  <Override PartName="/ppt/theme/themeOverride9.xml" ContentType="application/vnd.openxmlformats-officedocument.themeOverride+xml"/>
  <Override PartName="/ppt/tags/tag117.xml" ContentType="application/vnd.openxmlformats-officedocument.presentationml.tags+xml"/>
  <Override PartName="/ppt/theme/themeOverride10.xml" ContentType="application/vnd.openxmlformats-officedocument.themeOverride+xml"/>
  <Override PartName="/ppt/tags/tag118.xml" ContentType="application/vnd.openxmlformats-officedocument.presentationml.tags+xml"/>
  <Override PartName="/ppt/theme/themeOverride11.xml" ContentType="application/vnd.openxmlformats-officedocument.themeOverride+xml"/>
  <Override PartName="/ppt/tags/tag119.xml" ContentType="application/vnd.openxmlformats-officedocument.presentationml.tags+xml"/>
  <Override PartName="/ppt/theme/themeOverride12.xml" ContentType="application/vnd.openxmlformats-officedocument.themeOverride+xml"/>
  <Override PartName="/ppt/tags/tag120.xml" ContentType="application/vnd.openxmlformats-officedocument.presentationml.tags+xml"/>
  <Override PartName="/ppt/theme/themeOverride13.xml" ContentType="application/vnd.openxmlformats-officedocument.themeOverride+xml"/>
  <Override PartName="/ppt/tags/tag121.xml" ContentType="application/vnd.openxmlformats-officedocument.presentationml.tags+xml"/>
  <Override PartName="/ppt/theme/themeOverride14.xml" ContentType="application/vnd.openxmlformats-officedocument.themeOverride+xml"/>
  <Override PartName="/ppt/tags/tag122.xml" ContentType="application/vnd.openxmlformats-officedocument.presentationml.tags+xml"/>
  <Override PartName="/ppt/theme/themeOverride15.xml" ContentType="application/vnd.openxmlformats-officedocument.themeOverride+xml"/>
  <Override PartName="/ppt/tags/tag123.xml" ContentType="application/vnd.openxmlformats-officedocument.presentationml.tags+xml"/>
  <Override PartName="/ppt/theme/themeOverride16.xml" ContentType="application/vnd.openxmlformats-officedocument.themeOverride+xml"/>
  <Override PartName="/ppt/tags/tag124.xml" ContentType="application/vnd.openxmlformats-officedocument.presentationml.tags+xml"/>
  <Override PartName="/ppt/theme/themeOverride17.xml" ContentType="application/vnd.openxmlformats-officedocument.themeOverride+xml"/>
  <Override PartName="/ppt/tags/tag125.xml" ContentType="application/vnd.openxmlformats-officedocument.presentationml.tags+xml"/>
  <Override PartName="/ppt/theme/themeOverride18.xml" ContentType="application/vnd.openxmlformats-officedocument.themeOverride+xml"/>
  <Override PartName="/ppt/tags/tag126.xml" ContentType="application/vnd.openxmlformats-officedocument.presentationml.tags+xml"/>
  <Override PartName="/ppt/theme/themeOverride19.xml" ContentType="application/vnd.openxmlformats-officedocument.themeOverride+xml"/>
  <Override PartName="/ppt/tags/tag127.xml" ContentType="application/vnd.openxmlformats-officedocument.presentationml.tags+xml"/>
  <Override PartName="/ppt/theme/themeOverride20.xml" ContentType="application/vnd.openxmlformats-officedocument.themeOverride+xml"/>
  <Override PartName="/ppt/tags/tag128.xml" ContentType="application/vnd.openxmlformats-officedocument.presentationml.tags+xml"/>
  <Override PartName="/ppt/theme/themeOverride21.xml" ContentType="application/vnd.openxmlformats-officedocument.themeOverride+xml"/>
  <Override PartName="/ppt/tags/tag129.xml" ContentType="application/vnd.openxmlformats-officedocument.presentationml.tags+xml"/>
  <Override PartName="/ppt/theme/themeOverride22.xml" ContentType="application/vnd.openxmlformats-officedocument.themeOverride+xml"/>
  <Override PartName="/ppt/tags/tag130.xml" ContentType="application/vnd.openxmlformats-officedocument.presentationml.tags+xml"/>
  <Override PartName="/ppt/theme/themeOverride23.xml" ContentType="application/vnd.openxmlformats-officedocument.themeOverride+xml"/>
  <Override PartName="/ppt/tags/tag131.xml" ContentType="application/vnd.openxmlformats-officedocument.presentationml.tags+xml"/>
  <Override PartName="/ppt/theme/themeOverride24.xml" ContentType="application/vnd.openxmlformats-officedocument.themeOverride+xml"/>
  <Override PartName="/ppt/tags/tag132.xml" ContentType="application/vnd.openxmlformats-officedocument.presentationml.tags+xml"/>
  <Override PartName="/ppt/theme/themeOverride25.xml" ContentType="application/vnd.openxmlformats-officedocument.themeOverride+xml"/>
  <Override PartName="/ppt/tags/tag133.xml" ContentType="application/vnd.openxmlformats-officedocument.presentationml.tags+xml"/>
  <Override PartName="/ppt/theme/themeOverride26.xml" ContentType="application/vnd.openxmlformats-officedocument.themeOverride+xml"/>
  <Override PartName="/ppt/tags/tag134.xml" ContentType="application/vnd.openxmlformats-officedocument.presentationml.tags+xml"/>
  <Override PartName="/ppt/theme/themeOverride27.xml" ContentType="application/vnd.openxmlformats-officedocument.themeOverride+xml"/>
  <Override PartName="/ppt/tags/tag135.xml" ContentType="application/vnd.openxmlformats-officedocument.presentationml.tags+xml"/>
  <Override PartName="/ppt/theme/themeOverride28.xml" ContentType="application/vnd.openxmlformats-officedocument.themeOverride+xml"/>
  <Override PartName="/ppt/tags/tag136.xml" ContentType="application/vnd.openxmlformats-officedocument.presentationml.tags+xml"/>
  <Override PartName="/ppt/theme/themeOverride29.xml" ContentType="application/vnd.openxmlformats-officedocument.themeOverride+xml"/>
  <Override PartName="/ppt/tags/tag137.xml" ContentType="application/vnd.openxmlformats-officedocument.presentationml.tags+xml"/>
  <Override PartName="/ppt/tags/tag138.xml" ContentType="application/vnd.openxmlformats-officedocument.presentationml.tags+xml"/>
  <Override PartName="/ppt/theme/themeOverride30.xml" ContentType="application/vnd.openxmlformats-officedocument.themeOverride+xml"/>
  <Override PartName="/ppt/tags/tag139.xml" ContentType="application/vnd.openxmlformats-officedocument.presentationml.tags+xml"/>
  <Override PartName="/ppt/tags/tag140.xml" ContentType="application/vnd.openxmlformats-officedocument.presentationml.tags+xml"/>
  <Override PartName="/ppt/theme/themeOverride31.xml" ContentType="application/vnd.openxmlformats-officedocument.themeOverride+xml"/>
  <Override PartName="/ppt/tags/tag141.xml" ContentType="application/vnd.openxmlformats-officedocument.presentationml.tags+xml"/>
  <Override PartName="/ppt/theme/themeOverride32.xml" ContentType="application/vnd.openxmlformats-officedocument.themeOverride+xml"/>
  <Override PartName="/ppt/tags/tag142.xml" ContentType="application/vnd.openxmlformats-officedocument.presentationml.tags+xml"/>
  <Override PartName="/ppt/theme/themeOverride33.xml" ContentType="application/vnd.openxmlformats-officedocument.themeOverride+xml"/>
  <Override PartName="/ppt/tags/tag143.xml" ContentType="application/vnd.openxmlformats-officedocument.presentationml.tags+xml"/>
  <Override PartName="/ppt/tags/tag144.xml" ContentType="application/vnd.openxmlformats-officedocument.presentationml.tags+xml"/>
  <Override PartName="/ppt/theme/themeOverride34.xml" ContentType="application/vnd.openxmlformats-officedocument.themeOverride+xml"/>
  <Override PartName="/ppt/tags/tag145.xml" ContentType="application/vnd.openxmlformats-officedocument.presentationml.tags+xml"/>
  <Override PartName="/ppt/tags/tag146.xml" ContentType="application/vnd.openxmlformats-officedocument.presentationml.tags+xml"/>
  <Override PartName="/ppt/theme/themeOverride35.xml" ContentType="application/vnd.openxmlformats-officedocument.themeOverride+xml"/>
  <Override PartName="/ppt/tags/tag147.xml" ContentType="application/vnd.openxmlformats-officedocument.presentationml.tags+xml"/>
  <Override PartName="/ppt/tags/tag148.xml" ContentType="application/vnd.openxmlformats-officedocument.presentationml.tags+xml"/>
  <Override PartName="/ppt/theme/themeOverride36.xml" ContentType="application/vnd.openxmlformats-officedocument.themeOverride+xml"/>
  <Override PartName="/ppt/tags/tag149.xml" ContentType="application/vnd.openxmlformats-officedocument.presentationml.tags+xml"/>
  <Override PartName="/ppt/theme/themeOverride37.xml" ContentType="application/vnd.openxmlformats-officedocument.themeOverride+xml"/>
  <Override PartName="/ppt/tags/tag150.xml" ContentType="application/vnd.openxmlformats-officedocument.presentationml.tags+xml"/>
  <Override PartName="/ppt/theme/themeOverride38.xml" ContentType="application/vnd.openxmlformats-officedocument.themeOverride+xml"/>
  <Override PartName="/ppt/tags/tag151.xml" ContentType="application/vnd.openxmlformats-officedocument.presentationml.tags+xml"/>
  <Override PartName="/ppt/theme/themeOverride39.xml" ContentType="application/vnd.openxmlformats-officedocument.themeOverride+xml"/>
  <Override PartName="/ppt/tags/tag152.xml" ContentType="application/vnd.openxmlformats-officedocument.presentationml.tags+xml"/>
  <Override PartName="/ppt/theme/themeOverride40.xml" ContentType="application/vnd.openxmlformats-officedocument.themeOverride+xml"/>
  <Override PartName="/ppt/tags/tag153.xml" ContentType="application/vnd.openxmlformats-officedocument.presentationml.tags+xml"/>
  <Override PartName="/ppt/theme/themeOverride41.xml" ContentType="application/vnd.openxmlformats-officedocument.themeOverride+xml"/>
  <Override PartName="/ppt/tags/tag154.xml" ContentType="application/vnd.openxmlformats-officedocument.presentationml.tags+xml"/>
  <Override PartName="/ppt/theme/themeOverride42.xml" ContentType="application/vnd.openxmlformats-officedocument.themeOverride+xml"/>
  <Override PartName="/ppt/tags/tag155.xml" ContentType="application/vnd.openxmlformats-officedocument.presentationml.tags+xml"/>
  <Override PartName="/ppt/theme/themeOverride43.xml" ContentType="application/vnd.openxmlformats-officedocument.themeOverride+xml"/>
  <Override PartName="/ppt/tags/tag156.xml" ContentType="application/vnd.openxmlformats-officedocument.presentationml.tags+xml"/>
  <Override PartName="/ppt/theme/themeOverride44.xml" ContentType="application/vnd.openxmlformats-officedocument.themeOverride+xml"/>
  <Override PartName="/ppt/tags/tag157.xml" ContentType="application/vnd.openxmlformats-officedocument.presentationml.tags+xml"/>
  <Override PartName="/ppt/theme/themeOverride45.xml" ContentType="application/vnd.openxmlformats-officedocument.themeOverride+xml"/>
  <Override PartName="/ppt/tags/tag158.xml" ContentType="application/vnd.openxmlformats-officedocument.presentationml.tags+xml"/>
  <Override PartName="/ppt/theme/themeOverride46.xml" ContentType="application/vnd.openxmlformats-officedocument.themeOverride+xml"/>
  <Override PartName="/ppt/tags/tag159.xml" ContentType="application/vnd.openxmlformats-officedocument.presentationml.tags+xml"/>
  <Override PartName="/ppt/theme/themeOverride47.xml" ContentType="application/vnd.openxmlformats-officedocument.themeOverride+xml"/>
  <Override PartName="/ppt/tags/tag160.xml" ContentType="application/vnd.openxmlformats-officedocument.presentationml.tags+xml"/>
  <Override PartName="/ppt/theme/themeOverride48.xml" ContentType="application/vnd.openxmlformats-officedocument.themeOverride+xml"/>
  <Override PartName="/ppt/tags/tag161.xml" ContentType="application/vnd.openxmlformats-officedocument.presentationml.tags+xml"/>
  <Override PartName="/ppt/theme/themeOverride49.xml" ContentType="application/vnd.openxmlformats-officedocument.themeOverride+xml"/>
  <Override PartName="/ppt/tags/tag162.xml" ContentType="application/vnd.openxmlformats-officedocument.presentationml.tags+xml"/>
  <Override PartName="/ppt/theme/themeOverride50.xml" ContentType="application/vnd.openxmlformats-officedocument.themeOverride+xml"/>
  <Override PartName="/ppt/tags/tag163.xml" ContentType="application/vnd.openxmlformats-officedocument.presentationml.tags+xml"/>
  <Override PartName="/ppt/theme/themeOverride51.xml" ContentType="application/vnd.openxmlformats-officedocument.themeOverride+xml"/>
  <Override PartName="/ppt/tags/tag164.xml" ContentType="application/vnd.openxmlformats-officedocument.presentationml.tags+xml"/>
  <Override PartName="/ppt/tags/tag165.xml" ContentType="application/vnd.openxmlformats-officedocument.presentationml.tags+xml"/>
  <Override PartName="/ppt/theme/themeOverride52.xml" ContentType="application/vnd.openxmlformats-officedocument.themeOverride+xml"/>
  <Override PartName="/ppt/tags/tag166.xml" ContentType="application/vnd.openxmlformats-officedocument.presentationml.tags+xml"/>
  <Override PartName="/ppt/tags/tag167.xml" ContentType="application/vnd.openxmlformats-officedocument.presentationml.tags+xml"/>
  <Override PartName="/ppt/theme/themeOverride53.xml" ContentType="application/vnd.openxmlformats-officedocument.themeOverride+xml"/>
  <Override PartName="/ppt/tags/tag168.xml" ContentType="application/vnd.openxmlformats-officedocument.presentationml.tags+xml"/>
  <Override PartName="/ppt/tags/tag169.xml" ContentType="application/vnd.openxmlformats-officedocument.presentationml.tags+xml"/>
  <Override PartName="/ppt/theme/themeOverride54.xml" ContentType="application/vnd.openxmlformats-officedocument.themeOverride+xml"/>
  <Override PartName="/ppt/tags/tag170.xml" ContentType="application/vnd.openxmlformats-officedocument.presentationml.tags+xml"/>
  <Override PartName="/ppt/tags/tag171.xml" ContentType="application/vnd.openxmlformats-officedocument.presentationml.tags+xml"/>
  <Override PartName="/ppt/theme/themeOverride55.xml" ContentType="application/vnd.openxmlformats-officedocument.themeOverride+xml"/>
  <Override PartName="/ppt/tags/tag172.xml" ContentType="application/vnd.openxmlformats-officedocument.presentationml.tags+xml"/>
  <Override PartName="/ppt/tags/tag173.xml" ContentType="application/vnd.openxmlformats-officedocument.presentationml.tags+xml"/>
  <Override PartName="/ppt/theme/themeOverride56.xml" ContentType="application/vnd.openxmlformats-officedocument.themeOverride+xml"/>
  <Override PartName="/ppt/tags/tag174.xml" ContentType="application/vnd.openxmlformats-officedocument.presentationml.tags+xml"/>
  <Override PartName="/ppt/theme/themeOverride57.xml" ContentType="application/vnd.openxmlformats-officedocument.themeOverride+xml"/>
  <Override PartName="/ppt/tags/tag175.xml" ContentType="application/vnd.openxmlformats-officedocument.presentationml.tags+xml"/>
  <Override PartName="/ppt/theme/themeOverride58.xml" ContentType="application/vnd.openxmlformats-officedocument.themeOverride+xml"/>
  <Override PartName="/ppt/tags/tag176.xml" ContentType="application/vnd.openxmlformats-officedocument.presentationml.tags+xml"/>
  <Override PartName="/ppt/tags/tag177.xml" ContentType="application/vnd.openxmlformats-officedocument.presentationml.tags+xml"/>
  <Override PartName="/ppt/theme/themeOverride59.xml" ContentType="application/vnd.openxmlformats-officedocument.themeOverrid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6.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heme/theme9.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2.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3.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4.xml" ContentType="application/vnd.openxmlformats-officedocument.presentationml.notesSlide+xml"/>
  <Override PartName="/ppt/tags/tag218.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31" r:id="rId2"/>
    <p:sldMasterId id="2147483778" r:id="rId3"/>
    <p:sldMasterId id="2147483810" r:id="rId4"/>
    <p:sldMasterId id="2147483823" r:id="rId5"/>
    <p:sldMasterId id="2147483882" r:id="rId6"/>
    <p:sldMasterId id="2147483896" r:id="rId7"/>
  </p:sldMasterIdLst>
  <p:notesMasterIdLst>
    <p:notesMasterId r:id="rId41"/>
  </p:notesMasterIdLst>
  <p:handoutMasterIdLst>
    <p:handoutMasterId r:id="rId42"/>
  </p:handoutMasterIdLst>
  <p:sldIdLst>
    <p:sldId id="256" r:id="rId8"/>
    <p:sldId id="258" r:id="rId9"/>
    <p:sldId id="4549" r:id="rId10"/>
    <p:sldId id="4548" r:id="rId11"/>
    <p:sldId id="4565" r:id="rId12"/>
    <p:sldId id="4566" r:id="rId13"/>
    <p:sldId id="4567" r:id="rId14"/>
    <p:sldId id="4550" r:id="rId15"/>
    <p:sldId id="4558" r:id="rId16"/>
    <p:sldId id="4559" r:id="rId17"/>
    <p:sldId id="4560" r:id="rId18"/>
    <p:sldId id="4571" r:id="rId19"/>
    <p:sldId id="4572" r:id="rId20"/>
    <p:sldId id="352" r:id="rId21"/>
    <p:sldId id="356" r:id="rId22"/>
    <p:sldId id="359" r:id="rId23"/>
    <p:sldId id="4563" r:id="rId24"/>
    <p:sldId id="334" r:id="rId25"/>
    <p:sldId id="332" r:id="rId26"/>
    <p:sldId id="335" r:id="rId27"/>
    <p:sldId id="277" r:id="rId28"/>
    <p:sldId id="4562" r:id="rId29"/>
    <p:sldId id="2667" r:id="rId30"/>
    <p:sldId id="4103" r:id="rId31"/>
    <p:sldId id="4132" r:id="rId32"/>
    <p:sldId id="4570" r:id="rId33"/>
    <p:sldId id="4568" r:id="rId34"/>
    <p:sldId id="738" r:id="rId35"/>
    <p:sldId id="4569" r:id="rId36"/>
    <p:sldId id="321" r:id="rId37"/>
    <p:sldId id="260" r:id="rId38"/>
    <p:sldId id="264" r:id="rId39"/>
    <p:sldId id="257" r:id="rId40"/>
  </p:sldIdLst>
  <p:sldSz cx="12192000" cy="6858000"/>
  <p:notesSz cx="6735763" cy="9866313"/>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87672664-75B3-4B22-914C-439A1FA4351D}">
          <p14:sldIdLst>
            <p14:sldId id="256"/>
            <p14:sldId id="258"/>
            <p14:sldId id="4549"/>
            <p14:sldId id="4548"/>
            <p14:sldId id="4565"/>
            <p14:sldId id="4566"/>
            <p14:sldId id="4567"/>
            <p14:sldId id="4550"/>
            <p14:sldId id="4558"/>
            <p14:sldId id="4559"/>
            <p14:sldId id="4560"/>
            <p14:sldId id="4571"/>
            <p14:sldId id="4572"/>
            <p14:sldId id="352"/>
            <p14:sldId id="356"/>
            <p14:sldId id="359"/>
            <p14:sldId id="4563"/>
            <p14:sldId id="334"/>
            <p14:sldId id="332"/>
            <p14:sldId id="335"/>
            <p14:sldId id="277"/>
            <p14:sldId id="4562"/>
            <p14:sldId id="2667"/>
            <p14:sldId id="4103"/>
            <p14:sldId id="4132"/>
            <p14:sldId id="4570"/>
            <p14:sldId id="4568"/>
            <p14:sldId id="738"/>
            <p14:sldId id="4569"/>
            <p14:sldId id="321"/>
            <p14:sldId id="260"/>
            <p14:sldId id="264"/>
            <p14:sldId id="257"/>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Drimmel" initials="CD" lastIdx="25" clrIdx="0">
    <p:extLst>
      <p:ext uri="{19B8F6BF-5375-455C-9EA6-DF929625EA0E}">
        <p15:presenceInfo xmlns:p15="http://schemas.microsoft.com/office/powerpoint/2012/main" userId="Christina Drimme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9999"/>
    <a:srgbClr val="000000"/>
    <a:srgbClr val="E3E3E3"/>
    <a:srgbClr val="F0F0F0"/>
    <a:srgbClr val="B9B9B9"/>
    <a:srgbClr val="46968C"/>
    <a:srgbClr val="666666"/>
    <a:srgbClr val="5087DC"/>
    <a:srgbClr val="7DC896"/>
    <a:srgbClr val="F7B9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677" autoAdjust="0"/>
  </p:normalViewPr>
  <p:slideViewPr>
    <p:cSldViewPr snapToGrid="0" showGuides="1">
      <p:cViewPr varScale="1">
        <p:scale>
          <a:sx n="100" d="100"/>
          <a:sy n="100" d="100"/>
        </p:scale>
        <p:origin x="84" y="312"/>
      </p:cViewPr>
      <p:guideLst>
        <p:guide pos="3840"/>
        <p:guide orient="horz"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258"/>
    </p:cViewPr>
  </p:sorterViewPr>
  <p:notesViewPr>
    <p:cSldViewPr snapToGrid="0" showGuides="1">
      <p:cViewPr varScale="1">
        <p:scale>
          <a:sx n="83" d="100"/>
          <a:sy n="83" d="100"/>
        </p:scale>
        <p:origin x="2958" y="84"/>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6.xml" Id="rId13" /><Relationship Type="http://schemas.openxmlformats.org/officeDocument/2006/relationships/slide" Target="slides/slide11.xml" Id="rId18" /><Relationship Type="http://schemas.openxmlformats.org/officeDocument/2006/relationships/slide" Target="slides/slide19.xml" Id="rId26" /><Relationship Type="http://schemas.openxmlformats.org/officeDocument/2006/relationships/slide" Target="slides/slide32.xml" Id="rId39" /><Relationship Type="http://schemas.openxmlformats.org/officeDocument/2006/relationships/slide" Target="slides/slide14.xml" Id="rId21" /><Relationship Type="http://schemas.openxmlformats.org/officeDocument/2006/relationships/slide" Target="slides/slide27.xml" Id="rId34" /><Relationship Type="http://schemas.openxmlformats.org/officeDocument/2006/relationships/handoutMaster" Target="handoutMasters/handoutMaster1.xml" Id="rId42" /><Relationship Type="http://schemas.openxmlformats.org/officeDocument/2006/relationships/theme" Target="theme/theme1.xml" Id="rId47" /><Relationship Type="http://schemas.openxmlformats.org/officeDocument/2006/relationships/slideMaster" Target="slideMasters/slideMaster7.xml" Id="rId7" /><Relationship Type="http://schemas.openxmlformats.org/officeDocument/2006/relationships/slideMaster" Target="slideMasters/slideMaster2.xml" Id="rId2" /><Relationship Type="http://schemas.openxmlformats.org/officeDocument/2006/relationships/slide" Target="slides/slide9.xml" Id="rId16" /><Relationship Type="http://schemas.openxmlformats.org/officeDocument/2006/relationships/slide" Target="slides/slide22.xml" Id="rId29" /><Relationship Type="http://schemas.openxmlformats.org/officeDocument/2006/relationships/slideMaster" Target="slideMasters/slideMaster1.xml" Id="rId1" /><Relationship Type="http://schemas.openxmlformats.org/officeDocument/2006/relationships/slideMaster" Target="slideMasters/slideMaster6.xml" Id="rId6" /><Relationship Type="http://schemas.openxmlformats.org/officeDocument/2006/relationships/slide" Target="slides/slide4.xml" Id="rId11" /><Relationship Type="http://schemas.openxmlformats.org/officeDocument/2006/relationships/slide" Target="slides/slide17.xml" Id="rId24" /><Relationship Type="http://schemas.openxmlformats.org/officeDocument/2006/relationships/slide" Target="slides/slide25.xml" Id="rId32" /><Relationship Type="http://schemas.openxmlformats.org/officeDocument/2006/relationships/slide" Target="slides/slide30.xml" Id="rId37" /><Relationship Type="http://schemas.openxmlformats.org/officeDocument/2006/relationships/slide" Target="slides/slide33.xml" Id="rId40" /><Relationship Type="http://schemas.openxmlformats.org/officeDocument/2006/relationships/presProps" Target="presProps.xml" Id="rId45" /><Relationship Type="http://schemas.openxmlformats.org/officeDocument/2006/relationships/slideMaster" Target="slideMasters/slideMaster5.xml" Id="rId5" /><Relationship Type="http://schemas.openxmlformats.org/officeDocument/2006/relationships/slide" Target="slides/slide8.xml" Id="rId15" /><Relationship Type="http://schemas.openxmlformats.org/officeDocument/2006/relationships/slide" Target="slides/slide16.xml" Id="rId23" /><Relationship Type="http://schemas.openxmlformats.org/officeDocument/2006/relationships/slide" Target="slides/slide21.xml" Id="rId28" /><Relationship Type="http://schemas.openxmlformats.org/officeDocument/2006/relationships/slide" Target="slides/slide29.xml" Id="rId36" /><Relationship Type="http://schemas.openxmlformats.org/officeDocument/2006/relationships/slide" Target="slides/slide3.xml" Id="rId10" /><Relationship Type="http://schemas.openxmlformats.org/officeDocument/2006/relationships/slide" Target="slides/slide12.xml" Id="rId19" /><Relationship Type="http://schemas.openxmlformats.org/officeDocument/2006/relationships/slide" Target="slides/slide24.xml" Id="rId31" /><Relationship Type="http://schemas.openxmlformats.org/officeDocument/2006/relationships/commentAuthors" Target="commentAuthors.xml" Id="rId44" /><Relationship Type="http://schemas.openxmlformats.org/officeDocument/2006/relationships/slideMaster" Target="slideMasters/slideMaster4.xml" Id="rId4" /><Relationship Type="http://schemas.openxmlformats.org/officeDocument/2006/relationships/slide" Target="slides/slide2.xml" Id="rId9" /><Relationship Type="http://schemas.openxmlformats.org/officeDocument/2006/relationships/slide" Target="slides/slide7.xml" Id="rId14" /><Relationship Type="http://schemas.openxmlformats.org/officeDocument/2006/relationships/slide" Target="slides/slide15.xml" Id="rId22" /><Relationship Type="http://schemas.openxmlformats.org/officeDocument/2006/relationships/slide" Target="slides/slide20.xml" Id="rId27" /><Relationship Type="http://schemas.openxmlformats.org/officeDocument/2006/relationships/slide" Target="slides/slide23.xml" Id="rId30" /><Relationship Type="http://schemas.openxmlformats.org/officeDocument/2006/relationships/slide" Target="slides/slide28.xml" Id="rId35" /><Relationship Type="http://schemas.openxmlformats.org/officeDocument/2006/relationships/tags" Target="tags/tag1.xml" Id="rId43" /><Relationship Type="http://schemas.openxmlformats.org/officeDocument/2006/relationships/tableStyles" Target="tableStyles.xml" Id="rId48" /><Relationship Type="http://schemas.openxmlformats.org/officeDocument/2006/relationships/slide" Target="slides/slide1.xml" Id="rId8" /><Relationship Type="http://schemas.openxmlformats.org/officeDocument/2006/relationships/slideMaster" Target="slideMasters/slideMaster3.xml" Id="rId3" /><Relationship Type="http://schemas.openxmlformats.org/officeDocument/2006/relationships/slide" Target="slides/slide5.xml" Id="rId12" /><Relationship Type="http://schemas.openxmlformats.org/officeDocument/2006/relationships/slide" Target="slides/slide10.xml" Id="rId17" /><Relationship Type="http://schemas.openxmlformats.org/officeDocument/2006/relationships/slide" Target="slides/slide18.xml" Id="rId25" /><Relationship Type="http://schemas.openxmlformats.org/officeDocument/2006/relationships/slide" Target="slides/slide26.xml" Id="rId33" /><Relationship Type="http://schemas.openxmlformats.org/officeDocument/2006/relationships/slide" Target="slides/slide31.xml" Id="rId38" /><Relationship Type="http://schemas.openxmlformats.org/officeDocument/2006/relationships/viewProps" Target="viewProps.xml" Id="rId46" /><Relationship Type="http://schemas.openxmlformats.org/officeDocument/2006/relationships/slide" Target="slides/slide13.xml" Id="rId20" /><Relationship Type="http://schemas.openxmlformats.org/officeDocument/2006/relationships/notesMaster" Target="notesMasters/notesMaster1.xml" Id="rId41" /><Relationship Type="http://schemas.openxmlformats.org/officeDocument/2006/relationships/customXml" Target="/customXML/item.xml" Id="imanage.xml"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heme" Target="../theme/theme9.xml"/><Relationship Id="rId5" Type="http://schemas.openxmlformats.org/officeDocument/2006/relationships/tags" Target="../tags/tag187.xml"/><Relationship Id="rId4" Type="http://schemas.openxmlformats.org/officeDocument/2006/relationships/tags" Target="../tags/tag18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3BD9BC6-F39B-4D56-B809-ED02790EBF38}"/>
              </a:ext>
            </a:extLst>
          </p:cNvPr>
          <p:cNvSpPr>
            <a:spLocks noGrp="1"/>
          </p:cNvSpPr>
          <p:nvPr>
            <p:ph type="hdr" sz="quarter"/>
            <p:custDataLst>
              <p:tags r:id="rId2"/>
            </p:custDataLst>
          </p:nvPr>
        </p:nvSpPr>
        <p:spPr>
          <a:xfrm>
            <a:off x="1" y="0"/>
            <a:ext cx="2919413" cy="495300"/>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D1156740-E5F1-48DA-A541-859296369736}"/>
              </a:ext>
            </a:extLst>
          </p:cNvPr>
          <p:cNvSpPr>
            <a:spLocks noGrp="1"/>
          </p:cNvSpPr>
          <p:nvPr>
            <p:ph type="dt" sz="quarter" idx="1"/>
            <p:custDataLst>
              <p:tags r:id="rId3"/>
            </p:custDataLst>
          </p:nvPr>
        </p:nvSpPr>
        <p:spPr>
          <a:xfrm>
            <a:off x="3814763" y="0"/>
            <a:ext cx="2919412" cy="495300"/>
          </a:xfrm>
          <a:prstGeom prst="rect">
            <a:avLst/>
          </a:prstGeom>
        </p:spPr>
        <p:txBody>
          <a:bodyPr vert="horz" lIns="91440" tIns="45720" rIns="91440" bIns="45720" rtlCol="0"/>
          <a:lstStyle>
            <a:lvl1pPr algn="r">
              <a:defRPr sz="1200"/>
            </a:lvl1pPr>
          </a:lstStyle>
          <a:p>
            <a:fld id="{812450C4-45E3-4257-A170-96BDD66A2626}" type="datetime1">
              <a:rPr lang="en-GB" sz="1050" smtClean="0"/>
              <a:t>12/09/2022</a:t>
            </a:fld>
            <a:endParaRPr lang="en-GB" sz="1050" dirty="0"/>
          </a:p>
        </p:txBody>
      </p:sp>
      <p:sp>
        <p:nvSpPr>
          <p:cNvPr id="4" name="Footer Placeholder 3">
            <a:extLst>
              <a:ext uri="{FF2B5EF4-FFF2-40B4-BE49-F238E27FC236}">
                <a16:creationId xmlns:a16="http://schemas.microsoft.com/office/drawing/2014/main" id="{506635D5-91BE-434A-BB63-D602B50E545F}"/>
              </a:ext>
            </a:extLst>
          </p:cNvPr>
          <p:cNvSpPr>
            <a:spLocks noGrp="1"/>
          </p:cNvSpPr>
          <p:nvPr>
            <p:ph type="ftr" sz="quarter" idx="2"/>
            <p:custDataLst>
              <p:tags r:id="rId4"/>
            </p:custDataLst>
          </p:nvPr>
        </p:nvSpPr>
        <p:spPr>
          <a:xfrm>
            <a:off x="1" y="9371014"/>
            <a:ext cx="2919413" cy="4953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E052108E-B612-40F6-836E-257173D7628B}"/>
              </a:ext>
            </a:extLst>
          </p:cNvPr>
          <p:cNvSpPr>
            <a:spLocks noGrp="1"/>
          </p:cNvSpPr>
          <p:nvPr>
            <p:ph type="sldNum" sz="quarter" idx="3"/>
            <p:custDataLst>
              <p:tags r:id="rId5"/>
            </p:custDataLst>
          </p:nvPr>
        </p:nvSpPr>
        <p:spPr>
          <a:xfrm>
            <a:off x="3814763" y="9371014"/>
            <a:ext cx="2919412" cy="495300"/>
          </a:xfrm>
          <a:prstGeom prst="rect">
            <a:avLst/>
          </a:prstGeom>
        </p:spPr>
        <p:txBody>
          <a:bodyPr vert="horz" lIns="91440" tIns="45720" rIns="91440" bIns="45720" rtlCol="0" anchor="b"/>
          <a:lstStyle>
            <a:lvl1pPr algn="r">
              <a:defRPr sz="1200"/>
            </a:lvl1pPr>
          </a:lstStyle>
          <a:p>
            <a:fld id="{5A0C6185-49F2-4119-A3A2-22219FB8B1ED}" type="slidenum">
              <a:rPr lang="en-GB" sz="1050" smtClean="0"/>
              <a:t>‹Nr.›</a:t>
            </a:fld>
            <a:endParaRPr lang="en-GB" sz="1050" dirty="0"/>
          </a:p>
        </p:txBody>
      </p:sp>
    </p:spTree>
    <p:extLst>
      <p:ext uri="{BB962C8B-B14F-4D97-AF65-F5344CB8AC3E}">
        <p14:creationId xmlns:p14="http://schemas.microsoft.com/office/powerpoint/2010/main" val="129512827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heme" Target="../theme/theme8.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a:extLst>
              <a:ext uri="{FF2B5EF4-FFF2-40B4-BE49-F238E27FC236}">
                <a16:creationId xmlns:a16="http://schemas.microsoft.com/office/drawing/2014/main" id="{91726A61-FBAB-4D49-A4C6-985E201E9186}"/>
              </a:ext>
            </a:extLst>
          </p:cNvPr>
          <p:cNvSpPr>
            <a:spLocks noGrp="1"/>
          </p:cNvSpPr>
          <p:nvPr>
            <p:ph type="hdr" sz="quarter"/>
            <p:custDataLst>
              <p:tags r:id="rId2"/>
            </p:custDataLst>
          </p:nvPr>
        </p:nvSpPr>
        <p:spPr>
          <a:xfrm>
            <a:off x="1" y="0"/>
            <a:ext cx="2919413" cy="495300"/>
          </a:xfrm>
          <a:prstGeom prst="rect">
            <a:avLst/>
          </a:prstGeom>
        </p:spPr>
        <p:txBody>
          <a:bodyPr vert="horz" lIns="91440" tIns="45720" rIns="91440" bIns="45720" rtlCol="0"/>
          <a:lstStyle>
            <a:lvl1pPr algn="l">
              <a:defRPr lang="en-GB" dirty="0"/>
            </a:lvl1pPr>
          </a:lstStyle>
          <a:p>
            <a:endParaRPr lang="de-AT"/>
          </a:p>
        </p:txBody>
      </p:sp>
      <p:sp>
        <p:nvSpPr>
          <p:cNvPr id="9" name="Slide Image Placeholder 8">
            <a:extLst>
              <a:ext uri="{FF2B5EF4-FFF2-40B4-BE49-F238E27FC236}">
                <a16:creationId xmlns:a16="http://schemas.microsoft.com/office/drawing/2014/main" id="{84CA69E0-DA0B-46AC-9B17-7830C97CC929}"/>
              </a:ext>
            </a:extLst>
          </p:cNvPr>
          <p:cNvSpPr>
            <a:spLocks noGrp="1" noRot="1" noChangeAspect="1"/>
          </p:cNvSpPr>
          <p:nvPr>
            <p:ph type="sldImg" idx="2"/>
            <p:custDataLst>
              <p:tags r:id="rId3"/>
            </p:custDataLst>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GB"/>
          </a:p>
        </p:txBody>
      </p:sp>
      <p:sp>
        <p:nvSpPr>
          <p:cNvPr id="10" name="Footer Placeholder 9">
            <a:extLst>
              <a:ext uri="{FF2B5EF4-FFF2-40B4-BE49-F238E27FC236}">
                <a16:creationId xmlns:a16="http://schemas.microsoft.com/office/drawing/2014/main" id="{2B12570D-D3CB-4A8C-AF2B-0B59331B6F3F}"/>
              </a:ext>
            </a:extLst>
          </p:cNvPr>
          <p:cNvSpPr>
            <a:spLocks noGrp="1"/>
          </p:cNvSpPr>
          <p:nvPr>
            <p:ph type="ftr" sz="quarter" idx="4"/>
            <p:custDataLst>
              <p:tags r:id="rId4"/>
            </p:custDataLst>
          </p:nvPr>
        </p:nvSpPr>
        <p:spPr>
          <a:xfrm>
            <a:off x="1" y="9371014"/>
            <a:ext cx="2919413" cy="495300"/>
          </a:xfrm>
          <a:prstGeom prst="rect">
            <a:avLst/>
          </a:prstGeom>
        </p:spPr>
        <p:txBody>
          <a:bodyPr vert="horz" lIns="91440" tIns="45720" rIns="91440" bIns="45720" rtlCol="0" anchor="b"/>
          <a:lstStyle>
            <a:lvl1pPr algn="l">
              <a:defRPr lang="en-GB" dirty="0"/>
            </a:lvl1pPr>
          </a:lstStyle>
          <a:p>
            <a:endParaRPr lang="de-AT"/>
          </a:p>
        </p:txBody>
      </p:sp>
      <p:sp>
        <p:nvSpPr>
          <p:cNvPr id="11" name="Slide Number Placeholder 10">
            <a:extLst>
              <a:ext uri="{FF2B5EF4-FFF2-40B4-BE49-F238E27FC236}">
                <a16:creationId xmlns:a16="http://schemas.microsoft.com/office/drawing/2014/main" id="{9590486F-3FF8-40B5-B81B-8EAB9C58909A}"/>
              </a:ext>
            </a:extLst>
          </p:cNvPr>
          <p:cNvSpPr>
            <a:spLocks noGrp="1"/>
          </p:cNvSpPr>
          <p:nvPr>
            <p:ph type="sldNum" sz="quarter" idx="5"/>
            <p:custDataLst>
              <p:tags r:id="rId5"/>
            </p:custDataLst>
          </p:nvPr>
        </p:nvSpPr>
        <p:spPr>
          <a:xfrm>
            <a:off x="3814763" y="9371014"/>
            <a:ext cx="2919412" cy="495300"/>
          </a:xfrm>
          <a:prstGeom prst="rect">
            <a:avLst/>
          </a:prstGeom>
        </p:spPr>
        <p:txBody>
          <a:bodyPr vert="horz" lIns="91440" tIns="45720" rIns="91440" bIns="45720" rtlCol="0" anchor="b"/>
          <a:lstStyle>
            <a:lvl1pPr algn="r">
              <a:defRPr sz="1000"/>
            </a:lvl1pPr>
          </a:lstStyle>
          <a:p>
            <a:fld id="{813726C3-A8BD-4E9B-9306-69882C0358EA}" type="slidenum">
              <a:rPr lang="en-GB" smtClean="0"/>
              <a:pPr/>
              <a:t>‹Nr.›</a:t>
            </a:fld>
            <a:endParaRPr lang="en-GB" dirty="0"/>
          </a:p>
        </p:txBody>
      </p:sp>
      <p:sp>
        <p:nvSpPr>
          <p:cNvPr id="12" name="Notes Placeholder 11">
            <a:extLst>
              <a:ext uri="{FF2B5EF4-FFF2-40B4-BE49-F238E27FC236}">
                <a16:creationId xmlns:a16="http://schemas.microsoft.com/office/drawing/2014/main" id="{677759F5-980C-48D3-AD8F-51A33822CD34}"/>
              </a:ext>
            </a:extLst>
          </p:cNvPr>
          <p:cNvSpPr>
            <a:spLocks noGrp="1"/>
          </p:cNvSpPr>
          <p:nvPr>
            <p:ph type="body" sz="quarter" idx="3"/>
            <p:custDataLst>
              <p:tags r:id="rId6"/>
            </p:custDataLst>
          </p:nvPr>
        </p:nvSpPr>
        <p:spPr>
          <a:xfrm>
            <a:off x="673101" y="4748213"/>
            <a:ext cx="5389563" cy="3884612"/>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Date Placeholder 12">
            <a:extLst>
              <a:ext uri="{FF2B5EF4-FFF2-40B4-BE49-F238E27FC236}">
                <a16:creationId xmlns:a16="http://schemas.microsoft.com/office/drawing/2014/main" id="{9DC420C7-7E31-4E77-812B-3AA3E4D6E918}"/>
              </a:ext>
            </a:extLst>
          </p:cNvPr>
          <p:cNvSpPr>
            <a:spLocks noGrp="1"/>
          </p:cNvSpPr>
          <p:nvPr>
            <p:ph type="dt" idx="1"/>
            <p:custDataLst>
              <p:tags r:id="rId7"/>
            </p:custDataLst>
          </p:nvPr>
        </p:nvSpPr>
        <p:spPr>
          <a:xfrm>
            <a:off x="3814763" y="0"/>
            <a:ext cx="2919412" cy="495300"/>
          </a:xfrm>
          <a:prstGeom prst="rect">
            <a:avLst/>
          </a:prstGeom>
        </p:spPr>
        <p:txBody>
          <a:bodyPr vert="horz" lIns="91440" tIns="45720" rIns="91440" bIns="45720" rtlCol="0"/>
          <a:lstStyle>
            <a:lvl1pPr algn="r">
              <a:defRPr sz="1000"/>
            </a:lvl1pPr>
          </a:lstStyle>
          <a:p>
            <a:fld id="{C0B2F66E-7DC2-4EDD-AE9A-8E3ED6713718}" type="datetime1">
              <a:rPr lang="en-GB" smtClean="0"/>
              <a:t>12/09/2022</a:t>
            </a:fld>
            <a:endParaRPr lang="en-GB" dirty="0"/>
          </a:p>
        </p:txBody>
      </p:sp>
    </p:spTree>
    <p:extLst>
      <p:ext uri="{BB962C8B-B14F-4D97-AF65-F5344CB8AC3E}">
        <p14:creationId xmlns:p14="http://schemas.microsoft.com/office/powerpoint/2010/main" val="3895597163"/>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8" Type="http://schemas.openxmlformats.org/officeDocument/2006/relationships/slide" Target="../slides/slide5.xml"/><Relationship Id="rId3" Type="http://schemas.openxmlformats.org/officeDocument/2006/relationships/tags" Target="../tags/tag194.xml"/><Relationship Id="rId7" Type="http://schemas.openxmlformats.org/officeDocument/2006/relationships/notesMaster" Target="../notesMasters/notesMaster1.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4" Type="http://schemas.openxmlformats.org/officeDocument/2006/relationships/tags" Target="../tags/tag195.xml"/></Relationships>
</file>

<file path=ppt/notesSlides/_rels/notesSlide2.xml.rels><?xml version="1.0" encoding="UTF-8" standalone="yes"?>
<Relationships xmlns="http://schemas.openxmlformats.org/package/2006/relationships"><Relationship Id="rId8" Type="http://schemas.openxmlformats.org/officeDocument/2006/relationships/slide" Target="../slides/slide6.xml"/><Relationship Id="rId3" Type="http://schemas.openxmlformats.org/officeDocument/2006/relationships/tags" Target="../tags/tag204.xml"/><Relationship Id="rId7" Type="http://schemas.openxmlformats.org/officeDocument/2006/relationships/notesMaster" Target="../notesMasters/notesMaster1.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4" Type="http://schemas.openxmlformats.org/officeDocument/2006/relationships/tags" Target="../tags/tag205.xml"/></Relationships>
</file>

<file path=ppt/notesSlides/_rels/notesSlide3.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tags" Target="../tags/tag214.xml"/><Relationship Id="rId7" Type="http://schemas.openxmlformats.org/officeDocument/2006/relationships/notesMaster" Target="../notesMasters/notesMaster1.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5" Type="http://schemas.openxmlformats.org/officeDocument/2006/relationships/tags" Target="../tags/tag216.xml"/><Relationship Id="rId4" Type="http://schemas.openxmlformats.org/officeDocument/2006/relationships/tags" Target="../tags/tag215.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taxpartner.ch/app/uploads/2020/05/Matteotti_Weingeier_Analyse-der-bundesgerichtlichen-Rechtsprechung-zur-internationalen-Amtshilfe-in-Steuerangelegenheiten-aus-dem-ersten-Halbjahr-2019_ASA-88_527-540.pdf"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693738" y="795338"/>
            <a:ext cx="5345112" cy="3008312"/>
          </a:xfrm>
          <a:prstGeom prst="rect">
            <a:avLst/>
          </a:prstGeom>
        </p:spPr>
      </p:sp>
      <p:sp>
        <p:nvSpPr>
          <p:cNvPr id="3" name="Notes Placeholder 2"/>
          <p:cNvSpPr>
            <a:spLocks noGrp="1"/>
          </p:cNvSpPr>
          <p:nvPr>
            <p:ph type="body" idx="1"/>
            <p:custDataLst>
              <p:tags r:id="rId2"/>
            </p:custDataLst>
          </p:nvPr>
        </p:nvSpPr>
        <p:spPr>
          <a:xfrm>
            <a:off x="673577" y="3973689"/>
            <a:ext cx="5388610" cy="4659335"/>
          </a:xfrm>
          <a:prstGeom prst="rect">
            <a:avLst/>
          </a:prstGeom>
        </p:spPr>
        <p:txBody>
          <a:bodyPr/>
          <a:lstStyle/>
          <a:p>
            <a:endParaRPr lang="en-GB" dirty="0"/>
          </a:p>
        </p:txBody>
      </p:sp>
      <p:sp>
        <p:nvSpPr>
          <p:cNvPr id="5" name="Date Placeholder 4">
            <a:extLst>
              <a:ext uri="{FF2B5EF4-FFF2-40B4-BE49-F238E27FC236}">
                <a16:creationId xmlns:a16="http://schemas.microsoft.com/office/drawing/2014/main" id="{717ACC7F-AA59-4FDD-9472-7E311D129CC7}"/>
              </a:ext>
            </a:extLst>
          </p:cNvPr>
          <p:cNvSpPr>
            <a:spLocks noGrp="1"/>
          </p:cNvSpPr>
          <p:nvPr>
            <p:ph type="dt" idx="1"/>
            <p:custDataLst>
              <p:tags r:id="rId3"/>
            </p:custDataLst>
          </p:nvPr>
        </p:nvSpPr>
        <p:spPr/>
        <p:txBody>
          <a:bodyPr/>
          <a:lstStyle/>
          <a:p>
            <a:fld id="{3DC65346-D4B7-40D2-BEBE-6D7375F3943E}" type="datetime1">
              <a:rPr lang="en-GB" smtClean="0"/>
              <a:t>12/09/2022</a:t>
            </a:fld>
            <a:endParaRPr lang="en-GB" dirty="0"/>
          </a:p>
        </p:txBody>
      </p:sp>
      <p:sp>
        <p:nvSpPr>
          <p:cNvPr id="6" name="Footer Placeholder 5">
            <a:extLst>
              <a:ext uri="{FF2B5EF4-FFF2-40B4-BE49-F238E27FC236}">
                <a16:creationId xmlns:a16="http://schemas.microsoft.com/office/drawing/2014/main" id="{D2996C72-7291-419F-9D05-EDB75E48DDA5}"/>
              </a:ext>
            </a:extLst>
          </p:cNvPr>
          <p:cNvSpPr>
            <a:spLocks noGrp="1"/>
          </p:cNvSpPr>
          <p:nvPr>
            <p:ph type="ftr" sz="quarter" idx="4"/>
            <p:custDataLst>
              <p:tags r:id="rId4"/>
            </p:custDataLst>
          </p:nvPr>
        </p:nvSpPr>
        <p:spPr/>
        <p:txBody>
          <a:bodyPr/>
          <a:lstStyle/>
          <a:p>
            <a:endParaRPr lang="en-GB" dirty="0"/>
          </a:p>
        </p:txBody>
      </p:sp>
      <p:sp>
        <p:nvSpPr>
          <p:cNvPr id="7" name="Slide Number Placeholder 6">
            <a:extLst>
              <a:ext uri="{FF2B5EF4-FFF2-40B4-BE49-F238E27FC236}">
                <a16:creationId xmlns:a16="http://schemas.microsoft.com/office/drawing/2014/main" id="{2905AB43-AF8B-4A9C-A629-611517FD45C2}"/>
              </a:ext>
            </a:extLst>
          </p:cNvPr>
          <p:cNvSpPr>
            <a:spLocks noGrp="1"/>
          </p:cNvSpPr>
          <p:nvPr>
            <p:ph type="sldNum" sz="quarter" idx="5"/>
            <p:custDataLst>
              <p:tags r:id="rId5"/>
            </p:custDataLst>
          </p:nvPr>
        </p:nvSpPr>
        <p:spPr/>
        <p:txBody>
          <a:bodyPr/>
          <a:lstStyle/>
          <a:p>
            <a:fld id="{813726C3-A8BD-4E9B-9306-69882C0358EA}" type="slidenum">
              <a:rPr lang="en-GB" smtClean="0"/>
              <a:pPr/>
              <a:t>5</a:t>
            </a:fld>
            <a:endParaRPr lang="en-GB" dirty="0"/>
          </a:p>
        </p:txBody>
      </p:sp>
      <p:sp>
        <p:nvSpPr>
          <p:cNvPr id="8" name="Header Placeholder 7">
            <a:extLst>
              <a:ext uri="{FF2B5EF4-FFF2-40B4-BE49-F238E27FC236}">
                <a16:creationId xmlns:a16="http://schemas.microsoft.com/office/drawing/2014/main" id="{316C7ED1-3E11-4FA7-8E11-ED735AB525A6}"/>
              </a:ext>
            </a:extLst>
          </p:cNvPr>
          <p:cNvSpPr>
            <a:spLocks noGrp="1"/>
          </p:cNvSpPr>
          <p:nvPr>
            <p:ph type="hdr" sz="quarter"/>
            <p:custDataLst>
              <p:tags r:id="rId6"/>
            </p:custDataLst>
          </p:nvPr>
        </p:nvSpPr>
        <p:spPr/>
        <p:txBody>
          <a:bodyPr/>
          <a:lstStyle/>
          <a:p>
            <a:endParaRPr lang="en-GB" dirty="0"/>
          </a:p>
        </p:txBody>
      </p:sp>
    </p:spTree>
    <p:extLst>
      <p:ext uri="{BB962C8B-B14F-4D97-AF65-F5344CB8AC3E}">
        <p14:creationId xmlns:p14="http://schemas.microsoft.com/office/powerpoint/2010/main" val="2772504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693738" y="795338"/>
            <a:ext cx="5345112" cy="3008312"/>
          </a:xfrm>
          <a:prstGeom prst="rect">
            <a:avLst/>
          </a:prstGeom>
        </p:spPr>
      </p:sp>
      <p:sp>
        <p:nvSpPr>
          <p:cNvPr id="3" name="Notes Placeholder 2"/>
          <p:cNvSpPr>
            <a:spLocks noGrp="1"/>
          </p:cNvSpPr>
          <p:nvPr>
            <p:ph type="body" idx="1"/>
            <p:custDataLst>
              <p:tags r:id="rId2"/>
            </p:custDataLst>
          </p:nvPr>
        </p:nvSpPr>
        <p:spPr>
          <a:xfrm>
            <a:off x="673577" y="3973689"/>
            <a:ext cx="5388610" cy="4659335"/>
          </a:xfrm>
          <a:prstGeom prst="rect">
            <a:avLst/>
          </a:prstGeom>
        </p:spPr>
        <p:txBody>
          <a:bodyPr/>
          <a:lstStyle/>
          <a:p>
            <a:endParaRPr lang="en-GB" dirty="0"/>
          </a:p>
        </p:txBody>
      </p:sp>
      <p:sp>
        <p:nvSpPr>
          <p:cNvPr id="5" name="Date Placeholder 4">
            <a:extLst>
              <a:ext uri="{FF2B5EF4-FFF2-40B4-BE49-F238E27FC236}">
                <a16:creationId xmlns:a16="http://schemas.microsoft.com/office/drawing/2014/main" id="{717ACC7F-AA59-4FDD-9472-7E311D129CC7}"/>
              </a:ext>
            </a:extLst>
          </p:cNvPr>
          <p:cNvSpPr>
            <a:spLocks noGrp="1"/>
          </p:cNvSpPr>
          <p:nvPr>
            <p:ph type="dt" idx="1"/>
            <p:custDataLst>
              <p:tags r:id="rId3"/>
            </p:custDataLst>
          </p:nvPr>
        </p:nvSpPr>
        <p:spPr/>
        <p:txBody>
          <a:bodyPr/>
          <a:lstStyle/>
          <a:p>
            <a:fld id="{3DC65346-D4B7-40D2-BEBE-6D7375F3943E}" type="datetime1">
              <a:rPr lang="en-GB" smtClean="0"/>
              <a:t>12/09/2022</a:t>
            </a:fld>
            <a:endParaRPr lang="en-GB" dirty="0"/>
          </a:p>
        </p:txBody>
      </p:sp>
      <p:sp>
        <p:nvSpPr>
          <p:cNvPr id="6" name="Footer Placeholder 5">
            <a:extLst>
              <a:ext uri="{FF2B5EF4-FFF2-40B4-BE49-F238E27FC236}">
                <a16:creationId xmlns:a16="http://schemas.microsoft.com/office/drawing/2014/main" id="{D2996C72-7291-419F-9D05-EDB75E48DDA5}"/>
              </a:ext>
            </a:extLst>
          </p:cNvPr>
          <p:cNvSpPr>
            <a:spLocks noGrp="1"/>
          </p:cNvSpPr>
          <p:nvPr>
            <p:ph type="ftr" sz="quarter" idx="4"/>
            <p:custDataLst>
              <p:tags r:id="rId4"/>
            </p:custDataLst>
          </p:nvPr>
        </p:nvSpPr>
        <p:spPr/>
        <p:txBody>
          <a:bodyPr/>
          <a:lstStyle/>
          <a:p>
            <a:endParaRPr lang="en-GB" dirty="0"/>
          </a:p>
        </p:txBody>
      </p:sp>
      <p:sp>
        <p:nvSpPr>
          <p:cNvPr id="7" name="Slide Number Placeholder 6">
            <a:extLst>
              <a:ext uri="{FF2B5EF4-FFF2-40B4-BE49-F238E27FC236}">
                <a16:creationId xmlns:a16="http://schemas.microsoft.com/office/drawing/2014/main" id="{2905AB43-AF8B-4A9C-A629-611517FD45C2}"/>
              </a:ext>
            </a:extLst>
          </p:cNvPr>
          <p:cNvSpPr>
            <a:spLocks noGrp="1"/>
          </p:cNvSpPr>
          <p:nvPr>
            <p:ph type="sldNum" sz="quarter" idx="5"/>
            <p:custDataLst>
              <p:tags r:id="rId5"/>
            </p:custDataLst>
          </p:nvPr>
        </p:nvSpPr>
        <p:spPr/>
        <p:txBody>
          <a:bodyPr/>
          <a:lstStyle/>
          <a:p>
            <a:fld id="{813726C3-A8BD-4E9B-9306-69882C0358EA}" type="slidenum">
              <a:rPr lang="en-GB" smtClean="0"/>
              <a:pPr/>
              <a:t>6</a:t>
            </a:fld>
            <a:endParaRPr lang="en-GB" dirty="0"/>
          </a:p>
        </p:txBody>
      </p:sp>
      <p:sp>
        <p:nvSpPr>
          <p:cNvPr id="8" name="Header Placeholder 7">
            <a:extLst>
              <a:ext uri="{FF2B5EF4-FFF2-40B4-BE49-F238E27FC236}">
                <a16:creationId xmlns:a16="http://schemas.microsoft.com/office/drawing/2014/main" id="{316C7ED1-3E11-4FA7-8E11-ED735AB525A6}"/>
              </a:ext>
            </a:extLst>
          </p:cNvPr>
          <p:cNvSpPr>
            <a:spLocks noGrp="1"/>
          </p:cNvSpPr>
          <p:nvPr>
            <p:ph type="hdr" sz="quarter"/>
            <p:custDataLst>
              <p:tags r:id="rId6"/>
            </p:custDataLst>
          </p:nvPr>
        </p:nvSpPr>
        <p:spPr/>
        <p:txBody>
          <a:bodyPr/>
          <a:lstStyle/>
          <a:p>
            <a:endParaRPr lang="en-GB" dirty="0"/>
          </a:p>
        </p:txBody>
      </p:sp>
    </p:spTree>
    <p:extLst>
      <p:ext uri="{BB962C8B-B14F-4D97-AF65-F5344CB8AC3E}">
        <p14:creationId xmlns:p14="http://schemas.microsoft.com/office/powerpoint/2010/main" val="3506842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693738" y="795338"/>
            <a:ext cx="5345112" cy="3008312"/>
          </a:xfrm>
          <a:prstGeom prst="rect">
            <a:avLst/>
          </a:prstGeom>
        </p:spPr>
      </p:sp>
      <p:sp>
        <p:nvSpPr>
          <p:cNvPr id="3" name="Notes Placeholder 2"/>
          <p:cNvSpPr>
            <a:spLocks noGrp="1"/>
          </p:cNvSpPr>
          <p:nvPr>
            <p:ph type="body" idx="1"/>
            <p:custDataLst>
              <p:tags r:id="rId2"/>
            </p:custDataLst>
          </p:nvPr>
        </p:nvSpPr>
        <p:spPr>
          <a:xfrm>
            <a:off x="673577" y="3973689"/>
            <a:ext cx="5388610" cy="4659335"/>
          </a:xfrm>
          <a:prstGeom prst="rect">
            <a:avLst/>
          </a:prstGeom>
        </p:spPr>
        <p:txBody>
          <a:bodyPr/>
          <a:lstStyle/>
          <a:p>
            <a:endParaRPr lang="en-GB" dirty="0"/>
          </a:p>
        </p:txBody>
      </p:sp>
      <p:sp>
        <p:nvSpPr>
          <p:cNvPr id="5" name="Date Placeholder 4">
            <a:extLst>
              <a:ext uri="{FF2B5EF4-FFF2-40B4-BE49-F238E27FC236}">
                <a16:creationId xmlns:a16="http://schemas.microsoft.com/office/drawing/2014/main" id="{717ACC7F-AA59-4FDD-9472-7E311D129CC7}"/>
              </a:ext>
            </a:extLst>
          </p:cNvPr>
          <p:cNvSpPr>
            <a:spLocks noGrp="1"/>
          </p:cNvSpPr>
          <p:nvPr>
            <p:ph type="dt" idx="1"/>
            <p:custDataLst>
              <p:tags r:id="rId3"/>
            </p:custDataLst>
          </p:nvPr>
        </p:nvSpPr>
        <p:spPr/>
        <p:txBody>
          <a:bodyPr/>
          <a:lstStyle/>
          <a:p>
            <a:fld id="{3DC65346-D4B7-40D2-BEBE-6D7375F3943E}" type="datetime1">
              <a:rPr lang="en-GB" smtClean="0"/>
              <a:t>12/09/2022</a:t>
            </a:fld>
            <a:endParaRPr lang="en-GB" dirty="0"/>
          </a:p>
        </p:txBody>
      </p:sp>
      <p:sp>
        <p:nvSpPr>
          <p:cNvPr id="6" name="Footer Placeholder 5">
            <a:extLst>
              <a:ext uri="{FF2B5EF4-FFF2-40B4-BE49-F238E27FC236}">
                <a16:creationId xmlns:a16="http://schemas.microsoft.com/office/drawing/2014/main" id="{D2996C72-7291-419F-9D05-EDB75E48DDA5}"/>
              </a:ext>
            </a:extLst>
          </p:cNvPr>
          <p:cNvSpPr>
            <a:spLocks noGrp="1"/>
          </p:cNvSpPr>
          <p:nvPr>
            <p:ph type="ftr" sz="quarter" idx="4"/>
            <p:custDataLst>
              <p:tags r:id="rId4"/>
            </p:custDataLst>
          </p:nvPr>
        </p:nvSpPr>
        <p:spPr/>
        <p:txBody>
          <a:bodyPr/>
          <a:lstStyle/>
          <a:p>
            <a:endParaRPr lang="en-GB" dirty="0"/>
          </a:p>
        </p:txBody>
      </p:sp>
      <p:sp>
        <p:nvSpPr>
          <p:cNvPr id="7" name="Slide Number Placeholder 6">
            <a:extLst>
              <a:ext uri="{FF2B5EF4-FFF2-40B4-BE49-F238E27FC236}">
                <a16:creationId xmlns:a16="http://schemas.microsoft.com/office/drawing/2014/main" id="{2905AB43-AF8B-4A9C-A629-611517FD45C2}"/>
              </a:ext>
            </a:extLst>
          </p:cNvPr>
          <p:cNvSpPr>
            <a:spLocks noGrp="1"/>
          </p:cNvSpPr>
          <p:nvPr>
            <p:ph type="sldNum" sz="quarter" idx="5"/>
            <p:custDataLst>
              <p:tags r:id="rId5"/>
            </p:custDataLst>
          </p:nvPr>
        </p:nvSpPr>
        <p:spPr/>
        <p:txBody>
          <a:bodyPr/>
          <a:lstStyle/>
          <a:p>
            <a:fld id="{813726C3-A8BD-4E9B-9306-69882C0358EA}" type="slidenum">
              <a:rPr lang="en-GB" smtClean="0"/>
              <a:pPr/>
              <a:t>7</a:t>
            </a:fld>
            <a:endParaRPr lang="en-GB" dirty="0"/>
          </a:p>
        </p:txBody>
      </p:sp>
      <p:sp>
        <p:nvSpPr>
          <p:cNvPr id="8" name="Header Placeholder 7">
            <a:extLst>
              <a:ext uri="{FF2B5EF4-FFF2-40B4-BE49-F238E27FC236}">
                <a16:creationId xmlns:a16="http://schemas.microsoft.com/office/drawing/2014/main" id="{316C7ED1-3E11-4FA7-8E11-ED735AB525A6}"/>
              </a:ext>
            </a:extLst>
          </p:cNvPr>
          <p:cNvSpPr>
            <a:spLocks noGrp="1"/>
          </p:cNvSpPr>
          <p:nvPr>
            <p:ph type="hdr" sz="quarter"/>
            <p:custDataLst>
              <p:tags r:id="rId6"/>
            </p:custDataLst>
          </p:nvPr>
        </p:nvSpPr>
        <p:spPr/>
        <p:txBody>
          <a:bodyPr/>
          <a:lstStyle/>
          <a:p>
            <a:endParaRPr lang="en-GB" dirty="0"/>
          </a:p>
        </p:txBody>
      </p:sp>
    </p:spTree>
    <p:extLst>
      <p:ext uri="{BB962C8B-B14F-4D97-AF65-F5344CB8AC3E}">
        <p14:creationId xmlns:p14="http://schemas.microsoft.com/office/powerpoint/2010/main" val="1714067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de-DE" b="0" i="0" dirty="0">
                <a:solidFill>
                  <a:srgbClr val="012442"/>
                </a:solidFill>
                <a:effectLst/>
                <a:latin typeface="Arial" panose="020B0604020202020204" pitchFamily="34" charset="0"/>
                <a:cs typeface="Arial" panose="020B0604020202020204" pitchFamily="34" charset="0"/>
              </a:rPr>
              <a:t>In der Antwort auf die wesentliche Frage des ersuchenden Staates betreffend der Bemessungsgrundlage der Beschwerdegegner in der Schweiz hat die Steuerbehörde informiert, dass sie nach Aufwand besteuert wurden.</a:t>
            </a:r>
          </a:p>
          <a:p>
            <a:pPr algn="l"/>
            <a:r>
              <a:rPr lang="de-DE" b="0" i="0" dirty="0">
                <a:solidFill>
                  <a:srgbClr val="012442"/>
                </a:solidFill>
                <a:effectLst/>
                <a:latin typeface="Arial" panose="020B0604020202020204" pitchFamily="34" charset="0"/>
                <a:cs typeface="Arial" panose="020B0604020202020204" pitchFamily="34" charset="0"/>
              </a:rPr>
              <a:t>Durch diese Information hat die Steuerverwaltung bekanntgegeben, dass die Beschwerdegegner nicht auf ihren Einkünften besteuert wurden.</a:t>
            </a:r>
          </a:p>
          <a:p>
            <a:pPr algn="l"/>
            <a:r>
              <a:rPr lang="de-DE" b="0" i="0" dirty="0">
                <a:solidFill>
                  <a:srgbClr val="012442"/>
                </a:solidFill>
                <a:effectLst/>
                <a:latin typeface="Arial" panose="020B0604020202020204" pitchFamily="34" charset="0"/>
                <a:cs typeface="Arial" panose="020B0604020202020204" pitchFamily="34" charset="0"/>
              </a:rPr>
              <a:t>Diese Angabe ist für den ersuchenden Staat erheblich, da sie wissen möchte, ob</a:t>
            </a:r>
          </a:p>
          <a:p>
            <a:pPr algn="l">
              <a:buFont typeface="Arial" panose="020B0604020202020204" pitchFamily="34" charset="0"/>
              <a:buChar char="•"/>
            </a:pPr>
            <a:r>
              <a:rPr lang="de-DE" b="0" i="0" dirty="0">
                <a:solidFill>
                  <a:srgbClr val="012442"/>
                </a:solidFill>
                <a:effectLst/>
                <a:latin typeface="Arial" panose="020B0604020202020204" pitchFamily="34" charset="0"/>
                <a:cs typeface="Arial" panose="020B0604020202020204" pitchFamily="34" charset="0"/>
              </a:rPr>
              <a:t>die Beschwerdegegner ihren steuerlichen Wohnsitz in der Schweiz hatten;</a:t>
            </a:r>
          </a:p>
          <a:p>
            <a:pPr algn="l">
              <a:buFont typeface="Arial" panose="020B0604020202020204" pitchFamily="34" charset="0"/>
              <a:buChar char="•"/>
            </a:pPr>
            <a:r>
              <a:rPr lang="de-DE" b="0" i="0" dirty="0">
                <a:solidFill>
                  <a:srgbClr val="012442"/>
                </a:solidFill>
                <a:effectLst/>
                <a:latin typeface="Arial" panose="020B0604020202020204" pitchFamily="34" charset="0"/>
                <a:cs typeface="Arial" panose="020B0604020202020204" pitchFamily="34" charset="0"/>
              </a:rPr>
              <a:t>die Beschwerdegegner in der Schweiz einer Erwerbstätigkeit </a:t>
            </a:r>
            <a:r>
              <a:rPr lang="de-DE" b="0" i="0" dirty="0" err="1">
                <a:solidFill>
                  <a:srgbClr val="012442"/>
                </a:solidFill>
                <a:effectLst/>
                <a:latin typeface="Arial" panose="020B0604020202020204" pitchFamily="34" charset="0"/>
                <a:cs typeface="Arial" panose="020B0604020202020204" pitchFamily="34" charset="0"/>
              </a:rPr>
              <a:t>nachgeganqen</a:t>
            </a:r>
            <a:r>
              <a:rPr lang="de-DE" b="0" i="0" dirty="0">
                <a:solidFill>
                  <a:srgbClr val="012442"/>
                </a:solidFill>
                <a:effectLst/>
                <a:latin typeface="Arial" panose="020B0604020202020204" pitchFamily="34" charset="0"/>
                <a:cs typeface="Arial" panose="020B0604020202020204" pitchFamily="34" charset="0"/>
              </a:rPr>
              <a:t> sind.</a:t>
            </a:r>
          </a:p>
          <a:p>
            <a:pPr algn="l"/>
            <a:r>
              <a:rPr lang="de-DE" b="0" i="0" dirty="0">
                <a:solidFill>
                  <a:srgbClr val="012442"/>
                </a:solidFill>
                <a:effectLst/>
                <a:latin typeface="Arial" panose="020B0604020202020204" pitchFamily="34" charset="0"/>
                <a:cs typeface="Arial" panose="020B0604020202020204" pitchFamily="34" charset="0"/>
              </a:rPr>
              <a:t>Demgegenüber ist es nicht ersichtlich,</a:t>
            </a:r>
          </a:p>
          <a:p>
            <a:pPr algn="l"/>
            <a:endParaRPr lang="de-DE" b="0" i="0" dirty="0">
              <a:solidFill>
                <a:srgbClr val="012442"/>
              </a:solidFill>
              <a:effectLst/>
              <a:latin typeface="Arial" panose="020B0604020202020204" pitchFamily="34" charset="0"/>
              <a:cs typeface="Arial" panose="020B0604020202020204" pitchFamily="34" charset="0"/>
            </a:endParaRPr>
          </a:p>
          <a:p>
            <a:pPr algn="l"/>
            <a:r>
              <a:rPr lang="de-DE" dirty="0" err="1">
                <a:latin typeface="Arial" panose="020B0604020202020204" pitchFamily="34" charset="0"/>
                <a:cs typeface="Arial" panose="020B0604020202020204" pitchFamily="34" charset="0"/>
              </a:rPr>
              <a:t>Gemäss</a:t>
            </a:r>
            <a:r>
              <a:rPr lang="de-DE" dirty="0">
                <a:latin typeface="Arial" panose="020B0604020202020204" pitchFamily="34" charset="0"/>
                <a:cs typeface="Arial" panose="020B0604020202020204" pitchFamily="34" charset="0"/>
              </a:rPr>
              <a:t> bisheriger bundesgerichtlicher Rechtsprechung ist es zulässig, ein Amtshilfegesuch zur Klärung des steuerlichen Wohnsitzes einer Person zu stellen. Die Tatsache, dass diese Person in der Schweiz unbeschränkt steuerpflichtig ist, verhindert eine solche Anfrage nicht per se (2C_625/2018 E. 2.2.2). Wenn ein Amtshilfegesuch einen Steuerpflichtigen betrifft, den beide Vertragsstaaten als einen Steueransässigen betrachten, beschränkt sich die Rolle der Schweiz als ersuchter Staat im Stadium der Amtshilfe darauf, zu überprüfen, ob das Kriterium der Steuerpflicht, auf das der ersuchende Staat greift, sich unter denjenigen befindet, die in der die Bestimmung des Steuerwohnsitzes betreffenden </a:t>
            </a:r>
            <a:r>
              <a:rPr lang="de-DE" dirty="0" err="1">
                <a:latin typeface="Arial" panose="020B0604020202020204" pitchFamily="34" charset="0"/>
                <a:cs typeface="Arial" panose="020B0604020202020204" pitchFamily="34" charset="0"/>
              </a:rPr>
              <a:t>Abkommensnorm</a:t>
            </a:r>
            <a:r>
              <a:rPr lang="de-DE" dirty="0">
                <a:latin typeface="Arial" panose="020B0604020202020204" pitchFamily="34" charset="0"/>
                <a:cs typeface="Arial" panose="020B0604020202020204" pitchFamily="34" charset="0"/>
              </a:rPr>
              <a:t> festgelegt sind. Der Schweiz obliegt es nicht, im Rahmen des Amtshilfeverfahrens selbst über das Bestehen eines tatsächlichen Wohnsitzkonflikts zu entscheiden</a:t>
            </a:r>
            <a:endParaRPr lang="de-DE" b="0" i="0" dirty="0">
              <a:solidFill>
                <a:srgbClr val="012442"/>
              </a:solidFill>
              <a:effectLst/>
              <a:latin typeface="Arial" panose="020B0604020202020204" pitchFamily="34" charset="0"/>
              <a:cs typeface="Arial" panose="020B0604020202020204" pitchFamily="34" charset="0"/>
            </a:endParaRPr>
          </a:p>
          <a:p>
            <a:pPr algn="l"/>
            <a:r>
              <a:rPr lang="de-DE" dirty="0">
                <a:latin typeface="Arial" panose="020B0604020202020204" pitchFamily="34" charset="0"/>
                <a:cs typeface="Arial" panose="020B0604020202020204" pitchFamily="34" charset="0"/>
                <a:hlinkClick r:id="rId3"/>
              </a:rPr>
              <a:t>Matteotti_Weingeier_Analyse-der-bundesgerichtlichen-Rechtsprechung-zur-internationalen-Amtshilfe-in-Steuerangelegenheiten-aus-dem-ersten-Halbjahr-2019_ASA-88_527-540.pdf (taxpartner.ch)</a:t>
            </a:r>
            <a:endParaRPr lang="de-DE" b="0" i="0" dirty="0">
              <a:solidFill>
                <a:srgbClr val="012442"/>
              </a:solidFill>
              <a:effectLst/>
              <a:latin typeface="Arial" panose="020B0604020202020204" pitchFamily="34" charset="0"/>
              <a:cs typeface="Arial" panose="020B0604020202020204" pitchFamily="34" charset="0"/>
            </a:endParaRPr>
          </a:p>
          <a:p>
            <a:pPr algn="l">
              <a:buFont typeface="Arial" panose="020B0604020202020204" pitchFamily="34" charset="0"/>
              <a:buChar char="•"/>
            </a:pPr>
            <a:r>
              <a:rPr lang="de-DE" b="0" i="0" dirty="0">
                <a:solidFill>
                  <a:srgbClr val="012442"/>
                </a:solidFill>
                <a:effectLst/>
                <a:latin typeface="Arial" panose="020B0604020202020204" pitchFamily="34" charset="0"/>
                <a:cs typeface="Arial" panose="020B0604020202020204" pitchFamily="34" charset="0"/>
              </a:rPr>
              <a:t>inwiefern der durch die schweizerische Veranlagungsbehörde festgelegte Betrag für die ersuchende Behörde erheblich sein sollte.</a:t>
            </a:r>
          </a:p>
          <a:p>
            <a:pPr algn="l"/>
            <a:r>
              <a:rPr lang="de-DE" b="0" i="0" dirty="0">
                <a:solidFill>
                  <a:srgbClr val="012442"/>
                </a:solidFill>
                <a:effectLst/>
                <a:latin typeface="Arial" panose="020B0604020202020204" pitchFamily="34" charset="0"/>
                <a:cs typeface="Arial" panose="020B0604020202020204" pitchFamily="34" charset="0"/>
              </a:rPr>
              <a:t>Diese Information sagt über die realisierten Einkünfte der Beschwerdegegner nichts aus.</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endParaRPr lang="en-CH"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26AB6600-5A39-42DC-BF0F-81CD9D6A37B0}" type="slidenum">
              <a:rPr lang="en-GB" smtClean="0"/>
              <a:t>16</a:t>
            </a:fld>
            <a:endParaRPr lang="en-GB"/>
          </a:p>
        </p:txBody>
      </p:sp>
    </p:spTree>
    <p:extLst>
      <p:ext uri="{BB962C8B-B14F-4D97-AF65-F5344CB8AC3E}">
        <p14:creationId xmlns:p14="http://schemas.microsoft.com/office/powerpoint/2010/main" val="3509302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0627" indent="-170627">
              <a:buFontTx/>
              <a:buChar char="-"/>
            </a:pPr>
            <a:r>
              <a:rPr lang="de-DE" b="1" dirty="0"/>
              <a:t>Keine Notwendigkeit</a:t>
            </a:r>
            <a:r>
              <a:rPr lang="de-DE" dirty="0"/>
              <a:t>, da ATAD für </a:t>
            </a:r>
            <a:r>
              <a:rPr lang="de-DE" dirty="0" err="1"/>
              <a:t>KöSt</a:t>
            </a:r>
            <a:r>
              <a:rPr lang="de-DE" dirty="0"/>
              <a:t> Subjekte und § 6 AStG bereits bestand.</a:t>
            </a:r>
          </a:p>
          <a:p>
            <a:pPr marL="170627" indent="-170627">
              <a:buFontTx/>
              <a:buChar char="-"/>
            </a:pPr>
            <a:r>
              <a:rPr lang="de-DE" b="1" dirty="0"/>
              <a:t>Veräußerungsfiktion</a:t>
            </a:r>
            <a:r>
              <a:rPr lang="de-DE" dirty="0"/>
              <a:t> evtl. problematisch für </a:t>
            </a:r>
            <a:r>
              <a:rPr lang="de-DE" dirty="0" err="1"/>
              <a:t>ErbSt</a:t>
            </a:r>
            <a:r>
              <a:rPr lang="de-DE" dirty="0"/>
              <a:t> (§ 13a Abs. 6 Nr. 4 ErbStG) innerhalb von 5 oder 7 Jahren  bzw. der </a:t>
            </a:r>
            <a:r>
              <a:rPr lang="de-DE" dirty="0" err="1"/>
              <a:t>UmwSt</a:t>
            </a:r>
            <a:r>
              <a:rPr lang="de-DE" dirty="0"/>
              <a:t> (§ 22 UmwStG -&gt; 7 Jahre) Fristen</a:t>
            </a:r>
          </a:p>
          <a:p>
            <a:pPr marL="170627" indent="-170627">
              <a:buFontTx/>
              <a:buChar char="-"/>
            </a:pPr>
            <a:r>
              <a:rPr lang="de-DE" dirty="0"/>
              <a:t>Abs. 2: eine deutliche </a:t>
            </a:r>
            <a:r>
              <a:rPr lang="de-DE" b="1" dirty="0"/>
              <a:t>Verbesserung</a:t>
            </a:r>
            <a:r>
              <a:rPr lang="de-DE" dirty="0"/>
              <a:t>, man muss nicht mehr „bis zur Geburt“ zurückgehen dafür bereits 7 statt 10 Jahre ausreichend. </a:t>
            </a:r>
          </a:p>
          <a:p>
            <a:pPr marL="170627" indent="-170627">
              <a:buFontTx/>
              <a:buChar char="-"/>
            </a:pPr>
            <a:r>
              <a:rPr lang="de-DE" i="1" dirty="0"/>
              <a:t>Abs. 3: Finanzverwaltung wird weiterhin den Begriff der vorübergehenden Abwesenheit </a:t>
            </a:r>
            <a:r>
              <a:rPr lang="de-DE" i="1" dirty="0" err="1"/>
              <a:t>subjekt</a:t>
            </a:r>
            <a:r>
              <a:rPr lang="de-DE" i="1" dirty="0"/>
              <a:t> auslegen (d.h. Rückkehrabsicht muss bei Wegzug vorhanden sein), so auch FG Münster vom 31.10.2019 – Revision beim BFH anhängig </a:t>
            </a:r>
            <a:r>
              <a:rPr lang="de-DE" i="1" dirty="0" err="1"/>
              <a:t>Az</a:t>
            </a:r>
            <a:r>
              <a:rPr lang="de-DE" i="1" dirty="0"/>
              <a:t>: ). Aa: Objektive reicht aus = Rückkehr innerhalb der Frist. Nun auch Beschenkte begünstigt.</a:t>
            </a:r>
          </a:p>
          <a:p>
            <a:pPr marL="170627" indent="-170627">
              <a:buFontTx/>
              <a:buChar char="-"/>
            </a:pPr>
            <a:r>
              <a:rPr lang="de-DE" dirty="0"/>
              <a:t>Weiterhin </a:t>
            </a:r>
            <a:r>
              <a:rPr lang="de-DE" b="1" dirty="0"/>
              <a:t>unerheblich ob </a:t>
            </a:r>
            <a:r>
              <a:rPr lang="de-DE" b="1" dirty="0" err="1"/>
              <a:t>Zuzugstaat</a:t>
            </a:r>
            <a:r>
              <a:rPr lang="de-DE" b="1" dirty="0"/>
              <a:t> niedrig</a:t>
            </a:r>
            <a:r>
              <a:rPr lang="de-DE" dirty="0"/>
              <a:t> besteuert.</a:t>
            </a:r>
          </a:p>
          <a:p>
            <a:pPr marL="170627" indent="-170627">
              <a:buFontTx/>
              <a:buChar char="-"/>
            </a:pPr>
            <a:endParaRPr lang="de-DE" dirty="0"/>
          </a:p>
          <a:p>
            <a:pPr marL="170627" indent="-170627">
              <a:buFontTx/>
              <a:buChar char="-"/>
            </a:pPr>
            <a:endParaRPr lang="de-DE" dirty="0"/>
          </a:p>
        </p:txBody>
      </p:sp>
      <p:sp>
        <p:nvSpPr>
          <p:cNvPr id="4" name="Foliennummernplatzhalter 3"/>
          <p:cNvSpPr>
            <a:spLocks noGrp="1"/>
          </p:cNvSpPr>
          <p:nvPr>
            <p:ph type="sldNum" sz="quarter" idx="5"/>
          </p:nvPr>
        </p:nvSpPr>
        <p:spPr/>
        <p:txBody>
          <a:bodyPr/>
          <a:lstStyle/>
          <a:p>
            <a:pPr>
              <a:defRPr/>
            </a:pPr>
            <a:fld id="{56F10501-F43A-4147-AB82-95C46772AB82}" type="slidenum">
              <a:rPr lang="en-US" smtClean="0"/>
              <a:pPr>
                <a:defRPr/>
              </a:pPr>
              <a:t>23</a:t>
            </a:fld>
            <a:endParaRPr lang="en-US"/>
          </a:p>
        </p:txBody>
      </p:sp>
    </p:spTree>
    <p:extLst>
      <p:ext uri="{BB962C8B-B14F-4D97-AF65-F5344CB8AC3E}">
        <p14:creationId xmlns:p14="http://schemas.microsoft.com/office/powerpoint/2010/main" val="24121585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slideMaster" Target="../slideMasters/slideMaster1.xml"/><Relationship Id="rId5" Type="http://schemas.openxmlformats.org/officeDocument/2006/relationships/tags" Target="../tags/tag73.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themeOverride" Target="../theme/themeOverride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3.xml"/><Relationship Id="rId1" Type="http://schemas.openxmlformats.org/officeDocument/2006/relationships/themeOverride" Target="../theme/themeOverride6.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hemeOverride" Target="../theme/themeOverride7.xml"/><Relationship Id="rId4"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themeOverride" Target="../theme/themeOverride8.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7.xml"/><Relationship Id="rId1" Type="http://schemas.openxmlformats.org/officeDocument/2006/relationships/themeOverride" Target="../theme/themeOverride9.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themeOverride" Target="../theme/themeOverride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themeOverride" Target="../theme/themeOverride11.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themeOverride" Target="../theme/themeOverride1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themeOverride" Target="../theme/themeOverride13.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themeOverride" Target="../theme/themeOverride1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slideMaster" Target="../slideMasters/slideMaster1.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 Type="http://schemas.openxmlformats.org/officeDocument/2006/relationships/tags" Target="../tags/tag80.xml"/><Relationship Id="rId16" Type="http://schemas.openxmlformats.org/officeDocument/2006/relationships/tags" Target="../tags/tag94.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tags" Target="../tags/tag93.xml"/><Relationship Id="rId10" Type="http://schemas.openxmlformats.org/officeDocument/2006/relationships/tags" Target="../tags/tag88.xml"/><Relationship Id="rId19" Type="http://schemas.openxmlformats.org/officeDocument/2006/relationships/hyperlink" Target="http://www.wolftheiss.com/" TargetMode="Externa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themeOverride" Target="../theme/themeOverride1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themeOverride" Target="../theme/themeOverride16.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5.xml"/><Relationship Id="rId1" Type="http://schemas.openxmlformats.org/officeDocument/2006/relationships/themeOverride" Target="../theme/themeOverride17.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themeOverride" Target="../theme/themeOverride18.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7.xml"/><Relationship Id="rId1" Type="http://schemas.openxmlformats.org/officeDocument/2006/relationships/themeOverride" Target="../theme/themeOverride19.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themeOverride" Target="../theme/themeOverride20.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themeOverride" Target="../theme/themeOverride21.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themeOverride" Target="../theme/themeOverride2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themeOverride" Target="../theme/themeOverride23.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themeOverride" Target="../theme/themeOverride2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themeOverride" Target="../theme/themeOverride25.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themeOverride" Target="../theme/themeOverride2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themeOverride" Target="../theme/themeOverride27.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themeOverride" Target="../theme/themeOverride28.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hemeOverride" Target="../theme/themeOverride29.xml"/><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hemeOverride" Target="../theme/themeOverride30.xml"/><Relationship Id="rId4"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1.xml"/><Relationship Id="rId1" Type="http://schemas.openxmlformats.org/officeDocument/2006/relationships/themeOverride" Target="../theme/themeOverride31.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themeOverride" Target="../theme/themeOverride3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hemeOverride" Target="../theme/themeOverride33.xml"/><Relationship Id="rId4"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hemeOverride" Target="../theme/themeOverride34.xml"/><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8.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hemeOverride" Target="../theme/themeOverride35.xml"/><Relationship Id="rId4"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9.xml"/><Relationship Id="rId1" Type="http://schemas.openxmlformats.org/officeDocument/2006/relationships/themeOverride" Target="../theme/themeOverride36.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0.xml"/><Relationship Id="rId1" Type="http://schemas.openxmlformats.org/officeDocument/2006/relationships/themeOverride" Target="../theme/themeOverride3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1.xml"/><Relationship Id="rId1" Type="http://schemas.openxmlformats.org/officeDocument/2006/relationships/themeOverride" Target="../theme/themeOverride3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2.xml"/><Relationship Id="rId1" Type="http://schemas.openxmlformats.org/officeDocument/2006/relationships/themeOverride" Target="../theme/themeOverride39.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3.xml"/><Relationship Id="rId1" Type="http://schemas.openxmlformats.org/officeDocument/2006/relationships/themeOverride" Target="../theme/themeOverride40.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4.xml"/><Relationship Id="rId1" Type="http://schemas.openxmlformats.org/officeDocument/2006/relationships/themeOverride" Target="../theme/themeOverride41.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5.xml"/><Relationship Id="rId1" Type="http://schemas.openxmlformats.org/officeDocument/2006/relationships/themeOverride" Target="../theme/themeOverride42.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6.xml"/><Relationship Id="rId1" Type="http://schemas.openxmlformats.org/officeDocument/2006/relationships/themeOverride" Target="../theme/themeOverride43.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7.xml"/><Relationship Id="rId1" Type="http://schemas.openxmlformats.org/officeDocument/2006/relationships/themeOverride" Target="../theme/themeOverride4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8.xml"/><Relationship Id="rId1" Type="http://schemas.openxmlformats.org/officeDocument/2006/relationships/themeOverride" Target="../theme/themeOverride4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9.xml"/><Relationship Id="rId1" Type="http://schemas.openxmlformats.org/officeDocument/2006/relationships/themeOverride" Target="../theme/themeOverride46.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0.xml"/><Relationship Id="rId1" Type="http://schemas.openxmlformats.org/officeDocument/2006/relationships/themeOverride" Target="../theme/themeOverride47.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1.xml"/><Relationship Id="rId1" Type="http://schemas.openxmlformats.org/officeDocument/2006/relationships/themeOverride" Target="../theme/themeOverride4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2.xml"/><Relationship Id="rId1" Type="http://schemas.openxmlformats.org/officeDocument/2006/relationships/themeOverride" Target="../theme/themeOverride4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3.xml"/><Relationship Id="rId1" Type="http://schemas.openxmlformats.org/officeDocument/2006/relationships/themeOverride" Target="../theme/themeOverride50.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hemeOverride" Target="../theme/themeOverride51.xml"/><Relationship Id="rId4"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hemeOverride" Target="../theme/themeOverride52.xml"/><Relationship Id="rId4"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hemeOverride" Target="../theme/themeOverride53.xml"/><Relationship Id="rId4"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hemeOverride" Target="../theme/themeOverride54.xml"/><Relationship Id="rId4"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hemeOverride" Target="../theme/themeOverride55.xml"/><Relationship Id="rId4"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4.xml"/><Relationship Id="rId1" Type="http://schemas.openxmlformats.org/officeDocument/2006/relationships/themeOverride" Target="../theme/themeOverride5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5.xml"/><Relationship Id="rId1" Type="http://schemas.openxmlformats.org/officeDocument/2006/relationships/themeOverride" Target="../theme/themeOverride57.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hemeOverride" Target="../theme/themeOverride58.xml"/><Relationship Id="rId4"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5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tags" Target="../tags/tag56.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themeOverride" Target="../theme/themeOverride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 Id="rId9"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hemeOverride" Target="../theme/themeOverride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07.xml"/><Relationship Id="rId7" Type="http://schemas.openxmlformats.org/officeDocument/2006/relationships/image" Target="../media/image11.png"/><Relationship Id="rId2" Type="http://schemas.openxmlformats.org/officeDocument/2006/relationships/tags" Target="../tags/tag106.xml"/><Relationship Id="rId1" Type="http://schemas.openxmlformats.org/officeDocument/2006/relationships/themeOverride" Target="../theme/themeOverride3.xml"/><Relationship Id="rId6" Type="http://schemas.openxmlformats.org/officeDocument/2006/relationships/image" Target="../media/image10.png"/><Relationship Id="rId5" Type="http://schemas.openxmlformats.org/officeDocument/2006/relationships/slideMaster" Target="../slideMasters/slideMaster5.xml"/><Relationship Id="rId4" Type="http://schemas.openxmlformats.org/officeDocument/2006/relationships/tags" Target="../tags/tag108.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10.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themeOverride" Target="../theme/themeOverride4.xml"/><Relationship Id="rId6" Type="http://schemas.openxmlformats.org/officeDocument/2006/relationships/image" Target="../media/image10.png"/><Relationship Id="rId5" Type="http://schemas.openxmlformats.org/officeDocument/2006/relationships/slideMaster" Target="../slideMasters/slideMaster5.xml"/><Relationship Id="rId4" Type="http://schemas.openxmlformats.org/officeDocument/2006/relationships/tags" Target="../tags/tag1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6C2B568A-0147-42B3-9F7A-A5D8C9D99F6D}"/>
              </a:ext>
            </a:extLst>
          </p:cNvPr>
          <p:cNvSpPr>
            <a:spLocks noGrp="1"/>
          </p:cNvSpPr>
          <p:nvPr>
            <p:ph type="dt" sz="half" idx="10"/>
            <p:custDataLst>
              <p:tags r:id="rId1"/>
            </p:custDataLst>
          </p:nvPr>
        </p:nvSpPr>
        <p:spPr/>
        <p:txBody>
          <a:bodyPr/>
          <a:lstStyle>
            <a:lvl1pPr>
              <a:defRPr lang="en-GB" dirty="0"/>
            </a:lvl1pPr>
          </a:lstStyle>
          <a:p>
            <a:endParaRPr lang="de-AT"/>
          </a:p>
        </p:txBody>
      </p:sp>
      <p:sp>
        <p:nvSpPr>
          <p:cNvPr id="6" name="Foliennummernplatzhalter 5">
            <a:extLst>
              <a:ext uri="{FF2B5EF4-FFF2-40B4-BE49-F238E27FC236}">
                <a16:creationId xmlns:a16="http://schemas.microsoft.com/office/drawing/2014/main" id="{C2BCD42F-6371-4FD7-AFEC-F5CF851D7985}"/>
              </a:ext>
            </a:extLst>
          </p:cNvPr>
          <p:cNvSpPr>
            <a:spLocks noGrp="1"/>
          </p:cNvSpPr>
          <p:nvPr>
            <p:ph type="sldNum" sz="quarter" idx="12"/>
            <p:custDataLst>
              <p:tags r:id="rId2"/>
            </p:custDataLst>
          </p:nvPr>
        </p:nvSpPr>
        <p:spPr/>
        <p:txBody>
          <a:bodyPr/>
          <a:lstStyle/>
          <a:p>
            <a:fld id="{B459E51B-A277-4897-9DDF-ABA4750400EB}" type="slidenum">
              <a:rPr lang="en-GB" smtClean="0"/>
              <a:t>‹Nr.›</a:t>
            </a:fld>
            <a:endParaRPr lang="en-GB" dirty="0"/>
          </a:p>
        </p:txBody>
      </p:sp>
      <p:sp>
        <p:nvSpPr>
          <p:cNvPr id="10" name="Text Placeholder 9">
            <a:extLst>
              <a:ext uri="{FF2B5EF4-FFF2-40B4-BE49-F238E27FC236}">
                <a16:creationId xmlns:a16="http://schemas.microsoft.com/office/drawing/2014/main" id="{1A2082F7-6D8D-40F4-A3CA-E50976CC1F5A}"/>
              </a:ext>
            </a:extLst>
          </p:cNvPr>
          <p:cNvSpPr>
            <a:spLocks noGrp="1"/>
          </p:cNvSpPr>
          <p:nvPr>
            <p:ph type="body" sz="quarter" idx="13" hasCustomPrompt="1"/>
            <p:custDataLst>
              <p:tags r:id="rId3"/>
            </p:custDataLst>
          </p:nvPr>
        </p:nvSpPr>
        <p:spPr>
          <a:xfrm>
            <a:off x="461639" y="895350"/>
            <a:ext cx="9853612" cy="400050"/>
          </a:xfrm>
        </p:spPr>
        <p:txBody>
          <a:bodyPr>
            <a:noAutofit/>
          </a:bodyPr>
          <a:lstStyle>
            <a:lvl1pPr marL="0" indent="0">
              <a:buNone/>
              <a:defRPr sz="2000">
                <a:latin typeface="Georgia" panose="02040502050405020303" pitchFamily="18" charset="0"/>
              </a:defRPr>
            </a:lvl1pPr>
            <a:lvl2pPr marL="266693" indent="0">
              <a:buFont typeface="Arial" panose="020B0604020202020204" pitchFamily="34" charset="0"/>
              <a:buNone/>
              <a:defRPr sz="2400">
                <a:latin typeface="Georgia" panose="02040502050405020303" pitchFamily="18" charset="0"/>
              </a:defRPr>
            </a:lvl2pPr>
            <a:lvl3pPr marL="541325" indent="0">
              <a:buFont typeface="Arial" panose="020B0604020202020204" pitchFamily="34" charset="0"/>
              <a:buNone/>
              <a:defRPr sz="2400">
                <a:latin typeface="Georgia" panose="02040502050405020303" pitchFamily="18" charset="0"/>
              </a:defRPr>
            </a:lvl3pPr>
            <a:lvl4pPr marL="808018" indent="0">
              <a:buFont typeface="Arial" panose="020B0604020202020204" pitchFamily="34" charset="0"/>
              <a:buNone/>
              <a:defRPr sz="2400">
                <a:latin typeface="Georgia" panose="02040502050405020303" pitchFamily="18" charset="0"/>
              </a:defRPr>
            </a:lvl4pPr>
            <a:lvl5pPr marL="1074710" indent="0">
              <a:buFont typeface="Arial" panose="020B0604020202020204" pitchFamily="34" charset="0"/>
              <a:buNone/>
              <a:defRPr sz="2400">
                <a:latin typeface="Georgia" panose="02040502050405020303" pitchFamily="18" charset="0"/>
              </a:defRPr>
            </a:lvl5pPr>
          </a:lstStyle>
          <a:p>
            <a:pPr lvl="0"/>
            <a:r>
              <a:rPr lang="en-GB" dirty="0"/>
              <a:t>Subtitle (optional)</a:t>
            </a:r>
          </a:p>
        </p:txBody>
      </p:sp>
      <p:sp>
        <p:nvSpPr>
          <p:cNvPr id="2" name="Title 1">
            <a:extLst>
              <a:ext uri="{FF2B5EF4-FFF2-40B4-BE49-F238E27FC236}">
                <a16:creationId xmlns:a16="http://schemas.microsoft.com/office/drawing/2014/main" id="{B9FBF93C-9D51-4CB5-B6F3-6BDEBB9709EE}"/>
              </a:ext>
            </a:extLst>
          </p:cNvPr>
          <p:cNvSpPr>
            <a:spLocks noGrp="1"/>
          </p:cNvSpPr>
          <p:nvPr>
            <p:ph type="title"/>
            <p:custDataLst>
              <p:tags r:id="rId4"/>
            </p:custDataLst>
          </p:nvPr>
        </p:nvSpPr>
        <p:spPr/>
        <p:txBody>
          <a:bodyPr/>
          <a:lstStyle/>
          <a:p>
            <a:r>
              <a:rPr lang="en-US"/>
              <a:t>Click to edit Master title style</a:t>
            </a:r>
            <a:endParaRPr lang="en-GB" dirty="0"/>
          </a:p>
        </p:txBody>
      </p:sp>
      <p:sp>
        <p:nvSpPr>
          <p:cNvPr id="9" name="Content Placeholder 8">
            <a:extLst>
              <a:ext uri="{FF2B5EF4-FFF2-40B4-BE49-F238E27FC236}">
                <a16:creationId xmlns:a16="http://schemas.microsoft.com/office/drawing/2014/main" id="{60F0E487-2FB6-4E84-A081-AE75050252B2}"/>
              </a:ext>
            </a:extLst>
          </p:cNvPr>
          <p:cNvSpPr>
            <a:spLocks noGrp="1"/>
          </p:cNvSpPr>
          <p:nvPr>
            <p:ph sz="quarter" idx="14"/>
            <p:custDataLst>
              <p:tags r:id="rId5"/>
            </p:custDataLst>
          </p:nvPr>
        </p:nvSpPr>
        <p:spPr>
          <a:xfrm>
            <a:off x="461640" y="1592265"/>
            <a:ext cx="9839325" cy="41532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5697930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untry Description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42D92EA-871A-4725-9B42-29181AB5F397}"/>
              </a:ext>
            </a:extLst>
          </p:cNvPr>
          <p:cNvSpPr>
            <a:spLocks noGrp="1"/>
          </p:cNvSpPr>
          <p:nvPr>
            <p:ph type="body" sz="quarter" idx="19"/>
            <p:custDataLst>
              <p:tags r:id="rId1"/>
            </p:custDataLst>
          </p:nvPr>
        </p:nvSpPr>
        <p:spPr>
          <a:xfrm>
            <a:off x="461640" y="1592263"/>
            <a:ext cx="6800851" cy="412273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platzhalter 13">
            <a:extLst>
              <a:ext uri="{FF2B5EF4-FFF2-40B4-BE49-F238E27FC236}">
                <a16:creationId xmlns:a16="http://schemas.microsoft.com/office/drawing/2014/main" id="{C9BF234E-89A6-4EEB-B0F7-2A2450097A1E}"/>
              </a:ext>
            </a:extLst>
          </p:cNvPr>
          <p:cNvSpPr>
            <a:spLocks noGrp="1"/>
          </p:cNvSpPr>
          <p:nvPr>
            <p:ph type="body" sz="quarter" idx="15" hasCustomPrompt="1"/>
            <p:custDataLst>
              <p:tags r:id="rId2"/>
            </p:custDataLst>
          </p:nvPr>
        </p:nvSpPr>
        <p:spPr>
          <a:xfrm>
            <a:off x="8855075" y="1439863"/>
            <a:ext cx="2871787" cy="1285582"/>
          </a:xfrm>
          <a:prstGeom prst="rect">
            <a:avLst/>
          </a:prstGeom>
        </p:spPr>
        <p:txBody>
          <a:bodyPr/>
          <a:lstStyle>
            <a:lvl1pPr marL="0" indent="0">
              <a:buNone/>
              <a:defRPr sz="1200" b="1">
                <a:solidFill>
                  <a:schemeClr val="accent2"/>
                </a:solidFill>
              </a:defRPr>
            </a:lvl1pPr>
            <a:lvl2pPr marL="0" indent="0">
              <a:spcBef>
                <a:spcPts val="0"/>
              </a:spcBef>
              <a:spcAft>
                <a:spcPts val="1800"/>
              </a:spcAft>
              <a:buNone/>
              <a:defRPr sz="1200" b="1"/>
            </a:lvl2pPr>
            <a:lvl3pPr marL="0" indent="0">
              <a:spcBef>
                <a:spcPts val="0"/>
              </a:spcBef>
              <a:buNone/>
              <a:defRPr sz="1200"/>
            </a:lvl3pPr>
            <a:lvl4pPr marL="985814" indent="0">
              <a:buNone/>
              <a:defRPr/>
            </a:lvl4pPr>
            <a:lvl5pPr marL="1258857" indent="0">
              <a:buNone/>
              <a:defRPr/>
            </a:lvl5pPr>
          </a:lstStyle>
          <a:p>
            <a:pPr lvl="0"/>
            <a:r>
              <a:rPr lang="en-GB" dirty="0"/>
              <a:t>Name</a:t>
            </a:r>
          </a:p>
          <a:p>
            <a:pPr lvl="1"/>
            <a:r>
              <a:rPr lang="en-GB" dirty="0"/>
              <a:t>Function </a:t>
            </a:r>
          </a:p>
          <a:p>
            <a:pPr lvl="2"/>
            <a:r>
              <a:rPr lang="en-GB" dirty="0"/>
              <a:t>Address</a:t>
            </a:r>
          </a:p>
        </p:txBody>
      </p:sp>
      <p:sp>
        <p:nvSpPr>
          <p:cNvPr id="9" name="Bildplatzhalter 8">
            <a:extLst>
              <a:ext uri="{FF2B5EF4-FFF2-40B4-BE49-F238E27FC236}">
                <a16:creationId xmlns:a16="http://schemas.microsoft.com/office/drawing/2014/main" id="{11581BED-00C2-4D87-8340-6332C9CF253D}"/>
              </a:ext>
            </a:extLst>
          </p:cNvPr>
          <p:cNvSpPr>
            <a:spLocks noGrp="1"/>
          </p:cNvSpPr>
          <p:nvPr>
            <p:ph type="pic" sz="quarter" idx="18"/>
            <p:custDataLst>
              <p:tags r:id="rId3"/>
            </p:custDataLst>
          </p:nvPr>
        </p:nvSpPr>
        <p:spPr>
          <a:xfrm>
            <a:off x="7750207" y="1439863"/>
            <a:ext cx="878889" cy="1285582"/>
          </a:xfrm>
          <a:prstGeom prst="rect">
            <a:avLst/>
          </a:prstGeom>
        </p:spPr>
        <p:txBody>
          <a:bodyPr/>
          <a:lstStyle>
            <a:lvl1pPr marL="0" indent="0">
              <a:buNone/>
              <a:defRPr/>
            </a:lvl1pPr>
          </a:lstStyle>
          <a:p>
            <a:r>
              <a:rPr lang="en-US"/>
              <a:t>Click icon to add picture</a:t>
            </a:r>
            <a:endParaRPr lang="en-GB" dirty="0"/>
          </a:p>
        </p:txBody>
      </p:sp>
      <p:sp>
        <p:nvSpPr>
          <p:cNvPr id="13" name="Textplatzhalter 13">
            <a:extLst>
              <a:ext uri="{FF2B5EF4-FFF2-40B4-BE49-F238E27FC236}">
                <a16:creationId xmlns:a16="http://schemas.microsoft.com/office/drawing/2014/main" id="{C7DDCF57-ECCF-4064-9AE5-502B9FA5EEC8}"/>
              </a:ext>
            </a:extLst>
          </p:cNvPr>
          <p:cNvSpPr>
            <a:spLocks noGrp="1"/>
          </p:cNvSpPr>
          <p:nvPr>
            <p:ph type="body" sz="quarter" idx="22" hasCustomPrompt="1"/>
            <p:custDataLst>
              <p:tags r:id="rId4"/>
            </p:custDataLst>
          </p:nvPr>
        </p:nvSpPr>
        <p:spPr>
          <a:xfrm>
            <a:off x="8855075" y="2860291"/>
            <a:ext cx="2871787" cy="1285582"/>
          </a:xfrm>
          <a:prstGeom prst="rect">
            <a:avLst/>
          </a:prstGeom>
        </p:spPr>
        <p:txBody>
          <a:bodyPr/>
          <a:lstStyle>
            <a:lvl1pPr marL="0" indent="0">
              <a:buNone/>
              <a:defRPr sz="1200" b="1">
                <a:solidFill>
                  <a:schemeClr val="accent2"/>
                </a:solidFill>
              </a:defRPr>
            </a:lvl1pPr>
            <a:lvl2pPr marL="0" indent="0">
              <a:spcBef>
                <a:spcPts val="0"/>
              </a:spcBef>
              <a:spcAft>
                <a:spcPts val="1800"/>
              </a:spcAft>
              <a:buNone/>
              <a:defRPr sz="1200" b="1"/>
            </a:lvl2pPr>
            <a:lvl3pPr marL="0" indent="0">
              <a:spcBef>
                <a:spcPts val="0"/>
              </a:spcBef>
              <a:buNone/>
              <a:defRPr sz="1200"/>
            </a:lvl3pPr>
            <a:lvl4pPr marL="985814" indent="0">
              <a:buNone/>
              <a:defRPr/>
            </a:lvl4pPr>
            <a:lvl5pPr marL="1258857" indent="0">
              <a:buNone/>
              <a:defRPr/>
            </a:lvl5pPr>
          </a:lstStyle>
          <a:p>
            <a:pPr lvl="0"/>
            <a:r>
              <a:rPr lang="en-GB" dirty="0"/>
              <a:t>Name</a:t>
            </a:r>
          </a:p>
          <a:p>
            <a:pPr lvl="1"/>
            <a:r>
              <a:rPr lang="en-GB" dirty="0"/>
              <a:t>Function </a:t>
            </a:r>
          </a:p>
          <a:p>
            <a:pPr lvl="2"/>
            <a:r>
              <a:rPr lang="en-GB" dirty="0"/>
              <a:t>Address</a:t>
            </a:r>
          </a:p>
        </p:txBody>
      </p:sp>
      <p:sp>
        <p:nvSpPr>
          <p:cNvPr id="14" name="Bildplatzhalter 8">
            <a:extLst>
              <a:ext uri="{FF2B5EF4-FFF2-40B4-BE49-F238E27FC236}">
                <a16:creationId xmlns:a16="http://schemas.microsoft.com/office/drawing/2014/main" id="{11E4BE7D-9BF0-46EE-AF15-601C48B7C538}"/>
              </a:ext>
            </a:extLst>
          </p:cNvPr>
          <p:cNvSpPr>
            <a:spLocks noGrp="1"/>
          </p:cNvSpPr>
          <p:nvPr>
            <p:ph type="pic" sz="quarter" idx="23"/>
            <p:custDataLst>
              <p:tags r:id="rId5"/>
            </p:custDataLst>
          </p:nvPr>
        </p:nvSpPr>
        <p:spPr>
          <a:xfrm>
            <a:off x="7750207" y="2860291"/>
            <a:ext cx="878889" cy="1285582"/>
          </a:xfrm>
          <a:prstGeom prst="rect">
            <a:avLst/>
          </a:prstGeom>
        </p:spPr>
        <p:txBody>
          <a:bodyPr/>
          <a:lstStyle>
            <a:lvl1pPr marL="0" indent="0">
              <a:buNone/>
              <a:defRPr/>
            </a:lvl1pPr>
          </a:lstStyle>
          <a:p>
            <a:r>
              <a:rPr lang="en-US"/>
              <a:t>Click icon to add picture</a:t>
            </a:r>
            <a:endParaRPr lang="en-GB" dirty="0"/>
          </a:p>
        </p:txBody>
      </p:sp>
      <p:sp>
        <p:nvSpPr>
          <p:cNvPr id="15" name="Textplatzhalter 13">
            <a:extLst>
              <a:ext uri="{FF2B5EF4-FFF2-40B4-BE49-F238E27FC236}">
                <a16:creationId xmlns:a16="http://schemas.microsoft.com/office/drawing/2014/main" id="{9F6C1616-6B83-4BEA-8C80-124EBE307D1D}"/>
              </a:ext>
            </a:extLst>
          </p:cNvPr>
          <p:cNvSpPr>
            <a:spLocks noGrp="1"/>
          </p:cNvSpPr>
          <p:nvPr>
            <p:ph type="body" sz="quarter" idx="24" hasCustomPrompt="1"/>
            <p:custDataLst>
              <p:tags r:id="rId6"/>
            </p:custDataLst>
          </p:nvPr>
        </p:nvSpPr>
        <p:spPr>
          <a:xfrm>
            <a:off x="8855075" y="4280718"/>
            <a:ext cx="2871787" cy="1285582"/>
          </a:xfrm>
          <a:prstGeom prst="rect">
            <a:avLst/>
          </a:prstGeom>
        </p:spPr>
        <p:txBody>
          <a:bodyPr/>
          <a:lstStyle>
            <a:lvl1pPr marL="0" indent="0">
              <a:buNone/>
              <a:defRPr sz="1200" b="1">
                <a:solidFill>
                  <a:schemeClr val="accent2"/>
                </a:solidFill>
              </a:defRPr>
            </a:lvl1pPr>
            <a:lvl2pPr marL="0" indent="0">
              <a:spcBef>
                <a:spcPts val="0"/>
              </a:spcBef>
              <a:spcAft>
                <a:spcPts val="1800"/>
              </a:spcAft>
              <a:buNone/>
              <a:defRPr sz="1200" b="1"/>
            </a:lvl2pPr>
            <a:lvl3pPr marL="0" indent="0">
              <a:spcBef>
                <a:spcPts val="0"/>
              </a:spcBef>
              <a:buNone/>
              <a:defRPr sz="1200"/>
            </a:lvl3pPr>
            <a:lvl4pPr marL="985814" indent="0">
              <a:buNone/>
              <a:defRPr/>
            </a:lvl4pPr>
            <a:lvl5pPr marL="1258857" indent="0">
              <a:buNone/>
              <a:defRPr/>
            </a:lvl5pPr>
          </a:lstStyle>
          <a:p>
            <a:pPr lvl="0"/>
            <a:r>
              <a:rPr lang="en-GB" dirty="0"/>
              <a:t>Name</a:t>
            </a:r>
          </a:p>
          <a:p>
            <a:pPr lvl="1"/>
            <a:r>
              <a:rPr lang="en-GB" dirty="0"/>
              <a:t>Function </a:t>
            </a:r>
          </a:p>
          <a:p>
            <a:pPr lvl="2"/>
            <a:r>
              <a:rPr lang="en-GB" dirty="0"/>
              <a:t>Address</a:t>
            </a:r>
          </a:p>
        </p:txBody>
      </p:sp>
      <p:sp>
        <p:nvSpPr>
          <p:cNvPr id="19" name="Bildplatzhalter 8">
            <a:extLst>
              <a:ext uri="{FF2B5EF4-FFF2-40B4-BE49-F238E27FC236}">
                <a16:creationId xmlns:a16="http://schemas.microsoft.com/office/drawing/2014/main" id="{25AEFE70-DD9C-41F7-B844-5A5C1EC38ECB}"/>
              </a:ext>
            </a:extLst>
          </p:cNvPr>
          <p:cNvSpPr>
            <a:spLocks noGrp="1"/>
          </p:cNvSpPr>
          <p:nvPr>
            <p:ph type="pic" sz="quarter" idx="25"/>
            <p:custDataLst>
              <p:tags r:id="rId7"/>
            </p:custDataLst>
          </p:nvPr>
        </p:nvSpPr>
        <p:spPr>
          <a:xfrm>
            <a:off x="7750207" y="4280718"/>
            <a:ext cx="878889" cy="1285582"/>
          </a:xfrm>
          <a:prstGeom prst="rect">
            <a:avLst/>
          </a:prstGeom>
        </p:spPr>
        <p:txBody>
          <a:bodyPr/>
          <a:lstStyle>
            <a:lvl1pPr marL="0" indent="0">
              <a:buNone/>
              <a:defRPr/>
            </a:lvl1pPr>
          </a:lstStyle>
          <a:p>
            <a:r>
              <a:rPr lang="en-US"/>
              <a:t>Click icon to add picture</a:t>
            </a:r>
            <a:endParaRPr lang="en-GB" dirty="0"/>
          </a:p>
        </p:txBody>
      </p:sp>
      <p:sp>
        <p:nvSpPr>
          <p:cNvPr id="7" name="Content Placeholder 6">
            <a:extLst>
              <a:ext uri="{FF2B5EF4-FFF2-40B4-BE49-F238E27FC236}">
                <a16:creationId xmlns:a16="http://schemas.microsoft.com/office/drawing/2014/main" id="{541B6559-28D8-436D-BC92-EC5C81CEC5AC}"/>
              </a:ext>
            </a:extLst>
          </p:cNvPr>
          <p:cNvSpPr>
            <a:spLocks noGrp="1"/>
          </p:cNvSpPr>
          <p:nvPr>
            <p:ph sz="quarter" idx="26" hasCustomPrompt="1"/>
            <p:custDataLst>
              <p:tags r:id="rId8"/>
            </p:custDataLst>
          </p:nvPr>
        </p:nvSpPr>
        <p:spPr>
          <a:xfrm>
            <a:off x="466726" y="520262"/>
            <a:ext cx="2768401" cy="360000"/>
          </a:xfrm>
        </p:spPr>
        <p:txBody>
          <a:bodyPr/>
          <a:lstStyle>
            <a:lvl1pPr marL="0" indent="0">
              <a:buNone/>
              <a:defRPr/>
            </a:lvl1pPr>
          </a:lstStyle>
          <a:p>
            <a:pPr lvl="0"/>
            <a:r>
              <a:rPr lang="en-GB" dirty="0"/>
              <a:t>Insert Country Tag</a:t>
            </a:r>
          </a:p>
        </p:txBody>
      </p:sp>
      <p:sp>
        <p:nvSpPr>
          <p:cNvPr id="2" name="Date Placeholder 1">
            <a:extLst>
              <a:ext uri="{FF2B5EF4-FFF2-40B4-BE49-F238E27FC236}">
                <a16:creationId xmlns:a16="http://schemas.microsoft.com/office/drawing/2014/main" id="{9953459A-D72E-4212-A07A-CE8477E48EE4}"/>
              </a:ext>
            </a:extLst>
          </p:cNvPr>
          <p:cNvSpPr>
            <a:spLocks noGrp="1"/>
          </p:cNvSpPr>
          <p:nvPr>
            <p:ph type="dt" sz="half" idx="27"/>
            <p:custDataLst>
              <p:tags r:id="rId9"/>
            </p:custDataLst>
          </p:nvPr>
        </p:nvSpPr>
        <p:spPr/>
        <p:txBody>
          <a:bodyPr/>
          <a:lstStyle>
            <a:lvl1pPr>
              <a:defRPr lang="en-GB" dirty="0"/>
            </a:lvl1pPr>
          </a:lstStyle>
          <a:p>
            <a:endParaRPr lang="de-AT"/>
          </a:p>
        </p:txBody>
      </p:sp>
      <p:sp>
        <p:nvSpPr>
          <p:cNvPr id="5" name="Slide Number Placeholder 4">
            <a:extLst>
              <a:ext uri="{FF2B5EF4-FFF2-40B4-BE49-F238E27FC236}">
                <a16:creationId xmlns:a16="http://schemas.microsoft.com/office/drawing/2014/main" id="{4754EA5E-027A-4561-B0EC-0F6244567FC6}"/>
              </a:ext>
            </a:extLst>
          </p:cNvPr>
          <p:cNvSpPr>
            <a:spLocks noGrp="1"/>
          </p:cNvSpPr>
          <p:nvPr>
            <p:ph type="sldNum" sz="quarter" idx="28"/>
            <p:custDataLst>
              <p:tags r:id="rId10"/>
            </p:custDataLst>
          </p:nvPr>
        </p:nvSpPr>
        <p:spPr/>
        <p:txBody>
          <a:bodyPr/>
          <a:lstStyle/>
          <a:p>
            <a:fld id="{B459E51B-A277-4897-9DDF-ABA4750400EB}" type="slidenum">
              <a:rPr lang="en-GB" smtClean="0"/>
              <a:pPr/>
              <a:t>‹Nr.›</a:t>
            </a:fld>
            <a:endParaRPr lang="en-GB" dirty="0"/>
          </a:p>
        </p:txBody>
      </p:sp>
    </p:spTree>
    <p:extLst>
      <p:ext uri="{BB962C8B-B14F-4D97-AF65-F5344CB8AC3E}">
        <p14:creationId xmlns:p14="http://schemas.microsoft.com/office/powerpoint/2010/main" val="27439054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1488"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p:nvPr>
        </p:nvSpPr>
        <p:spPr>
          <a:xfrm>
            <a:off x="334962" y="1125538"/>
            <a:ext cx="9361487" cy="4824411"/>
          </a:xfrm>
        </p:spPr>
        <p:txBody>
          <a:bodyPr/>
          <a:lstStyle>
            <a:lvl1pPr marL="540000" indent="-540000">
              <a:lnSpc>
                <a:spcPct val="100000"/>
              </a:lnSpc>
              <a:spcBef>
                <a:spcPts val="300"/>
              </a:spcBef>
              <a:buFont typeface="+mj-lt"/>
              <a:buAutoNum type="arabicPeriod"/>
              <a:defRPr sz="2000"/>
            </a:lvl1pPr>
          </a:lstStyle>
          <a:p>
            <a:pPr lvl="0"/>
            <a:r>
              <a:rPr lang="en-US" dirty="0" err="1"/>
              <a:t>Mastertextformat</a:t>
            </a:r>
            <a:r>
              <a:rPr lang="en-US" dirty="0"/>
              <a:t> </a:t>
            </a:r>
            <a:r>
              <a:rPr lang="en-US" dirty="0" err="1"/>
              <a:t>bearbeiten</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00483C72-91E1-4158-B17C-9388B4B10A8A}" type="slidenum">
              <a:rPr lang="en-US" smtClean="0"/>
              <a:pPr/>
              <a:t>‹Nr.›</a:t>
            </a:fld>
            <a:endParaRPr lang="en-US" dirty="0"/>
          </a:p>
        </p:txBody>
      </p:sp>
      <p:sp>
        <p:nvSpPr>
          <p:cNvPr id="8" name="Datumsplatzhalter 7">
            <a:extLst>
              <a:ext uri="{FF2B5EF4-FFF2-40B4-BE49-F238E27FC236}">
                <a16:creationId xmlns:a16="http://schemas.microsoft.com/office/drawing/2014/main" id="{70BD36B3-C349-41EE-9BB2-310858719D94}"/>
              </a:ext>
            </a:extLst>
          </p:cNvPr>
          <p:cNvSpPr>
            <a:spLocks noGrp="1"/>
          </p:cNvSpPr>
          <p:nvPr>
            <p:ph type="dt" sz="half" idx="16"/>
          </p:nvPr>
        </p:nvSpPr>
        <p:spPr>
          <a:xfrm>
            <a:off x="335538" y="6487478"/>
            <a:ext cx="2880320" cy="133264"/>
          </a:xfrm>
        </p:spPr>
        <p:txBody>
          <a:bodyPr/>
          <a:lstStyle/>
          <a:p>
            <a:r>
              <a:rPr lang="en-US"/>
              <a:t>September 15-16, 2022</a:t>
            </a:r>
            <a:endParaRPr lang="en-US" dirty="0"/>
          </a:p>
        </p:txBody>
      </p:sp>
      <p:sp>
        <p:nvSpPr>
          <p:cNvPr id="2" name="TextBox 1">
            <a:extLst>
              <a:ext uri="{FF2B5EF4-FFF2-40B4-BE49-F238E27FC236}">
                <a16:creationId xmlns:a16="http://schemas.microsoft.com/office/drawing/2014/main" id="{8CC0A9A3-7325-4EA1-8C3A-8069B67F358D}"/>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319806380"/>
      </p:ext>
    </p:extLst>
  </p:cSld>
  <p:clrMapOvr>
    <a:masterClrMapping/>
  </p:clrMapOvr>
  <p:hf hdr="0"/>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Kapiteltitel weiss" preserve="1" userDrawn="1">
  <p:cSld name="Kapiteltitel weis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2" y="260648"/>
            <a:ext cx="9361487" cy="5689301"/>
          </a:xfrm>
        </p:spPr>
        <p:txBody>
          <a:bodyPr/>
          <a:lstStyle>
            <a:lvl1pPr marL="0" indent="0">
              <a:lnSpc>
                <a:spcPct val="100000"/>
              </a:lnSpc>
              <a:spcBef>
                <a:spcPts val="300"/>
              </a:spcBef>
              <a:buFontTx/>
              <a:buNone/>
              <a:tabLst>
                <a:tab pos="540000" algn="l"/>
              </a:tabLst>
              <a:defRPr sz="3000">
                <a:solidFill>
                  <a:schemeClr val="tx2"/>
                </a:solidFill>
              </a:defRPr>
            </a:lvl1pPr>
          </a:lstStyle>
          <a:p>
            <a:pPr lvl="0"/>
            <a:r>
              <a:rPr lang="en-US" dirty="0"/>
              <a:t>1.	</a:t>
            </a:r>
            <a:r>
              <a:rPr lang="en-US" dirty="0" err="1"/>
              <a:t>Kapiteltitel</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E55F4DC8-1263-4865-892E-D2A3CC89C4CF}" type="slidenum">
              <a:rPr lang="en-US" smtClean="0"/>
              <a:pPr/>
              <a:t>‹Nr.›</a:t>
            </a:fld>
            <a:endParaRPr lang="en-US" dirty="0"/>
          </a:p>
        </p:txBody>
      </p:sp>
      <p:sp>
        <p:nvSpPr>
          <p:cNvPr id="5" name="Datumsplatzhalter 4">
            <a:extLst>
              <a:ext uri="{FF2B5EF4-FFF2-40B4-BE49-F238E27FC236}">
                <a16:creationId xmlns:a16="http://schemas.microsoft.com/office/drawing/2014/main" id="{90F99EC2-611C-45E9-9E24-929D197F5249}"/>
              </a:ext>
            </a:extLst>
          </p:cNvPr>
          <p:cNvSpPr>
            <a:spLocks noGrp="1"/>
          </p:cNvSpPr>
          <p:nvPr>
            <p:ph type="dt" sz="half" idx="16"/>
          </p:nvPr>
        </p:nvSpPr>
        <p:spPr>
          <a:xfrm>
            <a:off x="335538" y="6487478"/>
            <a:ext cx="2880320" cy="133264"/>
          </a:xfrm>
        </p:spPr>
        <p:txBody>
          <a:bodyPr/>
          <a:lstStyle/>
          <a:p>
            <a:r>
              <a:rPr lang="en-US"/>
              <a:t>September 15-16, 2022</a:t>
            </a:r>
            <a:endParaRPr lang="en-US" dirty="0"/>
          </a:p>
        </p:txBody>
      </p:sp>
      <p:sp>
        <p:nvSpPr>
          <p:cNvPr id="2" name="TextBox 1">
            <a:extLst>
              <a:ext uri="{FF2B5EF4-FFF2-40B4-BE49-F238E27FC236}">
                <a16:creationId xmlns:a16="http://schemas.microsoft.com/office/drawing/2014/main" id="{1A27D7AB-8FA3-47AE-984D-91420027170D}"/>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1429509371"/>
      </p:ext>
    </p:extLst>
  </p:cSld>
  <p:clrMapOvr>
    <a:masterClrMapping/>
  </p:clrMapOvr>
  <p:hf hdr="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Kapiteltitel akzentuiert" preserve="1" userDrawn="1">
  <p:cSld name="Kapiteltitel akzentuier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2" y="260648"/>
            <a:ext cx="9361487" cy="5689301"/>
          </a:xfrm>
        </p:spPr>
        <p:txBody>
          <a:bodyPr/>
          <a:lstStyle>
            <a:lvl1pPr marL="0" indent="0">
              <a:lnSpc>
                <a:spcPct val="100000"/>
              </a:lnSpc>
              <a:spcBef>
                <a:spcPts val="300"/>
              </a:spcBef>
              <a:buFont typeface="+mj-lt"/>
              <a:buNone/>
              <a:tabLst>
                <a:tab pos="540000" algn="l"/>
              </a:tabLst>
              <a:defRPr sz="3000"/>
            </a:lvl1pPr>
          </a:lstStyle>
          <a:p>
            <a:pPr lvl="0"/>
            <a:r>
              <a:rPr lang="en-US" dirty="0"/>
              <a:t>1.	</a:t>
            </a:r>
            <a:r>
              <a:rPr lang="en-US" dirty="0" err="1"/>
              <a:t>Kapiteltitel</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lvl1pPr>
              <a:defRPr>
                <a:solidFill>
                  <a:schemeClr val="tx1"/>
                </a:solidFill>
              </a:defRPr>
            </a:lvl1pPr>
          </a:lstStyle>
          <a:p>
            <a:fld id="{9019306C-46E3-4E39-A44B-9240F1334516}" type="slidenum">
              <a:rPr lang="en-US" smtClean="0"/>
              <a:pPr/>
              <a:t>‹Nr.›</a:t>
            </a:fld>
            <a:endParaRPr lang="en-US" dirty="0"/>
          </a:p>
        </p:txBody>
      </p:sp>
      <p:sp>
        <p:nvSpPr>
          <p:cNvPr id="2" name="Datumsplatzhalter 1">
            <a:extLst>
              <a:ext uri="{FF2B5EF4-FFF2-40B4-BE49-F238E27FC236}">
                <a16:creationId xmlns:a16="http://schemas.microsoft.com/office/drawing/2014/main" id="{E4C65D6E-0322-42E5-AE69-74EF0F771AB7}"/>
              </a:ext>
            </a:extLst>
          </p:cNvPr>
          <p:cNvSpPr>
            <a:spLocks noGrp="1"/>
          </p:cNvSpPr>
          <p:nvPr>
            <p:ph type="dt" sz="half" idx="16"/>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980AE77B-8094-44F5-97F4-0A72ECC52687}"/>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
        <p:nvSpPr>
          <p:cNvPr id="5" name="Grafik 4">
            <a:extLst>
              <a:ext uri="{FF2B5EF4-FFF2-40B4-BE49-F238E27FC236}">
                <a16:creationId xmlns:a16="http://schemas.microsoft.com/office/drawing/2014/main" id="{74A48A72-F7F8-4ABD-B748-61C4CA1F19A5}"/>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3272479729"/>
      </p:ext>
    </p:extLst>
  </p:cSld>
  <p:clrMapOvr>
    <a:masterClrMapping/>
  </p:clrMapOvr>
  <p:hf hdr="0"/>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Kernaussage und Inhalt 1" preserve="1" userDrawn="1">
  <p:cSld name="Kernaussage und Inhal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109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5159895" y="1916113"/>
            <a:ext cx="6408217"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1488"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3" y="1916112"/>
            <a:ext cx="3600797" cy="4033837"/>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3C970441-8CD8-4E87-851D-4DD6B8F4A93D}" type="slidenum">
              <a:rPr lang="en-US" smtClean="0"/>
              <a:pPr/>
              <a:t>‹Nr.›</a:t>
            </a:fld>
            <a:endParaRPr lang="en-US" dirty="0"/>
          </a:p>
        </p:txBody>
      </p:sp>
      <p:sp>
        <p:nvSpPr>
          <p:cNvPr id="5" name="Datumsplatzhalter 4">
            <a:extLst>
              <a:ext uri="{FF2B5EF4-FFF2-40B4-BE49-F238E27FC236}">
                <a16:creationId xmlns:a16="http://schemas.microsoft.com/office/drawing/2014/main" id="{BC22BB0C-3964-4D92-887F-015AF11B6163}"/>
              </a:ext>
            </a:extLst>
          </p:cNvPr>
          <p:cNvSpPr>
            <a:spLocks noGrp="1"/>
          </p:cNvSpPr>
          <p:nvPr>
            <p:ph type="dt" sz="half" idx="16"/>
          </p:nvPr>
        </p:nvSpPr>
        <p:spPr>
          <a:xfrm>
            <a:off x="335538" y="6487478"/>
            <a:ext cx="2880320" cy="133264"/>
          </a:xfrm>
        </p:spPr>
        <p:txBody>
          <a:bodyPr/>
          <a:lstStyle/>
          <a:p>
            <a:r>
              <a:rPr lang="en-US"/>
              <a:t>September 15-16, 2022</a:t>
            </a:r>
            <a:endParaRPr lang="en-US" dirty="0"/>
          </a:p>
        </p:txBody>
      </p:sp>
      <p:sp>
        <p:nvSpPr>
          <p:cNvPr id="6" name="TextBox 5">
            <a:extLst>
              <a:ext uri="{FF2B5EF4-FFF2-40B4-BE49-F238E27FC236}">
                <a16:creationId xmlns:a16="http://schemas.microsoft.com/office/drawing/2014/main" id="{0DF31EA8-E043-44DB-AD92-41CA24656E34}"/>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581106884"/>
      </p:ext>
    </p:extLst>
  </p:cSld>
  <p:clrMapOvr>
    <a:masterClrMapping/>
  </p:clrMapOvr>
  <p:hf hdr="0"/>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Kernaussage und Inhalt 2" preserve="1" userDrawn="1">
  <p:cSld name="Kernaussage und Inhal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109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5159895" y="1125539"/>
            <a:ext cx="6408217" cy="4824412"/>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1488"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3" y="1916112"/>
            <a:ext cx="3600797" cy="4033837"/>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50E5B69A-F1F7-4B38-B0B0-C272472D7D72}" type="slidenum">
              <a:rPr lang="en-US" smtClean="0"/>
              <a:pPr/>
              <a:t>‹Nr.›</a:t>
            </a:fld>
            <a:endParaRPr lang="en-US" dirty="0"/>
          </a:p>
        </p:txBody>
      </p:sp>
      <p:sp>
        <p:nvSpPr>
          <p:cNvPr id="5" name="Datumsplatzhalter 4">
            <a:extLst>
              <a:ext uri="{FF2B5EF4-FFF2-40B4-BE49-F238E27FC236}">
                <a16:creationId xmlns:a16="http://schemas.microsoft.com/office/drawing/2014/main" id="{55090EB9-D674-426A-8390-BA9CE7CDC9A8}"/>
              </a:ext>
            </a:extLst>
          </p:cNvPr>
          <p:cNvSpPr>
            <a:spLocks noGrp="1"/>
          </p:cNvSpPr>
          <p:nvPr>
            <p:ph type="dt" sz="half" idx="16"/>
          </p:nvPr>
        </p:nvSpPr>
        <p:spPr>
          <a:xfrm>
            <a:off x="335538" y="6487478"/>
            <a:ext cx="2880320" cy="133264"/>
          </a:xfrm>
        </p:spPr>
        <p:txBody>
          <a:bodyPr/>
          <a:lstStyle/>
          <a:p>
            <a:r>
              <a:rPr lang="en-US"/>
              <a:t>September 15-16, 2022</a:t>
            </a:r>
            <a:endParaRPr lang="en-US" dirty="0"/>
          </a:p>
        </p:txBody>
      </p:sp>
      <p:sp>
        <p:nvSpPr>
          <p:cNvPr id="6" name="TextBox 5">
            <a:extLst>
              <a:ext uri="{FF2B5EF4-FFF2-40B4-BE49-F238E27FC236}">
                <a16:creationId xmlns:a16="http://schemas.microsoft.com/office/drawing/2014/main" id="{0FBA3AFD-3562-4FA2-BDDA-9615C282C7E2}"/>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1648124062"/>
      </p:ext>
    </p:extLst>
  </p:cSld>
  <p:clrMapOvr>
    <a:masterClrMapping/>
  </p:clrMapOvr>
  <p:hf hdr="0"/>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Kernaussage und 4 Textboxen akzentuiert" preserve="1" userDrawn="1">
  <p:cSld name="Kernaussage und 4 Textboxen akzentui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109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1488"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3" y="1916112"/>
            <a:ext cx="3600797" cy="4033837"/>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9B4FB35C-CEAB-4CD3-A05C-E15AE979CB2C}" type="slidenum">
              <a:rPr lang="en-US" smtClean="0"/>
              <a:pPr/>
              <a:t>‹Nr.›</a:t>
            </a:fld>
            <a:endParaRPr lang="en-US" dirty="0"/>
          </a:p>
        </p:txBody>
      </p:sp>
      <p:sp>
        <p:nvSpPr>
          <p:cNvPr id="29" name="Textplatzhalter 13">
            <a:extLst>
              <a:ext uri="{FF2B5EF4-FFF2-40B4-BE49-F238E27FC236}">
                <a16:creationId xmlns:a16="http://schemas.microsoft.com/office/drawing/2014/main" id="{BA73B1FA-0E2A-47F5-950A-2201DEC47678}"/>
              </a:ext>
            </a:extLst>
          </p:cNvPr>
          <p:cNvSpPr>
            <a:spLocks noGrp="1"/>
          </p:cNvSpPr>
          <p:nvPr>
            <p:ph type="body" sz="quarter" idx="17"/>
          </p:nvPr>
        </p:nvSpPr>
        <p:spPr>
          <a:xfrm>
            <a:off x="4150964" y="1125538"/>
            <a:ext cx="3600797" cy="2303462"/>
          </a:xfrm>
          <a:solidFill>
            <a:srgbClr val="28E6A5"/>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30" name="Textplatzhalter 13">
            <a:extLst>
              <a:ext uri="{FF2B5EF4-FFF2-40B4-BE49-F238E27FC236}">
                <a16:creationId xmlns:a16="http://schemas.microsoft.com/office/drawing/2014/main" id="{EDBB00A8-7A30-4C3E-B852-BE172BCE2AA8}"/>
              </a:ext>
            </a:extLst>
          </p:cNvPr>
          <p:cNvSpPr>
            <a:spLocks noGrp="1"/>
          </p:cNvSpPr>
          <p:nvPr>
            <p:ph type="body" sz="quarter" idx="22"/>
          </p:nvPr>
        </p:nvSpPr>
        <p:spPr>
          <a:xfrm>
            <a:off x="4150963" y="3648076"/>
            <a:ext cx="3600797" cy="2303462"/>
          </a:xfrm>
          <a:solidFill>
            <a:srgbClr val="46CF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31" name="Textplatzhalter 13">
            <a:extLst>
              <a:ext uri="{FF2B5EF4-FFF2-40B4-BE49-F238E27FC236}">
                <a16:creationId xmlns:a16="http://schemas.microsoft.com/office/drawing/2014/main" id="{9EA300B3-C7FC-4AB6-A3BD-2B11462BA947}"/>
              </a:ext>
            </a:extLst>
          </p:cNvPr>
          <p:cNvSpPr>
            <a:spLocks noGrp="1"/>
          </p:cNvSpPr>
          <p:nvPr>
            <p:ph type="body" sz="quarter" idx="23"/>
          </p:nvPr>
        </p:nvSpPr>
        <p:spPr>
          <a:xfrm>
            <a:off x="7967315" y="3648076"/>
            <a:ext cx="3600797" cy="2303462"/>
          </a:xfrm>
          <a:solidFill>
            <a:srgbClr val="9664E1"/>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32" name="Textplatzhalter 13">
            <a:extLst>
              <a:ext uri="{FF2B5EF4-FFF2-40B4-BE49-F238E27FC236}">
                <a16:creationId xmlns:a16="http://schemas.microsoft.com/office/drawing/2014/main" id="{1345A7DE-49E5-4D01-B519-0E541BFBE1E7}"/>
              </a:ext>
            </a:extLst>
          </p:cNvPr>
          <p:cNvSpPr>
            <a:spLocks noGrp="1"/>
          </p:cNvSpPr>
          <p:nvPr>
            <p:ph type="body" sz="quarter" idx="24"/>
          </p:nvPr>
        </p:nvSpPr>
        <p:spPr>
          <a:xfrm>
            <a:off x="7967316" y="1125538"/>
            <a:ext cx="3600797" cy="2303462"/>
          </a:xfrm>
          <a:solidFill>
            <a:srgbClr val="FF7382"/>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4" name="Datumsplatzhalter 3">
            <a:extLst>
              <a:ext uri="{FF2B5EF4-FFF2-40B4-BE49-F238E27FC236}">
                <a16:creationId xmlns:a16="http://schemas.microsoft.com/office/drawing/2014/main" id="{DE376627-3F3C-4272-BA94-A2D9C9150B39}"/>
              </a:ext>
            </a:extLst>
          </p:cNvPr>
          <p:cNvSpPr>
            <a:spLocks noGrp="1"/>
          </p:cNvSpPr>
          <p:nvPr>
            <p:ph type="dt" sz="half" idx="25"/>
          </p:nvPr>
        </p:nvSpPr>
        <p:spPr>
          <a:xfrm>
            <a:off x="335538" y="6487478"/>
            <a:ext cx="2880320" cy="133264"/>
          </a:xfrm>
        </p:spPr>
        <p:txBody>
          <a:bodyPr/>
          <a:lstStyle/>
          <a:p>
            <a:r>
              <a:rPr lang="en-US"/>
              <a:t>September 15-16, 2022</a:t>
            </a:r>
            <a:endParaRPr lang="en-US" dirty="0"/>
          </a:p>
        </p:txBody>
      </p:sp>
      <p:sp>
        <p:nvSpPr>
          <p:cNvPr id="5" name="TextBox 4">
            <a:extLst>
              <a:ext uri="{FF2B5EF4-FFF2-40B4-BE49-F238E27FC236}">
                <a16:creationId xmlns:a16="http://schemas.microsoft.com/office/drawing/2014/main" id="{5F1CC36F-50B7-4A9E-AC06-9BC09314ACC8}"/>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4228269659"/>
      </p:ext>
    </p:extLst>
  </p:cSld>
  <p:clrMapOvr>
    <a:masterClrMapping/>
  </p:clrMapOvr>
  <p:hf hdr="0"/>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Kernaussage und 4 Textboxen grau" preserve="1" userDrawn="1">
  <p:cSld name="Kernaussage und 4 Textboxen gra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109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1488"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3" y="1916112"/>
            <a:ext cx="3600797" cy="4033837"/>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4622463B-BD3A-47A0-A32A-04FD99E29A51}" type="slidenum">
              <a:rPr lang="en-US" smtClean="0"/>
              <a:pPr/>
              <a:t>‹Nr.›</a:t>
            </a:fld>
            <a:endParaRPr lang="en-US" dirty="0"/>
          </a:p>
        </p:txBody>
      </p:sp>
      <p:sp>
        <p:nvSpPr>
          <p:cNvPr id="29" name="Textplatzhalter 13">
            <a:extLst>
              <a:ext uri="{FF2B5EF4-FFF2-40B4-BE49-F238E27FC236}">
                <a16:creationId xmlns:a16="http://schemas.microsoft.com/office/drawing/2014/main" id="{BA73B1FA-0E2A-47F5-950A-2201DEC47678}"/>
              </a:ext>
            </a:extLst>
          </p:cNvPr>
          <p:cNvSpPr>
            <a:spLocks noGrp="1"/>
          </p:cNvSpPr>
          <p:nvPr>
            <p:ph type="body" sz="quarter" idx="17"/>
          </p:nvPr>
        </p:nvSpPr>
        <p:spPr>
          <a:xfrm>
            <a:off x="4150964" y="1125538"/>
            <a:ext cx="3600797" cy="2303462"/>
          </a:xfrm>
          <a:solidFill>
            <a:srgbClr val="F0F0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30" name="Textplatzhalter 13">
            <a:extLst>
              <a:ext uri="{FF2B5EF4-FFF2-40B4-BE49-F238E27FC236}">
                <a16:creationId xmlns:a16="http://schemas.microsoft.com/office/drawing/2014/main" id="{EDBB00A8-7A30-4C3E-B852-BE172BCE2AA8}"/>
              </a:ext>
            </a:extLst>
          </p:cNvPr>
          <p:cNvSpPr>
            <a:spLocks noGrp="1"/>
          </p:cNvSpPr>
          <p:nvPr>
            <p:ph type="body" sz="quarter" idx="22"/>
          </p:nvPr>
        </p:nvSpPr>
        <p:spPr>
          <a:xfrm>
            <a:off x="4150963" y="3648076"/>
            <a:ext cx="3600797" cy="2303462"/>
          </a:xfrm>
          <a:solidFill>
            <a:srgbClr val="F0F0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31" name="Textplatzhalter 13">
            <a:extLst>
              <a:ext uri="{FF2B5EF4-FFF2-40B4-BE49-F238E27FC236}">
                <a16:creationId xmlns:a16="http://schemas.microsoft.com/office/drawing/2014/main" id="{9EA300B3-C7FC-4AB6-A3BD-2B11462BA947}"/>
              </a:ext>
            </a:extLst>
          </p:cNvPr>
          <p:cNvSpPr>
            <a:spLocks noGrp="1"/>
          </p:cNvSpPr>
          <p:nvPr>
            <p:ph type="body" sz="quarter" idx="23"/>
          </p:nvPr>
        </p:nvSpPr>
        <p:spPr>
          <a:xfrm>
            <a:off x="7967315" y="3648076"/>
            <a:ext cx="3600797" cy="2303462"/>
          </a:xfrm>
          <a:solidFill>
            <a:srgbClr val="F0F0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32" name="Textplatzhalter 13">
            <a:extLst>
              <a:ext uri="{FF2B5EF4-FFF2-40B4-BE49-F238E27FC236}">
                <a16:creationId xmlns:a16="http://schemas.microsoft.com/office/drawing/2014/main" id="{1345A7DE-49E5-4D01-B519-0E541BFBE1E7}"/>
              </a:ext>
            </a:extLst>
          </p:cNvPr>
          <p:cNvSpPr>
            <a:spLocks noGrp="1"/>
          </p:cNvSpPr>
          <p:nvPr>
            <p:ph type="body" sz="quarter" idx="24"/>
          </p:nvPr>
        </p:nvSpPr>
        <p:spPr>
          <a:xfrm>
            <a:off x="7967316" y="1125538"/>
            <a:ext cx="3600797" cy="2303462"/>
          </a:xfrm>
          <a:solidFill>
            <a:srgbClr val="F0F0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4" name="Datumsplatzhalter 3">
            <a:extLst>
              <a:ext uri="{FF2B5EF4-FFF2-40B4-BE49-F238E27FC236}">
                <a16:creationId xmlns:a16="http://schemas.microsoft.com/office/drawing/2014/main" id="{7E16810F-0BA7-43CC-97B1-18D9C227534B}"/>
              </a:ext>
            </a:extLst>
          </p:cNvPr>
          <p:cNvSpPr>
            <a:spLocks noGrp="1"/>
          </p:cNvSpPr>
          <p:nvPr>
            <p:ph type="dt" sz="half" idx="25"/>
          </p:nvPr>
        </p:nvSpPr>
        <p:spPr>
          <a:xfrm>
            <a:off x="335538" y="6487478"/>
            <a:ext cx="2880320" cy="133264"/>
          </a:xfrm>
        </p:spPr>
        <p:txBody>
          <a:bodyPr/>
          <a:lstStyle/>
          <a:p>
            <a:r>
              <a:rPr lang="en-US"/>
              <a:t>September 15-16, 2022</a:t>
            </a:r>
            <a:endParaRPr lang="en-US" dirty="0"/>
          </a:p>
        </p:txBody>
      </p:sp>
      <p:sp>
        <p:nvSpPr>
          <p:cNvPr id="5" name="TextBox 4">
            <a:extLst>
              <a:ext uri="{FF2B5EF4-FFF2-40B4-BE49-F238E27FC236}">
                <a16:creationId xmlns:a16="http://schemas.microsoft.com/office/drawing/2014/main" id="{EB61129D-CD7B-4F03-A87D-84584F49004E}"/>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1778452285"/>
      </p:ext>
    </p:extLst>
  </p:cSld>
  <p:clrMapOvr>
    <a:masterClrMapping/>
  </p:clrMapOvr>
  <p:hf hdr="0"/>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Zwei Inhalte" preserve="1" userDrawn="1">
  <p:cSld name="Zw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3" name="Content Placeholder 2">
            <a:extLst>
              <a:ext uri="{FF2B5EF4-FFF2-40B4-BE49-F238E27FC236}">
                <a16:creationId xmlns:a16="http://schemas.microsoft.com/office/drawing/2014/main" id="{F701E4EA-FEBF-468A-9B8F-A905E820F39E}"/>
              </a:ext>
            </a:extLst>
          </p:cNvPr>
          <p:cNvSpPr>
            <a:spLocks noGrp="1"/>
          </p:cNvSpPr>
          <p:nvPr>
            <p:ph sz="half" idx="1"/>
          </p:nvPr>
        </p:nvSpPr>
        <p:spPr>
          <a:xfrm>
            <a:off x="335360" y="1916113"/>
            <a:ext cx="4824015"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6096000" y="1916113"/>
            <a:ext cx="4824015"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5" name="Foliennummernplatzhalter 4">
            <a:extLst>
              <a:ext uri="{FF2B5EF4-FFF2-40B4-BE49-F238E27FC236}">
                <a16:creationId xmlns:a16="http://schemas.microsoft.com/office/drawing/2014/main" id="{90980E4C-995D-4602-ACB7-9D52C5EB4A31}"/>
              </a:ext>
            </a:extLst>
          </p:cNvPr>
          <p:cNvSpPr>
            <a:spLocks noGrp="1"/>
          </p:cNvSpPr>
          <p:nvPr>
            <p:ph type="sldNum" sz="quarter" idx="14"/>
          </p:nvPr>
        </p:nvSpPr>
        <p:spPr/>
        <p:txBody>
          <a:bodyPr/>
          <a:lstStyle/>
          <a:p>
            <a:fld id="{DF39F119-4393-4CF3-9721-3D889251476B}" type="slidenum">
              <a:rPr lang="en-US" smtClean="0"/>
              <a:pPr/>
              <a:t>‹Nr.›</a:t>
            </a:fld>
            <a:endParaRPr lang="en-US" dirty="0"/>
          </a:p>
        </p:txBody>
      </p:sp>
      <p:sp>
        <p:nvSpPr>
          <p:cNvPr id="7" name="Datumsplatzhalter 6">
            <a:extLst>
              <a:ext uri="{FF2B5EF4-FFF2-40B4-BE49-F238E27FC236}">
                <a16:creationId xmlns:a16="http://schemas.microsoft.com/office/drawing/2014/main" id="{12B62DB9-188F-49D0-A4FE-4D2D492680C0}"/>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6" name="TextBox 5">
            <a:extLst>
              <a:ext uri="{FF2B5EF4-FFF2-40B4-BE49-F238E27FC236}">
                <a16:creationId xmlns:a16="http://schemas.microsoft.com/office/drawing/2014/main" id="{63CE8865-CD4C-45F5-B05B-627BD0AB1D84}"/>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2578775720"/>
      </p:ext>
    </p:extLst>
  </p:cSld>
  <p:clrMapOvr>
    <a:masterClrMapping/>
  </p:clrMapOvr>
  <p:hf hdr="0"/>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Kernaussage und zwei Inhalte" preserve="1" userDrawn="1">
  <p:cSld name="Kernaussage und zw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3" name="Content Placeholder 2">
            <a:extLst>
              <a:ext uri="{FF2B5EF4-FFF2-40B4-BE49-F238E27FC236}">
                <a16:creationId xmlns:a16="http://schemas.microsoft.com/office/drawing/2014/main" id="{F701E4EA-FEBF-468A-9B8F-A905E820F39E}"/>
              </a:ext>
            </a:extLst>
          </p:cNvPr>
          <p:cNvSpPr>
            <a:spLocks noGrp="1"/>
          </p:cNvSpPr>
          <p:nvPr>
            <p:ph sz="half" idx="1"/>
          </p:nvPr>
        </p:nvSpPr>
        <p:spPr>
          <a:xfrm>
            <a:off x="335360" y="2708920"/>
            <a:ext cx="4824015" cy="3241030"/>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5" name="Foliennummernplatzhalter 4">
            <a:extLst>
              <a:ext uri="{FF2B5EF4-FFF2-40B4-BE49-F238E27FC236}">
                <a16:creationId xmlns:a16="http://schemas.microsoft.com/office/drawing/2014/main" id="{90980E4C-995D-4602-ACB7-9D52C5EB4A31}"/>
              </a:ext>
            </a:extLst>
          </p:cNvPr>
          <p:cNvSpPr>
            <a:spLocks noGrp="1"/>
          </p:cNvSpPr>
          <p:nvPr>
            <p:ph type="sldNum" sz="quarter" idx="14"/>
          </p:nvPr>
        </p:nvSpPr>
        <p:spPr/>
        <p:txBody>
          <a:bodyPr/>
          <a:lstStyle/>
          <a:p>
            <a:fld id="{917F2ED0-7FD0-409B-8D0F-7B42055D20D0}" type="slidenum">
              <a:rPr lang="en-US" smtClean="0"/>
              <a:pPr/>
              <a:t>‹Nr.›</a:t>
            </a:fld>
            <a:endParaRPr lang="en-US" dirty="0"/>
          </a:p>
        </p:txBody>
      </p:sp>
      <p:sp>
        <p:nvSpPr>
          <p:cNvPr id="8" name="Text Placeholder 10">
            <a:extLst>
              <a:ext uri="{FF2B5EF4-FFF2-40B4-BE49-F238E27FC236}">
                <a16:creationId xmlns:a16="http://schemas.microsoft.com/office/drawing/2014/main" id="{AECF335B-2FB9-4255-9D1A-34949E227D3D}"/>
              </a:ext>
            </a:extLst>
          </p:cNvPr>
          <p:cNvSpPr>
            <a:spLocks noGrp="1"/>
          </p:cNvSpPr>
          <p:nvPr>
            <p:ph type="body" sz="quarter" idx="15" hasCustomPrompt="1"/>
          </p:nvPr>
        </p:nvSpPr>
        <p:spPr>
          <a:xfrm>
            <a:off x="334963" y="1916113"/>
            <a:ext cx="4824412" cy="648791"/>
          </a:xfrm>
        </p:spPr>
        <p:txBody>
          <a:bodyPr/>
          <a:lstStyle>
            <a:lvl1pPr marL="0" indent="0">
              <a:lnSpc>
                <a:spcPct val="100000"/>
              </a:lnSpc>
              <a:buNone/>
              <a:defRPr sz="2000"/>
            </a:lvl1pPr>
          </a:lstStyle>
          <a:p>
            <a:pPr lvl="0"/>
            <a:r>
              <a:rPr lang="en-US" dirty="0" err="1"/>
              <a:t>Kernaussage</a:t>
            </a:r>
            <a:endParaRPr lang="en-US" dirty="0"/>
          </a:p>
        </p:txBody>
      </p:sp>
      <p:sp>
        <p:nvSpPr>
          <p:cNvPr id="11" name="Content Placeholder 2">
            <a:extLst>
              <a:ext uri="{FF2B5EF4-FFF2-40B4-BE49-F238E27FC236}">
                <a16:creationId xmlns:a16="http://schemas.microsoft.com/office/drawing/2014/main" id="{6E2EA6CF-CD9B-49C1-83B1-D4DF064DFB2E}"/>
              </a:ext>
            </a:extLst>
          </p:cNvPr>
          <p:cNvSpPr>
            <a:spLocks noGrp="1"/>
          </p:cNvSpPr>
          <p:nvPr>
            <p:ph sz="half" idx="16"/>
          </p:nvPr>
        </p:nvSpPr>
        <p:spPr>
          <a:xfrm>
            <a:off x="6096000" y="2708920"/>
            <a:ext cx="4824015" cy="3241030"/>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2" name="Text Placeholder 10">
            <a:extLst>
              <a:ext uri="{FF2B5EF4-FFF2-40B4-BE49-F238E27FC236}">
                <a16:creationId xmlns:a16="http://schemas.microsoft.com/office/drawing/2014/main" id="{1D94BE43-14DF-4459-B3F6-B28250F2C029}"/>
              </a:ext>
            </a:extLst>
          </p:cNvPr>
          <p:cNvSpPr>
            <a:spLocks noGrp="1"/>
          </p:cNvSpPr>
          <p:nvPr>
            <p:ph type="body" sz="quarter" idx="17" hasCustomPrompt="1"/>
          </p:nvPr>
        </p:nvSpPr>
        <p:spPr>
          <a:xfrm>
            <a:off x="6095603" y="1916113"/>
            <a:ext cx="4824412" cy="648791"/>
          </a:xfrm>
        </p:spPr>
        <p:txBody>
          <a:bodyPr/>
          <a:lstStyle>
            <a:lvl1pPr marL="0" indent="0">
              <a:lnSpc>
                <a:spcPct val="100000"/>
              </a:lnSpc>
              <a:buNone/>
              <a:defRPr sz="2000"/>
            </a:lvl1pPr>
          </a:lstStyle>
          <a:p>
            <a:pPr lvl="0"/>
            <a:r>
              <a:rPr lang="en-US" dirty="0" err="1"/>
              <a:t>Kernaussage</a:t>
            </a:r>
            <a:endParaRPr lang="en-US" dirty="0"/>
          </a:p>
        </p:txBody>
      </p:sp>
      <p:sp>
        <p:nvSpPr>
          <p:cNvPr id="4" name="Datumsplatzhalter 3">
            <a:extLst>
              <a:ext uri="{FF2B5EF4-FFF2-40B4-BE49-F238E27FC236}">
                <a16:creationId xmlns:a16="http://schemas.microsoft.com/office/drawing/2014/main" id="{15C2A459-DCBB-4902-8B96-7F3F9D1F3124}"/>
              </a:ext>
            </a:extLst>
          </p:cNvPr>
          <p:cNvSpPr>
            <a:spLocks noGrp="1"/>
          </p:cNvSpPr>
          <p:nvPr>
            <p:ph type="dt" sz="half" idx="18"/>
          </p:nvPr>
        </p:nvSpPr>
        <p:spPr>
          <a:xfrm>
            <a:off x="335538" y="6487478"/>
            <a:ext cx="2880320" cy="133264"/>
          </a:xfrm>
        </p:spPr>
        <p:txBody>
          <a:bodyPr/>
          <a:lstStyle/>
          <a:p>
            <a:r>
              <a:rPr lang="en-US"/>
              <a:t>September 15-16, 2022</a:t>
            </a:r>
            <a:endParaRPr lang="en-US" dirty="0"/>
          </a:p>
        </p:txBody>
      </p:sp>
      <p:sp>
        <p:nvSpPr>
          <p:cNvPr id="6" name="TextBox 5">
            <a:extLst>
              <a:ext uri="{FF2B5EF4-FFF2-40B4-BE49-F238E27FC236}">
                <a16:creationId xmlns:a16="http://schemas.microsoft.com/office/drawing/2014/main" id="{69CD3CF1-B79A-4CC6-983D-2AFC10F17E0F}"/>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608081731"/>
      </p:ext>
    </p:extLst>
  </p:cSld>
  <p:clrMapOvr>
    <a:masterClrMapping/>
  </p:clrMapOvr>
  <p:hf hdr="0"/>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Drei Inhalte" preserve="1" userDrawn="1">
  <p:cSld name="Dr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3" name="Content Placeholder 2">
            <a:extLst>
              <a:ext uri="{FF2B5EF4-FFF2-40B4-BE49-F238E27FC236}">
                <a16:creationId xmlns:a16="http://schemas.microsoft.com/office/drawing/2014/main" id="{F701E4EA-FEBF-468A-9B8F-A905E820F39E}"/>
              </a:ext>
            </a:extLst>
          </p:cNvPr>
          <p:cNvSpPr>
            <a:spLocks noGrp="1"/>
          </p:cNvSpPr>
          <p:nvPr>
            <p:ph sz="half" idx="1"/>
          </p:nvPr>
        </p:nvSpPr>
        <p:spPr>
          <a:xfrm>
            <a:off x="335360" y="1916113"/>
            <a:ext cx="3600053"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4151710" y="1916113"/>
            <a:ext cx="3600053"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0" name="Content Placeholder 3">
            <a:extLst>
              <a:ext uri="{FF2B5EF4-FFF2-40B4-BE49-F238E27FC236}">
                <a16:creationId xmlns:a16="http://schemas.microsoft.com/office/drawing/2014/main" id="{9DF61BE2-36BA-4FF2-BC8E-9F351048A87F}"/>
              </a:ext>
            </a:extLst>
          </p:cNvPr>
          <p:cNvSpPr>
            <a:spLocks noGrp="1"/>
          </p:cNvSpPr>
          <p:nvPr>
            <p:ph sz="half" idx="14"/>
          </p:nvPr>
        </p:nvSpPr>
        <p:spPr>
          <a:xfrm>
            <a:off x="7968060" y="1916113"/>
            <a:ext cx="3600053"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5" name="Foliennummernplatzhalter 4">
            <a:extLst>
              <a:ext uri="{FF2B5EF4-FFF2-40B4-BE49-F238E27FC236}">
                <a16:creationId xmlns:a16="http://schemas.microsoft.com/office/drawing/2014/main" id="{08115D81-FF48-4AE3-A42E-583B7F71D88B}"/>
              </a:ext>
            </a:extLst>
          </p:cNvPr>
          <p:cNvSpPr>
            <a:spLocks noGrp="1"/>
          </p:cNvSpPr>
          <p:nvPr>
            <p:ph type="sldNum" sz="quarter" idx="15"/>
          </p:nvPr>
        </p:nvSpPr>
        <p:spPr/>
        <p:txBody>
          <a:bodyPr/>
          <a:lstStyle/>
          <a:p>
            <a:fld id="{560AD4B9-4B60-47E2-B66F-40A27F623348}" type="slidenum">
              <a:rPr lang="en-US" smtClean="0"/>
              <a:pPr/>
              <a:t>‹Nr.›</a:t>
            </a:fld>
            <a:endParaRPr lang="en-US" dirty="0"/>
          </a:p>
        </p:txBody>
      </p:sp>
      <p:sp>
        <p:nvSpPr>
          <p:cNvPr id="7" name="Datumsplatzhalter 6">
            <a:extLst>
              <a:ext uri="{FF2B5EF4-FFF2-40B4-BE49-F238E27FC236}">
                <a16:creationId xmlns:a16="http://schemas.microsoft.com/office/drawing/2014/main" id="{7C82D209-B4FF-41DE-870A-DCC3B91CAA05}"/>
              </a:ext>
            </a:extLst>
          </p:cNvPr>
          <p:cNvSpPr>
            <a:spLocks noGrp="1"/>
          </p:cNvSpPr>
          <p:nvPr>
            <p:ph type="dt" sz="half" idx="16"/>
          </p:nvPr>
        </p:nvSpPr>
        <p:spPr>
          <a:xfrm>
            <a:off x="335538" y="6487478"/>
            <a:ext cx="2880320" cy="133264"/>
          </a:xfrm>
        </p:spPr>
        <p:txBody>
          <a:bodyPr/>
          <a:lstStyle/>
          <a:p>
            <a:r>
              <a:rPr lang="en-US"/>
              <a:t>September 15-16, 2022</a:t>
            </a:r>
            <a:endParaRPr lang="en-US" dirty="0"/>
          </a:p>
        </p:txBody>
      </p:sp>
      <p:sp>
        <p:nvSpPr>
          <p:cNvPr id="6" name="TextBox 5">
            <a:extLst>
              <a:ext uri="{FF2B5EF4-FFF2-40B4-BE49-F238E27FC236}">
                <a16:creationId xmlns:a16="http://schemas.microsoft.com/office/drawing/2014/main" id="{7E65C573-D482-4DC5-877D-43862AF4811C}"/>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692688615"/>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act Info">
    <p:spTree>
      <p:nvGrpSpPr>
        <p:cNvPr id="1" name=""/>
        <p:cNvGrpSpPr/>
        <p:nvPr/>
      </p:nvGrpSpPr>
      <p:grpSpPr>
        <a:xfrm>
          <a:off x="0" y="0"/>
          <a:ext cx="0" cy="0"/>
          <a:chOff x="0" y="0"/>
          <a:chExt cx="0" cy="0"/>
        </a:xfrm>
      </p:grpSpPr>
      <p:sp>
        <p:nvSpPr>
          <p:cNvPr id="20" name="Rectangle 7">
            <a:extLst>
              <a:ext uri="{FF2B5EF4-FFF2-40B4-BE49-F238E27FC236}">
                <a16:creationId xmlns:a16="http://schemas.microsoft.com/office/drawing/2014/main" id="{32F0D155-1F7A-4956-8820-23E646C241D2}"/>
              </a:ext>
            </a:extLst>
          </p:cNvPr>
          <p:cNvSpPr>
            <a:spLocks noChangeArrowheads="1"/>
          </p:cNvSpPr>
          <p:nvPr>
            <p:custDataLst>
              <p:tags r:id="rId1"/>
            </p:custDataLst>
          </p:nvPr>
        </p:nvSpPr>
        <p:spPr bwMode="auto">
          <a:xfrm>
            <a:off x="466726" y="4621076"/>
            <a:ext cx="7775575" cy="93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nchor="b">
            <a:spAutoFit/>
          </a:bodyPr>
          <a:lstStyle>
            <a:lvl1pPr>
              <a:lnSpc>
                <a:spcPts val="2200"/>
              </a:lnSpc>
              <a:spcBef>
                <a:spcPts val="1000"/>
              </a:spcBef>
              <a:buClr>
                <a:srgbClr val="FF0E49"/>
              </a:buClr>
              <a:buFont typeface="Arial" panose="020B0604020202020204" pitchFamily="34" charset="0"/>
              <a:buChar char="•"/>
              <a:defRPr sz="2000">
                <a:solidFill>
                  <a:schemeClr val="tx1"/>
                </a:solidFill>
                <a:latin typeface="Arial" panose="020B0604020202020204" pitchFamily="34" charset="0"/>
              </a:defRPr>
            </a:lvl1pPr>
            <a:lvl2pPr marL="742950" indent="-285750">
              <a:lnSpc>
                <a:spcPts val="2200"/>
              </a:lnSpc>
              <a:spcBef>
                <a:spcPts val="1000"/>
              </a:spcBef>
              <a:buClr>
                <a:srgbClr val="FF0E49"/>
              </a:buClr>
              <a:buFont typeface="Arial" panose="020B0604020202020204" pitchFamily="34" charset="0"/>
              <a:buChar char="–"/>
              <a:defRPr sz="2000">
                <a:solidFill>
                  <a:schemeClr val="tx1"/>
                </a:solidFill>
                <a:latin typeface="Arial" panose="020B0604020202020204" pitchFamily="34" charset="0"/>
              </a:defRPr>
            </a:lvl2pPr>
            <a:lvl3pPr marL="1143000" indent="-228600">
              <a:lnSpc>
                <a:spcPts val="2200"/>
              </a:lnSpc>
              <a:spcBef>
                <a:spcPts val="1000"/>
              </a:spcBef>
              <a:buClr>
                <a:srgbClr val="FF0E49"/>
              </a:buClr>
              <a:buFont typeface="Wingdings" panose="05000000000000000000" pitchFamily="2" charset="2"/>
              <a:buChar char="§"/>
              <a:defRPr sz="2000">
                <a:solidFill>
                  <a:schemeClr val="tx1"/>
                </a:solidFill>
                <a:latin typeface="Arial" panose="020B0604020202020204" pitchFamily="34" charset="0"/>
              </a:defRPr>
            </a:lvl3pPr>
            <a:lvl4pPr marL="1600200" indent="-228600">
              <a:lnSpc>
                <a:spcPts val="2200"/>
              </a:lnSpc>
              <a:spcBef>
                <a:spcPts val="1000"/>
              </a:spcBef>
              <a:buClr>
                <a:srgbClr val="FF0E49"/>
              </a:buClr>
              <a:buFont typeface="Arial" panose="020B0604020202020204" pitchFamily="34" charset="0"/>
              <a:buChar char="–"/>
              <a:defRPr sz="2000">
                <a:solidFill>
                  <a:schemeClr val="tx1"/>
                </a:solidFill>
                <a:latin typeface="Arial" panose="020B0604020202020204" pitchFamily="34" charset="0"/>
              </a:defRPr>
            </a:lvl4pPr>
            <a:lvl5pPr marL="2057400" indent="-228600">
              <a:lnSpc>
                <a:spcPts val="2200"/>
              </a:lnSpc>
              <a:spcBef>
                <a:spcPts val="1000"/>
              </a:spcBef>
              <a:buClr>
                <a:srgbClr val="FF0E49"/>
              </a:buClr>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lnSpc>
                <a:spcPts val="2200"/>
              </a:lnSpc>
              <a:spcBef>
                <a:spcPts val="1000"/>
              </a:spcBef>
              <a:spcAft>
                <a:spcPct val="0"/>
              </a:spcAft>
              <a:buClr>
                <a:srgbClr val="FF0E49"/>
              </a:buClr>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lnSpc>
                <a:spcPts val="2200"/>
              </a:lnSpc>
              <a:spcBef>
                <a:spcPts val="1000"/>
              </a:spcBef>
              <a:spcAft>
                <a:spcPct val="0"/>
              </a:spcAft>
              <a:buClr>
                <a:srgbClr val="FF0E49"/>
              </a:buClr>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lnSpc>
                <a:spcPts val="2200"/>
              </a:lnSpc>
              <a:spcBef>
                <a:spcPts val="1000"/>
              </a:spcBef>
              <a:spcAft>
                <a:spcPct val="0"/>
              </a:spcAft>
              <a:buClr>
                <a:srgbClr val="FF0E49"/>
              </a:buClr>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lnSpc>
                <a:spcPts val="2200"/>
              </a:lnSpc>
              <a:spcBef>
                <a:spcPts val="1000"/>
              </a:spcBef>
              <a:spcAft>
                <a:spcPct val="0"/>
              </a:spcAft>
              <a:buClr>
                <a:srgbClr val="FF0E49"/>
              </a:buClr>
              <a:buFont typeface="Arial" panose="020B0604020202020204" pitchFamily="34" charset="0"/>
              <a:buChar char="»"/>
              <a:defRPr sz="2000">
                <a:solidFill>
                  <a:schemeClr val="tx1"/>
                </a:solidFill>
                <a:latin typeface="Arial" panose="020B0604020202020204" pitchFamily="34" charset="0"/>
              </a:defRPr>
            </a:lvl9pPr>
          </a:lstStyle>
          <a:p>
            <a:pPr eaLnBrk="1" hangingPunct="1">
              <a:lnSpc>
                <a:spcPct val="100000"/>
              </a:lnSpc>
              <a:spcBef>
                <a:spcPct val="0"/>
              </a:spcBef>
              <a:buClrTx/>
              <a:buFontTx/>
              <a:buNone/>
            </a:pPr>
            <a:r>
              <a:rPr lang="en-GB" altLang="de-DE" sz="1100" dirty="0">
                <a:solidFill>
                  <a:schemeClr val="accent6">
                    <a:lumMod val="50000"/>
                  </a:schemeClr>
                </a:solidFill>
              </a:rPr>
              <a:t>Wolf Theiss Attorneys-at-Law</a:t>
            </a:r>
          </a:p>
          <a:p>
            <a:pPr eaLnBrk="1" hangingPunct="1">
              <a:lnSpc>
                <a:spcPct val="100000"/>
              </a:lnSpc>
              <a:spcBef>
                <a:spcPct val="0"/>
              </a:spcBef>
              <a:buClrTx/>
              <a:buFontTx/>
              <a:buNone/>
            </a:pPr>
            <a:r>
              <a:rPr lang="en-GB" altLang="de-DE" sz="1100" dirty="0" err="1">
                <a:solidFill>
                  <a:schemeClr val="accent6">
                    <a:lumMod val="50000"/>
                  </a:schemeClr>
                </a:solidFill>
              </a:rPr>
              <a:t>Schubertring</a:t>
            </a:r>
            <a:r>
              <a:rPr lang="en-GB" altLang="de-DE" sz="1100" dirty="0">
                <a:solidFill>
                  <a:schemeClr val="accent6">
                    <a:lumMod val="50000"/>
                  </a:schemeClr>
                </a:solidFill>
              </a:rPr>
              <a:t> 6</a:t>
            </a:r>
          </a:p>
          <a:p>
            <a:pPr eaLnBrk="1" hangingPunct="1">
              <a:lnSpc>
                <a:spcPct val="100000"/>
              </a:lnSpc>
              <a:spcBef>
                <a:spcPct val="0"/>
              </a:spcBef>
              <a:buClrTx/>
              <a:buFontTx/>
              <a:buNone/>
            </a:pPr>
            <a:r>
              <a:rPr lang="en-GB" altLang="de-DE" sz="1100" dirty="0">
                <a:solidFill>
                  <a:schemeClr val="accent6">
                    <a:lumMod val="50000"/>
                  </a:schemeClr>
                </a:solidFill>
              </a:rPr>
              <a:t>1010 Vienna</a:t>
            </a:r>
          </a:p>
          <a:p>
            <a:pPr eaLnBrk="1" hangingPunct="1">
              <a:lnSpc>
                <a:spcPct val="100000"/>
              </a:lnSpc>
              <a:spcBef>
                <a:spcPct val="0"/>
              </a:spcBef>
              <a:buClrTx/>
              <a:buFontTx/>
              <a:buNone/>
            </a:pPr>
            <a:r>
              <a:rPr lang="en-GB" altLang="de-DE" sz="1100" b="0" dirty="0">
                <a:solidFill>
                  <a:schemeClr val="accent6">
                    <a:lumMod val="50000"/>
                  </a:schemeClr>
                </a:solidFill>
                <a:hlinkClick r:id="rId19"/>
              </a:rPr>
              <a:t>www.wolftheiss.com</a:t>
            </a:r>
            <a:r>
              <a:rPr lang="en-GB" altLang="de-DE" sz="1100" b="0" dirty="0">
                <a:solidFill>
                  <a:schemeClr val="accent6">
                    <a:lumMod val="50000"/>
                  </a:schemeClr>
                </a:solidFill>
              </a:rPr>
              <a:t> </a:t>
            </a:r>
          </a:p>
          <a:p>
            <a:pPr eaLnBrk="1" hangingPunct="1">
              <a:lnSpc>
                <a:spcPct val="100000"/>
              </a:lnSpc>
              <a:spcBef>
                <a:spcPct val="0"/>
              </a:spcBef>
              <a:buClrTx/>
              <a:buFontTx/>
              <a:buNone/>
            </a:pPr>
            <a:endParaRPr lang="en-GB" altLang="de-DE" sz="1108" dirty="0">
              <a:solidFill>
                <a:schemeClr val="accent6">
                  <a:lumMod val="50000"/>
                </a:schemeClr>
              </a:solidFill>
            </a:endParaRPr>
          </a:p>
        </p:txBody>
      </p:sp>
      <p:sp>
        <p:nvSpPr>
          <p:cNvPr id="38" name="Text Placeholder 37">
            <a:extLst>
              <a:ext uri="{FF2B5EF4-FFF2-40B4-BE49-F238E27FC236}">
                <a16:creationId xmlns:a16="http://schemas.microsoft.com/office/drawing/2014/main" id="{7360479F-ABB5-4048-8F61-83FB245E3F06}"/>
              </a:ext>
            </a:extLst>
          </p:cNvPr>
          <p:cNvSpPr>
            <a:spLocks noGrp="1"/>
          </p:cNvSpPr>
          <p:nvPr>
            <p:ph type="body" sz="quarter" idx="30" hasCustomPrompt="1"/>
            <p:custDataLst>
              <p:tags r:id="rId2"/>
            </p:custDataLst>
          </p:nvPr>
        </p:nvSpPr>
        <p:spPr>
          <a:xfrm>
            <a:off x="461639" y="1913241"/>
            <a:ext cx="10952487" cy="547688"/>
          </a:xfrm>
        </p:spPr>
        <p:txBody>
          <a:bodyPr/>
          <a:lstStyle>
            <a:lvl1pPr marL="0" indent="0">
              <a:buNone/>
              <a:defRPr cap="none" baseline="0">
                <a:solidFill>
                  <a:schemeClr val="tx1"/>
                </a:solidFill>
              </a:defRPr>
            </a:lvl1pPr>
          </a:lstStyle>
          <a:p>
            <a:pPr lvl="0"/>
            <a:r>
              <a:rPr lang="en-GB" dirty="0"/>
              <a:t>(Fe.) “On behalf of the regulatory &amp; procurement team”</a:t>
            </a:r>
          </a:p>
        </p:txBody>
      </p:sp>
      <p:sp>
        <p:nvSpPr>
          <p:cNvPr id="35" name="Picture Placeholder 28">
            <a:extLst>
              <a:ext uri="{FF2B5EF4-FFF2-40B4-BE49-F238E27FC236}">
                <a16:creationId xmlns:a16="http://schemas.microsoft.com/office/drawing/2014/main" id="{95F434A7-7379-4B70-9683-CC80B6738817}"/>
              </a:ext>
            </a:extLst>
          </p:cNvPr>
          <p:cNvSpPr>
            <a:spLocks noGrp="1" noChangeAspect="1"/>
          </p:cNvSpPr>
          <p:nvPr>
            <p:ph type="pic" sz="quarter" idx="22"/>
            <p:custDataLst>
              <p:tags r:id="rId3"/>
            </p:custDataLst>
          </p:nvPr>
        </p:nvSpPr>
        <p:spPr>
          <a:xfrm>
            <a:off x="477713" y="2646198"/>
            <a:ext cx="622800" cy="867033"/>
          </a:xfrm>
        </p:spPr>
        <p:txBody>
          <a:bodyPr anchor="t"/>
          <a:lstStyle>
            <a:lvl1pPr marL="0" indent="0" algn="l">
              <a:buNone/>
              <a:defRPr sz="739"/>
            </a:lvl1pPr>
          </a:lstStyle>
          <a:p>
            <a:r>
              <a:rPr lang="en-US"/>
              <a:t>Click icon to add picture</a:t>
            </a:r>
            <a:endParaRPr lang="en-GB" dirty="0"/>
          </a:p>
        </p:txBody>
      </p:sp>
      <p:sp>
        <p:nvSpPr>
          <p:cNvPr id="36" name="Textplatzhalter 21">
            <a:extLst>
              <a:ext uri="{FF2B5EF4-FFF2-40B4-BE49-F238E27FC236}">
                <a16:creationId xmlns:a16="http://schemas.microsoft.com/office/drawing/2014/main" id="{7098946F-FE8B-4622-B2F4-C9D397243FEA}"/>
              </a:ext>
            </a:extLst>
          </p:cNvPr>
          <p:cNvSpPr>
            <a:spLocks noGrp="1"/>
          </p:cNvSpPr>
          <p:nvPr>
            <p:ph type="body" sz="quarter" idx="31" hasCustomPrompt="1"/>
            <p:custDataLst>
              <p:tags r:id="rId4"/>
            </p:custDataLst>
          </p:nvPr>
        </p:nvSpPr>
        <p:spPr>
          <a:xfrm>
            <a:off x="1198802" y="2610791"/>
            <a:ext cx="3960575" cy="224957"/>
          </a:xfrm>
        </p:spPr>
        <p:txBody>
          <a:bodyPr/>
          <a:lstStyle>
            <a:lvl1pPr marL="0" indent="0">
              <a:lnSpc>
                <a:spcPct val="90000"/>
              </a:lnSpc>
              <a:buNone/>
              <a:defRPr sz="1800" b="1">
                <a:solidFill>
                  <a:schemeClr val="accent2"/>
                </a:solidFill>
              </a:defRPr>
            </a:lvl1pPr>
            <a:lvl2pPr marL="265104" indent="0">
              <a:buNone/>
              <a:defRPr sz="1020"/>
            </a:lvl2pPr>
            <a:lvl3pPr marL="539733" indent="0">
              <a:buNone/>
              <a:defRPr sz="1020"/>
            </a:lvl3pPr>
            <a:lvl4pPr marL="804837" indent="0">
              <a:buNone/>
              <a:defRPr sz="1020"/>
            </a:lvl4pPr>
            <a:lvl5pPr marL="1079466" indent="0">
              <a:buNone/>
              <a:defRPr sz="1020"/>
            </a:lvl5pPr>
          </a:lstStyle>
          <a:p>
            <a:pPr lvl="0"/>
            <a:r>
              <a:rPr lang="en-GB" noProof="0" dirty="0"/>
              <a:t>Forename Surname</a:t>
            </a:r>
          </a:p>
        </p:txBody>
      </p:sp>
      <p:sp>
        <p:nvSpPr>
          <p:cNvPr id="37" name="Textplatzhalter 21">
            <a:extLst>
              <a:ext uri="{FF2B5EF4-FFF2-40B4-BE49-F238E27FC236}">
                <a16:creationId xmlns:a16="http://schemas.microsoft.com/office/drawing/2014/main" id="{21AD1737-EEF0-4CFC-8FED-B77ADB1076A6}"/>
              </a:ext>
            </a:extLst>
          </p:cNvPr>
          <p:cNvSpPr>
            <a:spLocks noGrp="1"/>
          </p:cNvSpPr>
          <p:nvPr>
            <p:ph type="body" sz="quarter" idx="32" hasCustomPrompt="1"/>
            <p:custDataLst>
              <p:tags r:id="rId5"/>
            </p:custDataLst>
          </p:nvPr>
        </p:nvSpPr>
        <p:spPr>
          <a:xfrm>
            <a:off x="1198802" y="2945963"/>
            <a:ext cx="3960575" cy="158390"/>
          </a:xfrm>
        </p:spPr>
        <p:txBody>
          <a:bodyPr/>
          <a:lstStyle>
            <a:lvl1pPr marL="0" indent="0">
              <a:lnSpc>
                <a:spcPct val="90000"/>
              </a:lnSpc>
              <a:buNone/>
              <a:defRPr sz="1300"/>
            </a:lvl1pPr>
            <a:lvl2pPr marL="265104" indent="0">
              <a:buNone/>
              <a:defRPr sz="740"/>
            </a:lvl2pPr>
            <a:lvl3pPr marL="539733" indent="0">
              <a:buNone/>
              <a:defRPr sz="740"/>
            </a:lvl3pPr>
            <a:lvl4pPr marL="804837" indent="0">
              <a:buNone/>
              <a:defRPr sz="740"/>
            </a:lvl4pPr>
            <a:lvl5pPr marL="1079466" indent="0">
              <a:buNone/>
              <a:defRPr sz="740"/>
            </a:lvl5pPr>
          </a:lstStyle>
          <a:p>
            <a:pPr lvl="0"/>
            <a:r>
              <a:rPr lang="en-GB" dirty="0"/>
              <a:t>Job title</a:t>
            </a:r>
          </a:p>
        </p:txBody>
      </p:sp>
      <p:sp>
        <p:nvSpPr>
          <p:cNvPr id="39" name="Textplatzhalter 21">
            <a:extLst>
              <a:ext uri="{FF2B5EF4-FFF2-40B4-BE49-F238E27FC236}">
                <a16:creationId xmlns:a16="http://schemas.microsoft.com/office/drawing/2014/main" id="{C5D34C21-F06D-4CE8-A39E-3D315BE23FCD}"/>
              </a:ext>
            </a:extLst>
          </p:cNvPr>
          <p:cNvSpPr>
            <a:spLocks noGrp="1"/>
          </p:cNvSpPr>
          <p:nvPr>
            <p:ph type="body" sz="quarter" idx="33" hasCustomPrompt="1"/>
            <p:custDataLst>
              <p:tags r:id="rId6"/>
            </p:custDataLst>
          </p:nvPr>
        </p:nvSpPr>
        <p:spPr>
          <a:xfrm>
            <a:off x="1198802" y="3203194"/>
            <a:ext cx="3960575" cy="359630"/>
          </a:xfrm>
        </p:spPr>
        <p:txBody>
          <a:bodyPr/>
          <a:lstStyle>
            <a:lvl1pPr marL="0" indent="0">
              <a:lnSpc>
                <a:spcPct val="90000"/>
              </a:lnSpc>
              <a:spcBef>
                <a:spcPts val="0"/>
              </a:spcBef>
              <a:buNone/>
              <a:defRPr sz="1300"/>
            </a:lvl1pPr>
            <a:lvl2pPr marL="265104" indent="0">
              <a:buNone/>
              <a:defRPr sz="740"/>
            </a:lvl2pPr>
            <a:lvl3pPr marL="539733" indent="0">
              <a:buNone/>
              <a:defRPr sz="740"/>
            </a:lvl3pPr>
            <a:lvl4pPr marL="804837" indent="0">
              <a:buNone/>
              <a:defRPr sz="740"/>
            </a:lvl4pPr>
            <a:lvl5pPr marL="1079466" indent="0">
              <a:buNone/>
              <a:defRPr sz="740"/>
            </a:lvl5pPr>
          </a:lstStyle>
          <a:p>
            <a:pPr lvl="0"/>
            <a:r>
              <a:rPr lang="en-GB" dirty="0"/>
              <a:t>Address</a:t>
            </a:r>
          </a:p>
          <a:p>
            <a:pPr lvl="0"/>
            <a:r>
              <a:rPr lang="en-GB" dirty="0"/>
              <a:t>Address</a:t>
            </a:r>
          </a:p>
        </p:txBody>
      </p:sp>
      <p:sp>
        <p:nvSpPr>
          <p:cNvPr id="43" name="Textplatzhalter 21">
            <a:extLst>
              <a:ext uri="{FF2B5EF4-FFF2-40B4-BE49-F238E27FC236}">
                <a16:creationId xmlns:a16="http://schemas.microsoft.com/office/drawing/2014/main" id="{4BBC0394-715B-473A-86CA-291E359F0626}"/>
              </a:ext>
            </a:extLst>
          </p:cNvPr>
          <p:cNvSpPr>
            <a:spLocks noGrp="1"/>
          </p:cNvSpPr>
          <p:nvPr>
            <p:ph type="body" sz="quarter" idx="39" hasCustomPrompt="1"/>
            <p:custDataLst>
              <p:tags r:id="rId7"/>
            </p:custDataLst>
          </p:nvPr>
        </p:nvSpPr>
        <p:spPr>
          <a:xfrm>
            <a:off x="1198802" y="3694660"/>
            <a:ext cx="3960575" cy="152861"/>
          </a:xfrm>
        </p:spPr>
        <p:txBody>
          <a:bodyPr/>
          <a:lstStyle>
            <a:lvl1pPr marL="0" indent="0">
              <a:lnSpc>
                <a:spcPct val="90000"/>
              </a:lnSpc>
              <a:buNone/>
              <a:defRPr sz="1300"/>
            </a:lvl1pPr>
            <a:lvl2pPr marL="265104" indent="0">
              <a:buNone/>
              <a:defRPr sz="740"/>
            </a:lvl2pPr>
            <a:lvl3pPr marL="539733" indent="0">
              <a:buNone/>
              <a:defRPr sz="740"/>
            </a:lvl3pPr>
            <a:lvl4pPr marL="804837" indent="0">
              <a:buNone/>
              <a:defRPr sz="740"/>
            </a:lvl4pPr>
            <a:lvl5pPr marL="1079466" indent="0">
              <a:buNone/>
              <a:defRPr sz="740"/>
            </a:lvl5pPr>
          </a:lstStyle>
          <a:p>
            <a:pPr lvl="0"/>
            <a:r>
              <a:rPr lang="en-GB" dirty="0"/>
              <a:t>+000 000 000</a:t>
            </a:r>
          </a:p>
        </p:txBody>
      </p:sp>
      <p:sp>
        <p:nvSpPr>
          <p:cNvPr id="44" name="Textplatzhalter 21">
            <a:extLst>
              <a:ext uri="{FF2B5EF4-FFF2-40B4-BE49-F238E27FC236}">
                <a16:creationId xmlns:a16="http://schemas.microsoft.com/office/drawing/2014/main" id="{4093515D-C324-48B3-9686-11C973428C63}"/>
              </a:ext>
            </a:extLst>
          </p:cNvPr>
          <p:cNvSpPr>
            <a:spLocks noGrp="1"/>
          </p:cNvSpPr>
          <p:nvPr>
            <p:ph type="body" sz="quarter" idx="40" hasCustomPrompt="1"/>
            <p:custDataLst>
              <p:tags r:id="rId8"/>
            </p:custDataLst>
          </p:nvPr>
        </p:nvSpPr>
        <p:spPr>
          <a:xfrm>
            <a:off x="1198802" y="3896939"/>
            <a:ext cx="3960575" cy="152861"/>
          </a:xfrm>
        </p:spPr>
        <p:txBody>
          <a:bodyPr/>
          <a:lstStyle>
            <a:lvl1pPr marL="0" indent="0">
              <a:lnSpc>
                <a:spcPct val="90000"/>
              </a:lnSpc>
              <a:buNone/>
              <a:defRPr sz="1300" b="0">
                <a:solidFill>
                  <a:schemeClr val="tx1"/>
                </a:solidFill>
              </a:defRPr>
            </a:lvl1pPr>
            <a:lvl2pPr marL="265104" indent="0">
              <a:buNone/>
              <a:defRPr sz="740"/>
            </a:lvl2pPr>
            <a:lvl3pPr marL="539733" indent="0">
              <a:buNone/>
              <a:defRPr sz="740"/>
            </a:lvl3pPr>
            <a:lvl4pPr marL="804837" indent="0">
              <a:buNone/>
              <a:defRPr sz="740"/>
            </a:lvl4pPr>
            <a:lvl5pPr marL="1079466" indent="0">
              <a:buNone/>
              <a:defRPr sz="740"/>
            </a:lvl5pPr>
          </a:lstStyle>
          <a:p>
            <a:pPr lvl="0"/>
            <a:r>
              <a:rPr lang="en-GB" noProof="0" dirty="0"/>
              <a:t>forname.surname@wolftheiss.com</a:t>
            </a:r>
          </a:p>
        </p:txBody>
      </p:sp>
      <p:sp>
        <p:nvSpPr>
          <p:cNvPr id="2" name="Title 1">
            <a:extLst>
              <a:ext uri="{FF2B5EF4-FFF2-40B4-BE49-F238E27FC236}">
                <a16:creationId xmlns:a16="http://schemas.microsoft.com/office/drawing/2014/main" id="{F6E4226A-4B12-4D1A-B578-1022106AA0E7}"/>
              </a:ext>
            </a:extLst>
          </p:cNvPr>
          <p:cNvSpPr>
            <a:spLocks noGrp="1"/>
          </p:cNvSpPr>
          <p:nvPr>
            <p:ph type="title"/>
            <p:custDataLst>
              <p:tags r:id="rId9"/>
            </p:custDataLst>
          </p:nvPr>
        </p:nvSpPr>
        <p:spPr/>
        <p:txBody>
          <a:bodyPr/>
          <a:lstStyle/>
          <a:p>
            <a:r>
              <a:rPr lang="en-US"/>
              <a:t>Click to edit Master title style</a:t>
            </a:r>
            <a:endParaRPr lang="en-GB" dirty="0"/>
          </a:p>
        </p:txBody>
      </p:sp>
      <p:sp>
        <p:nvSpPr>
          <p:cNvPr id="23" name="Picture Placeholder 28">
            <a:extLst>
              <a:ext uri="{FF2B5EF4-FFF2-40B4-BE49-F238E27FC236}">
                <a16:creationId xmlns:a16="http://schemas.microsoft.com/office/drawing/2014/main" id="{87C5BF17-500F-4ACF-BD9D-DFF6BB3C0522}"/>
              </a:ext>
            </a:extLst>
          </p:cNvPr>
          <p:cNvSpPr>
            <a:spLocks noGrp="1" noChangeAspect="1"/>
          </p:cNvSpPr>
          <p:nvPr>
            <p:ph type="pic" sz="quarter" idx="41"/>
            <p:custDataLst>
              <p:tags r:id="rId10"/>
            </p:custDataLst>
          </p:nvPr>
        </p:nvSpPr>
        <p:spPr>
          <a:xfrm>
            <a:off x="5630767" y="2642741"/>
            <a:ext cx="622800" cy="867033"/>
          </a:xfrm>
        </p:spPr>
        <p:txBody>
          <a:bodyPr anchor="t"/>
          <a:lstStyle>
            <a:lvl1pPr marL="0" indent="0" algn="l">
              <a:buNone/>
              <a:defRPr sz="739"/>
            </a:lvl1pPr>
          </a:lstStyle>
          <a:p>
            <a:r>
              <a:rPr lang="en-US"/>
              <a:t>Click icon to add picture</a:t>
            </a:r>
            <a:endParaRPr lang="en-GB" dirty="0"/>
          </a:p>
        </p:txBody>
      </p:sp>
      <p:sp>
        <p:nvSpPr>
          <p:cNvPr id="24" name="Textplatzhalter 21">
            <a:extLst>
              <a:ext uri="{FF2B5EF4-FFF2-40B4-BE49-F238E27FC236}">
                <a16:creationId xmlns:a16="http://schemas.microsoft.com/office/drawing/2014/main" id="{F3D63671-78AA-44C2-95BF-072CF5B70951}"/>
              </a:ext>
            </a:extLst>
          </p:cNvPr>
          <p:cNvSpPr>
            <a:spLocks noGrp="1"/>
          </p:cNvSpPr>
          <p:nvPr>
            <p:ph type="body" sz="quarter" idx="42" hasCustomPrompt="1"/>
            <p:custDataLst>
              <p:tags r:id="rId11"/>
            </p:custDataLst>
          </p:nvPr>
        </p:nvSpPr>
        <p:spPr>
          <a:xfrm>
            <a:off x="6395100" y="2607334"/>
            <a:ext cx="3914125" cy="224957"/>
          </a:xfrm>
        </p:spPr>
        <p:txBody>
          <a:bodyPr/>
          <a:lstStyle>
            <a:lvl1pPr marL="0" indent="0">
              <a:lnSpc>
                <a:spcPct val="90000"/>
              </a:lnSpc>
              <a:buNone/>
              <a:defRPr sz="1800" b="1">
                <a:solidFill>
                  <a:schemeClr val="accent2"/>
                </a:solidFill>
              </a:defRPr>
            </a:lvl1pPr>
            <a:lvl2pPr marL="265104" indent="0">
              <a:buNone/>
              <a:defRPr sz="1020"/>
            </a:lvl2pPr>
            <a:lvl3pPr marL="539733" indent="0">
              <a:buNone/>
              <a:defRPr sz="1020"/>
            </a:lvl3pPr>
            <a:lvl4pPr marL="804837" indent="0">
              <a:buNone/>
              <a:defRPr sz="1020"/>
            </a:lvl4pPr>
            <a:lvl5pPr marL="1079466" indent="0">
              <a:buNone/>
              <a:defRPr sz="1020"/>
            </a:lvl5pPr>
          </a:lstStyle>
          <a:p>
            <a:pPr lvl="0"/>
            <a:r>
              <a:rPr lang="en-GB" noProof="0" dirty="0"/>
              <a:t>Forename Surname</a:t>
            </a:r>
          </a:p>
        </p:txBody>
      </p:sp>
      <p:sp>
        <p:nvSpPr>
          <p:cNvPr id="25" name="Textplatzhalter 21">
            <a:extLst>
              <a:ext uri="{FF2B5EF4-FFF2-40B4-BE49-F238E27FC236}">
                <a16:creationId xmlns:a16="http://schemas.microsoft.com/office/drawing/2014/main" id="{A754B5BB-8974-410A-AAC2-0B7E2D545E8A}"/>
              </a:ext>
            </a:extLst>
          </p:cNvPr>
          <p:cNvSpPr>
            <a:spLocks noGrp="1"/>
          </p:cNvSpPr>
          <p:nvPr>
            <p:ph type="body" sz="quarter" idx="43" hasCustomPrompt="1"/>
            <p:custDataLst>
              <p:tags r:id="rId12"/>
            </p:custDataLst>
          </p:nvPr>
        </p:nvSpPr>
        <p:spPr>
          <a:xfrm>
            <a:off x="6395100" y="2942506"/>
            <a:ext cx="3914125" cy="158390"/>
          </a:xfrm>
        </p:spPr>
        <p:txBody>
          <a:bodyPr/>
          <a:lstStyle>
            <a:lvl1pPr marL="0" indent="0">
              <a:lnSpc>
                <a:spcPct val="90000"/>
              </a:lnSpc>
              <a:buNone/>
              <a:defRPr sz="1300"/>
            </a:lvl1pPr>
            <a:lvl2pPr marL="265104" indent="0">
              <a:buNone/>
              <a:defRPr sz="740"/>
            </a:lvl2pPr>
            <a:lvl3pPr marL="539733" indent="0">
              <a:buNone/>
              <a:defRPr sz="740"/>
            </a:lvl3pPr>
            <a:lvl4pPr marL="804837" indent="0">
              <a:buNone/>
              <a:defRPr sz="740"/>
            </a:lvl4pPr>
            <a:lvl5pPr marL="1079466" indent="0">
              <a:buNone/>
              <a:defRPr sz="740"/>
            </a:lvl5pPr>
          </a:lstStyle>
          <a:p>
            <a:pPr lvl="0"/>
            <a:r>
              <a:rPr lang="en-GB" dirty="0"/>
              <a:t>Job title</a:t>
            </a:r>
          </a:p>
        </p:txBody>
      </p:sp>
      <p:sp>
        <p:nvSpPr>
          <p:cNvPr id="26" name="Textplatzhalter 21">
            <a:extLst>
              <a:ext uri="{FF2B5EF4-FFF2-40B4-BE49-F238E27FC236}">
                <a16:creationId xmlns:a16="http://schemas.microsoft.com/office/drawing/2014/main" id="{9FB95AFC-5BF0-4210-B0C2-95057B990208}"/>
              </a:ext>
            </a:extLst>
          </p:cNvPr>
          <p:cNvSpPr>
            <a:spLocks noGrp="1"/>
          </p:cNvSpPr>
          <p:nvPr>
            <p:ph type="body" sz="quarter" idx="44" hasCustomPrompt="1"/>
            <p:custDataLst>
              <p:tags r:id="rId13"/>
            </p:custDataLst>
          </p:nvPr>
        </p:nvSpPr>
        <p:spPr>
          <a:xfrm>
            <a:off x="6395100" y="3199737"/>
            <a:ext cx="3914125" cy="359630"/>
          </a:xfrm>
        </p:spPr>
        <p:txBody>
          <a:bodyPr/>
          <a:lstStyle>
            <a:lvl1pPr marL="0" indent="0">
              <a:lnSpc>
                <a:spcPct val="90000"/>
              </a:lnSpc>
              <a:spcBef>
                <a:spcPts val="0"/>
              </a:spcBef>
              <a:buNone/>
              <a:defRPr sz="1300"/>
            </a:lvl1pPr>
            <a:lvl2pPr marL="265104" indent="0">
              <a:buNone/>
              <a:defRPr sz="740"/>
            </a:lvl2pPr>
            <a:lvl3pPr marL="539733" indent="0">
              <a:buNone/>
              <a:defRPr sz="740"/>
            </a:lvl3pPr>
            <a:lvl4pPr marL="804837" indent="0">
              <a:buNone/>
              <a:defRPr sz="740"/>
            </a:lvl4pPr>
            <a:lvl5pPr marL="1079466" indent="0">
              <a:buNone/>
              <a:defRPr sz="740"/>
            </a:lvl5pPr>
          </a:lstStyle>
          <a:p>
            <a:pPr lvl="0"/>
            <a:r>
              <a:rPr lang="en-GB" dirty="0"/>
              <a:t>Address</a:t>
            </a:r>
          </a:p>
          <a:p>
            <a:pPr lvl="0"/>
            <a:r>
              <a:rPr lang="en-GB" dirty="0"/>
              <a:t>Address</a:t>
            </a:r>
          </a:p>
        </p:txBody>
      </p:sp>
      <p:sp>
        <p:nvSpPr>
          <p:cNvPr id="27" name="Textplatzhalter 21">
            <a:extLst>
              <a:ext uri="{FF2B5EF4-FFF2-40B4-BE49-F238E27FC236}">
                <a16:creationId xmlns:a16="http://schemas.microsoft.com/office/drawing/2014/main" id="{6426634F-F045-487D-9B74-F2D07003C655}"/>
              </a:ext>
            </a:extLst>
          </p:cNvPr>
          <p:cNvSpPr>
            <a:spLocks noGrp="1"/>
          </p:cNvSpPr>
          <p:nvPr>
            <p:ph type="body" sz="quarter" idx="45" hasCustomPrompt="1"/>
            <p:custDataLst>
              <p:tags r:id="rId14"/>
            </p:custDataLst>
          </p:nvPr>
        </p:nvSpPr>
        <p:spPr>
          <a:xfrm>
            <a:off x="6395100" y="3691206"/>
            <a:ext cx="3914125" cy="152861"/>
          </a:xfrm>
        </p:spPr>
        <p:txBody>
          <a:bodyPr/>
          <a:lstStyle>
            <a:lvl1pPr marL="0" indent="0">
              <a:lnSpc>
                <a:spcPct val="90000"/>
              </a:lnSpc>
              <a:buNone/>
              <a:defRPr sz="1300"/>
            </a:lvl1pPr>
            <a:lvl2pPr marL="265104" indent="0">
              <a:buNone/>
              <a:defRPr sz="740"/>
            </a:lvl2pPr>
            <a:lvl3pPr marL="539733" indent="0">
              <a:buNone/>
              <a:defRPr sz="740"/>
            </a:lvl3pPr>
            <a:lvl4pPr marL="804837" indent="0">
              <a:buNone/>
              <a:defRPr sz="740"/>
            </a:lvl4pPr>
            <a:lvl5pPr marL="1079466" indent="0">
              <a:buNone/>
              <a:defRPr sz="740"/>
            </a:lvl5pPr>
          </a:lstStyle>
          <a:p>
            <a:pPr lvl="0"/>
            <a:r>
              <a:rPr lang="en-GB" dirty="0"/>
              <a:t>+000 000 000</a:t>
            </a:r>
          </a:p>
        </p:txBody>
      </p:sp>
      <p:sp>
        <p:nvSpPr>
          <p:cNvPr id="28" name="Textplatzhalter 21">
            <a:extLst>
              <a:ext uri="{FF2B5EF4-FFF2-40B4-BE49-F238E27FC236}">
                <a16:creationId xmlns:a16="http://schemas.microsoft.com/office/drawing/2014/main" id="{0334A630-5123-44D6-B321-7B947D624E51}"/>
              </a:ext>
            </a:extLst>
          </p:cNvPr>
          <p:cNvSpPr>
            <a:spLocks noGrp="1"/>
          </p:cNvSpPr>
          <p:nvPr>
            <p:ph type="body" sz="quarter" idx="46" hasCustomPrompt="1"/>
            <p:custDataLst>
              <p:tags r:id="rId15"/>
            </p:custDataLst>
          </p:nvPr>
        </p:nvSpPr>
        <p:spPr>
          <a:xfrm>
            <a:off x="6395100" y="3893485"/>
            <a:ext cx="3914125" cy="152861"/>
          </a:xfrm>
        </p:spPr>
        <p:txBody>
          <a:bodyPr/>
          <a:lstStyle>
            <a:lvl1pPr marL="0" indent="0">
              <a:lnSpc>
                <a:spcPct val="90000"/>
              </a:lnSpc>
              <a:buNone/>
              <a:defRPr sz="1300" b="0">
                <a:solidFill>
                  <a:schemeClr val="tx1"/>
                </a:solidFill>
              </a:defRPr>
            </a:lvl1pPr>
            <a:lvl2pPr marL="265104" indent="0">
              <a:buNone/>
              <a:defRPr sz="740"/>
            </a:lvl2pPr>
            <a:lvl3pPr marL="539733" indent="0">
              <a:buNone/>
              <a:defRPr sz="740"/>
            </a:lvl3pPr>
            <a:lvl4pPr marL="804837" indent="0">
              <a:buNone/>
              <a:defRPr sz="740"/>
            </a:lvl4pPr>
            <a:lvl5pPr marL="1079466" indent="0">
              <a:buNone/>
              <a:defRPr sz="740"/>
            </a:lvl5pPr>
          </a:lstStyle>
          <a:p>
            <a:pPr lvl="0"/>
            <a:r>
              <a:rPr lang="en-GB" noProof="0" dirty="0"/>
              <a:t>forname.surname@wolftheiss.com</a:t>
            </a:r>
          </a:p>
        </p:txBody>
      </p:sp>
      <p:sp>
        <p:nvSpPr>
          <p:cNvPr id="3" name="Datumsplatzhalter 2">
            <a:extLst>
              <a:ext uri="{FF2B5EF4-FFF2-40B4-BE49-F238E27FC236}">
                <a16:creationId xmlns:a16="http://schemas.microsoft.com/office/drawing/2014/main" id="{2773CE4B-EDF8-45F6-BCB5-F7457080E9B6}"/>
              </a:ext>
            </a:extLst>
          </p:cNvPr>
          <p:cNvSpPr>
            <a:spLocks noGrp="1"/>
          </p:cNvSpPr>
          <p:nvPr>
            <p:ph type="dt" sz="half" idx="47"/>
            <p:custDataLst>
              <p:tags r:id="rId16"/>
            </p:custDataLst>
          </p:nvPr>
        </p:nvSpPr>
        <p:spPr bwMode="hidden"/>
        <p:txBody>
          <a:bodyPr/>
          <a:lstStyle>
            <a:lvl1pPr>
              <a:defRPr lang="en-GB" dirty="0"/>
            </a:lvl1pPr>
          </a:lstStyle>
          <a:p>
            <a:endParaRPr lang="de-AT"/>
          </a:p>
        </p:txBody>
      </p:sp>
      <p:sp>
        <p:nvSpPr>
          <p:cNvPr id="5" name="Foliennummernplatzhalter 4">
            <a:extLst>
              <a:ext uri="{FF2B5EF4-FFF2-40B4-BE49-F238E27FC236}">
                <a16:creationId xmlns:a16="http://schemas.microsoft.com/office/drawing/2014/main" id="{3D8B55E6-190C-4094-A486-383FA40673E0}"/>
              </a:ext>
            </a:extLst>
          </p:cNvPr>
          <p:cNvSpPr>
            <a:spLocks noGrp="1"/>
          </p:cNvSpPr>
          <p:nvPr>
            <p:ph type="sldNum" sz="quarter" idx="49"/>
            <p:custDataLst>
              <p:tags r:id="rId17"/>
            </p:custDataLst>
          </p:nvPr>
        </p:nvSpPr>
        <p:spPr bwMode="hidden"/>
        <p:txBody>
          <a:bodyPr/>
          <a:lstStyle>
            <a:lvl1pPr>
              <a:defRPr>
                <a:solidFill>
                  <a:srgbClr val="A4A4A3"/>
                </a:solidFill>
              </a:defRPr>
            </a:lvl1pPr>
          </a:lstStyle>
          <a:p>
            <a:fld id="{D5EEAE81-F208-4F18-B451-0AF4CC704965}" type="slidenum">
              <a:rPr lang="en-GB" smtClean="0"/>
              <a:t>‹Nr.›</a:t>
            </a:fld>
            <a:endParaRPr lang="en-GB" dirty="0"/>
          </a:p>
        </p:txBody>
      </p:sp>
    </p:spTree>
    <p:extLst>
      <p:ext uri="{BB962C8B-B14F-4D97-AF65-F5344CB8AC3E}">
        <p14:creationId xmlns:p14="http://schemas.microsoft.com/office/powerpoint/2010/main" val="16371956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Kernaussage und drei Inhalte" preserve="1" userDrawn="1">
  <p:cSld name="Kernaussage und dr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Content Placeholder 2">
            <a:extLst>
              <a:ext uri="{FF2B5EF4-FFF2-40B4-BE49-F238E27FC236}">
                <a16:creationId xmlns:a16="http://schemas.microsoft.com/office/drawing/2014/main" id="{12FCE2E6-A23A-4E10-BAF6-CFC7ACEB3A18}"/>
              </a:ext>
            </a:extLst>
          </p:cNvPr>
          <p:cNvSpPr>
            <a:spLocks noGrp="1"/>
          </p:cNvSpPr>
          <p:nvPr>
            <p:ph sz="half" idx="16"/>
          </p:nvPr>
        </p:nvSpPr>
        <p:spPr>
          <a:xfrm>
            <a:off x="335360" y="2708920"/>
            <a:ext cx="3600053" cy="3241030"/>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2" name="Text Placeholder 10">
            <a:extLst>
              <a:ext uri="{FF2B5EF4-FFF2-40B4-BE49-F238E27FC236}">
                <a16:creationId xmlns:a16="http://schemas.microsoft.com/office/drawing/2014/main" id="{4F276218-A2F5-42DB-817B-9F26B1BEB995}"/>
              </a:ext>
            </a:extLst>
          </p:cNvPr>
          <p:cNvSpPr>
            <a:spLocks noGrp="1"/>
          </p:cNvSpPr>
          <p:nvPr>
            <p:ph type="body" sz="quarter" idx="17" hasCustomPrompt="1"/>
          </p:nvPr>
        </p:nvSpPr>
        <p:spPr>
          <a:xfrm>
            <a:off x="334963" y="1916113"/>
            <a:ext cx="3600349" cy="648791"/>
          </a:xfrm>
        </p:spPr>
        <p:txBody>
          <a:bodyPr/>
          <a:lstStyle>
            <a:lvl1pPr marL="0" indent="0">
              <a:lnSpc>
                <a:spcPct val="100000"/>
              </a:lnSpc>
              <a:buNone/>
              <a:defRPr sz="2000"/>
            </a:lvl1pPr>
          </a:lstStyle>
          <a:p>
            <a:pPr lvl="0"/>
            <a:r>
              <a:rPr lang="en-US" dirty="0" err="1"/>
              <a:t>Kernaussage</a:t>
            </a:r>
            <a:endParaRPr lang="en-US" dirty="0"/>
          </a:p>
        </p:txBody>
      </p:sp>
      <p:sp>
        <p:nvSpPr>
          <p:cNvPr id="13" name="Content Placeholder 2">
            <a:extLst>
              <a:ext uri="{FF2B5EF4-FFF2-40B4-BE49-F238E27FC236}">
                <a16:creationId xmlns:a16="http://schemas.microsoft.com/office/drawing/2014/main" id="{E5F17478-ED73-496C-95D0-65B6479C6606}"/>
              </a:ext>
            </a:extLst>
          </p:cNvPr>
          <p:cNvSpPr>
            <a:spLocks noGrp="1"/>
          </p:cNvSpPr>
          <p:nvPr>
            <p:ph sz="half" idx="18"/>
          </p:nvPr>
        </p:nvSpPr>
        <p:spPr>
          <a:xfrm>
            <a:off x="4151811" y="2708920"/>
            <a:ext cx="3600053" cy="3241030"/>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4" name="Text Placeholder 10">
            <a:extLst>
              <a:ext uri="{FF2B5EF4-FFF2-40B4-BE49-F238E27FC236}">
                <a16:creationId xmlns:a16="http://schemas.microsoft.com/office/drawing/2014/main" id="{C508FD54-B30A-4EEA-B45F-6191991DB20F}"/>
              </a:ext>
            </a:extLst>
          </p:cNvPr>
          <p:cNvSpPr>
            <a:spLocks noGrp="1"/>
          </p:cNvSpPr>
          <p:nvPr>
            <p:ph type="body" sz="quarter" idx="19" hasCustomPrompt="1"/>
          </p:nvPr>
        </p:nvSpPr>
        <p:spPr>
          <a:xfrm>
            <a:off x="4151414" y="1916113"/>
            <a:ext cx="3600349" cy="648791"/>
          </a:xfrm>
        </p:spPr>
        <p:txBody>
          <a:bodyPr/>
          <a:lstStyle>
            <a:lvl1pPr marL="0" indent="0">
              <a:lnSpc>
                <a:spcPct val="100000"/>
              </a:lnSpc>
              <a:buNone/>
              <a:defRPr sz="2000"/>
            </a:lvl1pPr>
          </a:lstStyle>
          <a:p>
            <a:pPr lvl="0"/>
            <a:r>
              <a:rPr lang="en-US" dirty="0" err="1"/>
              <a:t>Kernaussage</a:t>
            </a:r>
            <a:endParaRPr lang="en-US" dirty="0"/>
          </a:p>
        </p:txBody>
      </p:sp>
      <p:sp>
        <p:nvSpPr>
          <p:cNvPr id="15" name="Content Placeholder 2">
            <a:extLst>
              <a:ext uri="{FF2B5EF4-FFF2-40B4-BE49-F238E27FC236}">
                <a16:creationId xmlns:a16="http://schemas.microsoft.com/office/drawing/2014/main" id="{146E66F0-2536-4230-BE8B-CB1235C21500}"/>
              </a:ext>
            </a:extLst>
          </p:cNvPr>
          <p:cNvSpPr>
            <a:spLocks noGrp="1"/>
          </p:cNvSpPr>
          <p:nvPr>
            <p:ph sz="half" idx="20"/>
          </p:nvPr>
        </p:nvSpPr>
        <p:spPr>
          <a:xfrm>
            <a:off x="7968262" y="2708920"/>
            <a:ext cx="3600053" cy="3241030"/>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6" name="Text Placeholder 10">
            <a:extLst>
              <a:ext uri="{FF2B5EF4-FFF2-40B4-BE49-F238E27FC236}">
                <a16:creationId xmlns:a16="http://schemas.microsoft.com/office/drawing/2014/main" id="{6BAAA5DE-5336-4BDB-9B17-42535C323155}"/>
              </a:ext>
            </a:extLst>
          </p:cNvPr>
          <p:cNvSpPr>
            <a:spLocks noGrp="1"/>
          </p:cNvSpPr>
          <p:nvPr>
            <p:ph type="body" sz="quarter" idx="21" hasCustomPrompt="1"/>
          </p:nvPr>
        </p:nvSpPr>
        <p:spPr>
          <a:xfrm>
            <a:off x="7967865" y="1916113"/>
            <a:ext cx="3600349" cy="648791"/>
          </a:xfrm>
        </p:spPr>
        <p:txBody>
          <a:bodyPr/>
          <a:lstStyle>
            <a:lvl1pPr marL="0" indent="0">
              <a:lnSpc>
                <a:spcPct val="100000"/>
              </a:lnSpc>
              <a:buNone/>
              <a:defRPr sz="2000"/>
            </a:lvl1pPr>
          </a:lstStyle>
          <a:p>
            <a:pPr lvl="0"/>
            <a:r>
              <a:rPr lang="en-US" dirty="0" err="1"/>
              <a:t>Kernaussage</a:t>
            </a:r>
            <a:endParaRPr lang="en-US" dirty="0"/>
          </a:p>
        </p:txBody>
      </p:sp>
      <p:sp>
        <p:nvSpPr>
          <p:cNvPr id="7" name="Datumsplatzhalter 6">
            <a:extLst>
              <a:ext uri="{FF2B5EF4-FFF2-40B4-BE49-F238E27FC236}">
                <a16:creationId xmlns:a16="http://schemas.microsoft.com/office/drawing/2014/main" id="{AD1D9C2E-FEAD-4736-B7B7-3FA2FF2B71BA}"/>
              </a:ext>
            </a:extLst>
          </p:cNvPr>
          <p:cNvSpPr>
            <a:spLocks noGrp="1"/>
          </p:cNvSpPr>
          <p:nvPr>
            <p:ph type="dt" sz="half" idx="22"/>
          </p:nvPr>
        </p:nvSpPr>
        <p:spPr>
          <a:xfrm>
            <a:off x="335538" y="6487478"/>
            <a:ext cx="2880320" cy="133264"/>
          </a:xfrm>
        </p:spPr>
        <p:txBody>
          <a:bodyPr/>
          <a:lstStyle/>
          <a:p>
            <a:r>
              <a:rPr lang="en-US"/>
              <a:t>September 15-16, 2022</a:t>
            </a:r>
            <a:endParaRPr lang="en-US" dirty="0"/>
          </a:p>
        </p:txBody>
      </p:sp>
      <p:sp>
        <p:nvSpPr>
          <p:cNvPr id="10" name="Foliennummernplatzhalter 9">
            <a:extLst>
              <a:ext uri="{FF2B5EF4-FFF2-40B4-BE49-F238E27FC236}">
                <a16:creationId xmlns:a16="http://schemas.microsoft.com/office/drawing/2014/main" id="{DDDFFBBA-4A70-4B16-9C07-5BD2F0AC0203}"/>
              </a:ext>
            </a:extLst>
          </p:cNvPr>
          <p:cNvSpPr>
            <a:spLocks noGrp="1"/>
          </p:cNvSpPr>
          <p:nvPr>
            <p:ph type="sldNum" sz="quarter" idx="24"/>
          </p:nvPr>
        </p:nvSpPr>
        <p:spPr/>
        <p:txBody>
          <a:bodyPr/>
          <a:lstStyle/>
          <a:p>
            <a:fld id="{81D636C1-3E31-4576-A68C-107307A85DCA}" type="slidenum">
              <a:rPr lang="en-US" smtClean="0"/>
              <a:pPr/>
              <a:t>‹Nr.›</a:t>
            </a:fld>
            <a:endParaRPr lang="en-US" dirty="0"/>
          </a:p>
        </p:txBody>
      </p:sp>
      <p:sp>
        <p:nvSpPr>
          <p:cNvPr id="3" name="TextBox 2">
            <a:extLst>
              <a:ext uri="{FF2B5EF4-FFF2-40B4-BE49-F238E27FC236}">
                <a16:creationId xmlns:a16="http://schemas.microsoft.com/office/drawing/2014/main" id="{B8D66DC4-329D-43B5-8CA4-62A64FF51A68}"/>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2084506394"/>
      </p:ext>
    </p:extLst>
  </p:cSld>
  <p:clrMapOvr>
    <a:masterClrMapping/>
  </p:clrMapOvr>
  <p:hf hdr="0"/>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Kernaussage und Textboxen akzentuiert" preserve="1" userDrawn="1">
  <p:cSld name="Kernaussage und Textboxen akzentui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5" name="Foliennummernplatzhalter 4">
            <a:extLst>
              <a:ext uri="{FF2B5EF4-FFF2-40B4-BE49-F238E27FC236}">
                <a16:creationId xmlns:a16="http://schemas.microsoft.com/office/drawing/2014/main" id="{08115D81-FF48-4AE3-A42E-583B7F71D88B}"/>
              </a:ext>
            </a:extLst>
          </p:cNvPr>
          <p:cNvSpPr>
            <a:spLocks noGrp="1"/>
          </p:cNvSpPr>
          <p:nvPr>
            <p:ph type="sldNum" sz="quarter" idx="15"/>
          </p:nvPr>
        </p:nvSpPr>
        <p:spPr/>
        <p:txBody>
          <a:bodyPr/>
          <a:lstStyle/>
          <a:p>
            <a:fld id="{8BDBEA43-8AF2-429A-9FB8-966CC7DCED3C}" type="slidenum">
              <a:rPr lang="en-US" smtClean="0"/>
              <a:pPr/>
              <a:t>‹Nr.›</a:t>
            </a:fld>
            <a:endParaRPr lang="en-US" dirty="0"/>
          </a:p>
        </p:txBody>
      </p:sp>
      <p:sp>
        <p:nvSpPr>
          <p:cNvPr id="12" name="Text Placeholder 12">
            <a:extLst>
              <a:ext uri="{FF2B5EF4-FFF2-40B4-BE49-F238E27FC236}">
                <a16:creationId xmlns:a16="http://schemas.microsoft.com/office/drawing/2014/main" id="{8AEC8449-CBB7-4288-8CAB-4EB56EB218A2}"/>
              </a:ext>
            </a:extLst>
          </p:cNvPr>
          <p:cNvSpPr>
            <a:spLocks noGrp="1"/>
          </p:cNvSpPr>
          <p:nvPr>
            <p:ph type="body" sz="quarter" idx="16" hasCustomPrompt="1"/>
          </p:nvPr>
        </p:nvSpPr>
        <p:spPr>
          <a:xfrm>
            <a:off x="334963" y="1125540"/>
            <a:ext cx="4824412" cy="2087436"/>
          </a:xfrm>
        </p:spPr>
        <p:txBody>
          <a:bodyPr/>
          <a:lstStyle>
            <a:lvl1pPr marL="0" indent="0">
              <a:lnSpc>
                <a:spcPct val="100000"/>
              </a:lnSpc>
              <a:buNone/>
              <a:defRPr sz="2000"/>
            </a:lvl1pPr>
          </a:lstStyle>
          <a:p>
            <a:pPr lvl="0"/>
            <a:r>
              <a:rPr lang="en-US" dirty="0" err="1"/>
              <a:t>Kernaussage</a:t>
            </a:r>
            <a:endParaRPr lang="en-US" dirty="0"/>
          </a:p>
        </p:txBody>
      </p:sp>
      <p:sp>
        <p:nvSpPr>
          <p:cNvPr id="14" name="Textplatzhalter 13">
            <a:extLst>
              <a:ext uri="{FF2B5EF4-FFF2-40B4-BE49-F238E27FC236}">
                <a16:creationId xmlns:a16="http://schemas.microsoft.com/office/drawing/2014/main" id="{F00B5376-F81B-481E-BC84-E39647B73392}"/>
              </a:ext>
            </a:extLst>
          </p:cNvPr>
          <p:cNvSpPr>
            <a:spLocks noGrp="1"/>
          </p:cNvSpPr>
          <p:nvPr>
            <p:ph type="body" sz="quarter" idx="17"/>
          </p:nvPr>
        </p:nvSpPr>
        <p:spPr>
          <a:xfrm>
            <a:off x="334962" y="3565173"/>
            <a:ext cx="3600450" cy="2223324"/>
          </a:xfrm>
          <a:solidFill>
            <a:srgbClr val="28E6A5"/>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17" name="Textplatzhalter 13">
            <a:extLst>
              <a:ext uri="{FF2B5EF4-FFF2-40B4-BE49-F238E27FC236}">
                <a16:creationId xmlns:a16="http://schemas.microsoft.com/office/drawing/2014/main" id="{908EC0EC-6022-4DAC-914D-713D914F5DDF}"/>
              </a:ext>
            </a:extLst>
          </p:cNvPr>
          <p:cNvSpPr>
            <a:spLocks noGrp="1"/>
          </p:cNvSpPr>
          <p:nvPr>
            <p:ph type="body" sz="quarter" idx="18"/>
          </p:nvPr>
        </p:nvSpPr>
        <p:spPr>
          <a:xfrm>
            <a:off x="4151312" y="3565173"/>
            <a:ext cx="3600450" cy="2223324"/>
          </a:xfrm>
          <a:solidFill>
            <a:srgbClr val="FF7382"/>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18" name="Textplatzhalter 13">
            <a:extLst>
              <a:ext uri="{FF2B5EF4-FFF2-40B4-BE49-F238E27FC236}">
                <a16:creationId xmlns:a16="http://schemas.microsoft.com/office/drawing/2014/main" id="{913D9960-95C3-4970-914A-4C82644A83B8}"/>
              </a:ext>
            </a:extLst>
          </p:cNvPr>
          <p:cNvSpPr>
            <a:spLocks noGrp="1"/>
          </p:cNvSpPr>
          <p:nvPr>
            <p:ph type="body" sz="quarter" idx="19"/>
          </p:nvPr>
        </p:nvSpPr>
        <p:spPr>
          <a:xfrm>
            <a:off x="7967663" y="3565173"/>
            <a:ext cx="3600450" cy="2223324"/>
          </a:xfrm>
          <a:solidFill>
            <a:srgbClr val="46CF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3" name="Datumsplatzhalter 2">
            <a:extLst>
              <a:ext uri="{FF2B5EF4-FFF2-40B4-BE49-F238E27FC236}">
                <a16:creationId xmlns:a16="http://schemas.microsoft.com/office/drawing/2014/main" id="{758B70FE-0BE5-40E2-A838-70D03F30A7CC}"/>
              </a:ext>
            </a:extLst>
          </p:cNvPr>
          <p:cNvSpPr>
            <a:spLocks noGrp="1"/>
          </p:cNvSpPr>
          <p:nvPr>
            <p:ph type="dt" sz="half" idx="20"/>
          </p:nvPr>
        </p:nvSpPr>
        <p:spPr>
          <a:xfrm>
            <a:off x="335538" y="6487478"/>
            <a:ext cx="2880320" cy="133264"/>
          </a:xfrm>
        </p:spPr>
        <p:txBody>
          <a:bodyPr/>
          <a:lstStyle/>
          <a:p>
            <a:r>
              <a:rPr lang="en-US"/>
              <a:t>September 15-16, 2022</a:t>
            </a:r>
            <a:endParaRPr lang="en-US" dirty="0"/>
          </a:p>
        </p:txBody>
      </p:sp>
      <p:sp>
        <p:nvSpPr>
          <p:cNvPr id="4" name="TextBox 3">
            <a:extLst>
              <a:ext uri="{FF2B5EF4-FFF2-40B4-BE49-F238E27FC236}">
                <a16:creationId xmlns:a16="http://schemas.microsoft.com/office/drawing/2014/main" id="{73D72B94-DFE5-468A-A521-13401253A5AB}"/>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1534912279"/>
      </p:ext>
    </p:extLst>
  </p:cSld>
  <p:clrMapOvr>
    <a:masterClrMapping/>
  </p:clrMapOvr>
  <p:hf hdr="0"/>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Kernaussage und Textboxen grau" preserve="1" userDrawn="1">
  <p:cSld name="Kernaussage und Textboxen gra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5" name="Foliennummernplatzhalter 4">
            <a:extLst>
              <a:ext uri="{FF2B5EF4-FFF2-40B4-BE49-F238E27FC236}">
                <a16:creationId xmlns:a16="http://schemas.microsoft.com/office/drawing/2014/main" id="{08115D81-FF48-4AE3-A42E-583B7F71D88B}"/>
              </a:ext>
            </a:extLst>
          </p:cNvPr>
          <p:cNvSpPr>
            <a:spLocks noGrp="1"/>
          </p:cNvSpPr>
          <p:nvPr>
            <p:ph type="sldNum" sz="quarter" idx="15"/>
          </p:nvPr>
        </p:nvSpPr>
        <p:spPr/>
        <p:txBody>
          <a:bodyPr/>
          <a:lstStyle/>
          <a:p>
            <a:fld id="{C809FFB2-6B90-4B3F-A2A0-85A831B07C0E}" type="slidenum">
              <a:rPr lang="en-US" smtClean="0"/>
              <a:pPr/>
              <a:t>‹Nr.›</a:t>
            </a:fld>
            <a:endParaRPr lang="en-US" dirty="0"/>
          </a:p>
        </p:txBody>
      </p:sp>
      <p:sp>
        <p:nvSpPr>
          <p:cNvPr id="12" name="Text Placeholder 12">
            <a:extLst>
              <a:ext uri="{FF2B5EF4-FFF2-40B4-BE49-F238E27FC236}">
                <a16:creationId xmlns:a16="http://schemas.microsoft.com/office/drawing/2014/main" id="{8AEC8449-CBB7-4288-8CAB-4EB56EB218A2}"/>
              </a:ext>
            </a:extLst>
          </p:cNvPr>
          <p:cNvSpPr>
            <a:spLocks noGrp="1"/>
          </p:cNvSpPr>
          <p:nvPr>
            <p:ph type="body" sz="quarter" idx="16" hasCustomPrompt="1"/>
          </p:nvPr>
        </p:nvSpPr>
        <p:spPr>
          <a:xfrm>
            <a:off x="334963" y="1125540"/>
            <a:ext cx="4824412" cy="2087436"/>
          </a:xfrm>
        </p:spPr>
        <p:txBody>
          <a:bodyPr/>
          <a:lstStyle>
            <a:lvl1pPr marL="0" indent="0">
              <a:lnSpc>
                <a:spcPct val="100000"/>
              </a:lnSpc>
              <a:buNone/>
              <a:defRPr sz="2000"/>
            </a:lvl1pPr>
          </a:lstStyle>
          <a:p>
            <a:pPr lvl="0"/>
            <a:r>
              <a:rPr lang="en-US" dirty="0" err="1"/>
              <a:t>Kernaussage</a:t>
            </a:r>
            <a:endParaRPr lang="en-US" dirty="0"/>
          </a:p>
        </p:txBody>
      </p:sp>
      <p:sp>
        <p:nvSpPr>
          <p:cNvPr id="14" name="Textplatzhalter 13">
            <a:extLst>
              <a:ext uri="{FF2B5EF4-FFF2-40B4-BE49-F238E27FC236}">
                <a16:creationId xmlns:a16="http://schemas.microsoft.com/office/drawing/2014/main" id="{F00B5376-F81B-481E-BC84-E39647B73392}"/>
              </a:ext>
            </a:extLst>
          </p:cNvPr>
          <p:cNvSpPr>
            <a:spLocks noGrp="1"/>
          </p:cNvSpPr>
          <p:nvPr>
            <p:ph type="body" sz="quarter" idx="17"/>
          </p:nvPr>
        </p:nvSpPr>
        <p:spPr>
          <a:xfrm>
            <a:off x="334962" y="3565173"/>
            <a:ext cx="3600450" cy="2223324"/>
          </a:xfrm>
          <a:solidFill>
            <a:srgbClr val="F0F0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17" name="Textplatzhalter 13">
            <a:extLst>
              <a:ext uri="{FF2B5EF4-FFF2-40B4-BE49-F238E27FC236}">
                <a16:creationId xmlns:a16="http://schemas.microsoft.com/office/drawing/2014/main" id="{908EC0EC-6022-4DAC-914D-713D914F5DDF}"/>
              </a:ext>
            </a:extLst>
          </p:cNvPr>
          <p:cNvSpPr>
            <a:spLocks noGrp="1"/>
          </p:cNvSpPr>
          <p:nvPr>
            <p:ph type="body" sz="quarter" idx="18"/>
          </p:nvPr>
        </p:nvSpPr>
        <p:spPr>
          <a:xfrm>
            <a:off x="4151312" y="3565173"/>
            <a:ext cx="3600450" cy="2223324"/>
          </a:xfrm>
          <a:solidFill>
            <a:srgbClr val="F0F0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18" name="Textplatzhalter 13">
            <a:extLst>
              <a:ext uri="{FF2B5EF4-FFF2-40B4-BE49-F238E27FC236}">
                <a16:creationId xmlns:a16="http://schemas.microsoft.com/office/drawing/2014/main" id="{913D9960-95C3-4970-914A-4C82644A83B8}"/>
              </a:ext>
            </a:extLst>
          </p:cNvPr>
          <p:cNvSpPr>
            <a:spLocks noGrp="1"/>
          </p:cNvSpPr>
          <p:nvPr>
            <p:ph type="body" sz="quarter" idx="19"/>
          </p:nvPr>
        </p:nvSpPr>
        <p:spPr>
          <a:xfrm>
            <a:off x="7967663" y="3565173"/>
            <a:ext cx="3600450" cy="2223324"/>
          </a:xfrm>
          <a:solidFill>
            <a:srgbClr val="F0F0F0"/>
          </a:solidFill>
        </p:spPr>
        <p:txBody>
          <a:bodyPr lIns="252000" tIns="144000" rIns="252000" bIns="144000"/>
          <a:lstStyle>
            <a:lvl1pPr marL="0" indent="0">
              <a:spcBef>
                <a:spcPts val="600"/>
              </a:spcBef>
              <a:buNone/>
              <a:defRPr b="1"/>
            </a:lvl1pPr>
            <a:lvl2pPr marL="0" indent="0">
              <a:spcBef>
                <a:spcPts val="0"/>
              </a:spcBef>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p:txBody>
      </p:sp>
      <p:sp>
        <p:nvSpPr>
          <p:cNvPr id="3" name="Datumsplatzhalter 2">
            <a:extLst>
              <a:ext uri="{FF2B5EF4-FFF2-40B4-BE49-F238E27FC236}">
                <a16:creationId xmlns:a16="http://schemas.microsoft.com/office/drawing/2014/main" id="{BAB9269F-0BEA-46C8-A07E-86A2E96CCD49}"/>
              </a:ext>
            </a:extLst>
          </p:cNvPr>
          <p:cNvSpPr>
            <a:spLocks noGrp="1"/>
          </p:cNvSpPr>
          <p:nvPr>
            <p:ph type="dt" sz="half" idx="20"/>
          </p:nvPr>
        </p:nvSpPr>
        <p:spPr>
          <a:xfrm>
            <a:off x="335538" y="6487478"/>
            <a:ext cx="2880320" cy="133264"/>
          </a:xfrm>
        </p:spPr>
        <p:txBody>
          <a:bodyPr/>
          <a:lstStyle/>
          <a:p>
            <a:r>
              <a:rPr lang="en-US"/>
              <a:t>September 15-16, 2022</a:t>
            </a:r>
            <a:endParaRPr lang="en-US" dirty="0"/>
          </a:p>
        </p:txBody>
      </p:sp>
      <p:sp>
        <p:nvSpPr>
          <p:cNvPr id="4" name="TextBox 3">
            <a:extLst>
              <a:ext uri="{FF2B5EF4-FFF2-40B4-BE49-F238E27FC236}">
                <a16:creationId xmlns:a16="http://schemas.microsoft.com/office/drawing/2014/main" id="{06F1D3B2-4BD9-44FC-BC42-25CEC8A483A8}"/>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134978316"/>
      </p:ext>
    </p:extLst>
  </p:cSld>
  <p:clrMapOvr>
    <a:masterClrMapping/>
  </p:clrMapOvr>
  <p:hf hdr="0"/>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Kernaussage und zwei Inhalte akzentuiert" preserve="1" userDrawn="1">
  <p:cSld name="Kernaussage und zwei Inhalte akzentuier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352782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4151710" y="1125539"/>
            <a:ext cx="3600053" cy="4824411"/>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0" name="Content Placeholder 3">
            <a:extLst>
              <a:ext uri="{FF2B5EF4-FFF2-40B4-BE49-F238E27FC236}">
                <a16:creationId xmlns:a16="http://schemas.microsoft.com/office/drawing/2014/main" id="{9DF61BE2-36BA-4FF2-BC8E-9F351048A87F}"/>
              </a:ext>
            </a:extLst>
          </p:cNvPr>
          <p:cNvSpPr>
            <a:spLocks noGrp="1"/>
          </p:cNvSpPr>
          <p:nvPr>
            <p:ph sz="half" idx="14"/>
          </p:nvPr>
        </p:nvSpPr>
        <p:spPr>
          <a:xfrm>
            <a:off x="7968060" y="1125539"/>
            <a:ext cx="3600053" cy="4824412"/>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334963" y="1125539"/>
            <a:ext cx="2879725" cy="4814886"/>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0BC91321-5988-4225-9B91-B681EB362D02}"/>
              </a:ext>
            </a:extLst>
          </p:cNvPr>
          <p:cNvSpPr>
            <a:spLocks noGrp="1"/>
          </p:cNvSpPr>
          <p:nvPr>
            <p:ph type="sldNum" sz="quarter" idx="16"/>
          </p:nvPr>
        </p:nvSpPr>
        <p:spPr/>
        <p:txBody>
          <a:bodyPr/>
          <a:lstStyle/>
          <a:p>
            <a:fld id="{BA5D28DF-C33E-46B3-AA12-27C5ABB25EC9}" type="slidenum">
              <a:rPr lang="en-US" smtClean="0"/>
              <a:pPr/>
              <a:t>‹Nr.›</a:t>
            </a:fld>
            <a:endParaRPr lang="en-US" dirty="0"/>
          </a:p>
        </p:txBody>
      </p:sp>
      <p:sp>
        <p:nvSpPr>
          <p:cNvPr id="5" name="Datumsplatzhalter 4">
            <a:extLst>
              <a:ext uri="{FF2B5EF4-FFF2-40B4-BE49-F238E27FC236}">
                <a16:creationId xmlns:a16="http://schemas.microsoft.com/office/drawing/2014/main" id="{78147CA8-49D1-49DF-A3F6-0307FFA531DB}"/>
              </a:ext>
            </a:extLst>
          </p:cNvPr>
          <p:cNvSpPr>
            <a:spLocks noGrp="1"/>
          </p:cNvSpPr>
          <p:nvPr>
            <p:ph type="dt" sz="half" idx="17"/>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E628BCB3-4A9D-4A75-B80D-1AD3CB0B3B1A}"/>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3005125769"/>
      </p:ext>
    </p:extLst>
  </p:cSld>
  <p:clrMapOvr>
    <a:masterClrMapping/>
  </p:clrMapOvr>
  <p:hf hdr="0"/>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Kernaussage und zwei Inhalte grau" preserve="1" userDrawn="1">
  <p:cSld name="Kernaussage und zwei Inhalte gra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352782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4151710" y="1125539"/>
            <a:ext cx="3600053" cy="4824411"/>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0" name="Content Placeholder 3">
            <a:extLst>
              <a:ext uri="{FF2B5EF4-FFF2-40B4-BE49-F238E27FC236}">
                <a16:creationId xmlns:a16="http://schemas.microsoft.com/office/drawing/2014/main" id="{9DF61BE2-36BA-4FF2-BC8E-9F351048A87F}"/>
              </a:ext>
            </a:extLst>
          </p:cNvPr>
          <p:cNvSpPr>
            <a:spLocks noGrp="1"/>
          </p:cNvSpPr>
          <p:nvPr>
            <p:ph sz="half" idx="14"/>
          </p:nvPr>
        </p:nvSpPr>
        <p:spPr>
          <a:xfrm>
            <a:off x="7968060" y="1125539"/>
            <a:ext cx="3600053" cy="4824412"/>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334963" y="1125539"/>
            <a:ext cx="2879725" cy="4814886"/>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32493C6D-60AE-4DC8-B968-A85994C7DE91}"/>
              </a:ext>
            </a:extLst>
          </p:cNvPr>
          <p:cNvSpPr>
            <a:spLocks noGrp="1"/>
          </p:cNvSpPr>
          <p:nvPr>
            <p:ph type="sldNum" sz="quarter" idx="16"/>
          </p:nvPr>
        </p:nvSpPr>
        <p:spPr/>
        <p:txBody>
          <a:bodyPr/>
          <a:lstStyle/>
          <a:p>
            <a:fld id="{8C6A7667-EC29-4B1B-AE45-74781FF4A4B1}" type="slidenum">
              <a:rPr lang="en-US" smtClean="0"/>
              <a:pPr/>
              <a:t>‹Nr.›</a:t>
            </a:fld>
            <a:endParaRPr lang="en-US" dirty="0"/>
          </a:p>
        </p:txBody>
      </p:sp>
      <p:sp>
        <p:nvSpPr>
          <p:cNvPr id="5" name="Datumsplatzhalter 4">
            <a:extLst>
              <a:ext uri="{FF2B5EF4-FFF2-40B4-BE49-F238E27FC236}">
                <a16:creationId xmlns:a16="http://schemas.microsoft.com/office/drawing/2014/main" id="{85DE3A1E-562E-49B2-A146-4A40B71D5FDB}"/>
              </a:ext>
            </a:extLst>
          </p:cNvPr>
          <p:cNvSpPr>
            <a:spLocks noGrp="1"/>
          </p:cNvSpPr>
          <p:nvPr>
            <p:ph type="dt" sz="half" idx="17"/>
          </p:nvPr>
        </p:nvSpPr>
        <p:spPr>
          <a:xfrm>
            <a:off x="335538" y="6487478"/>
            <a:ext cx="2880320" cy="133264"/>
          </a:xfrm>
        </p:spPr>
        <p:txBody>
          <a:bodyPr/>
          <a:lstStyle>
            <a:lvl1pPr>
              <a:defRPr>
                <a:solidFill>
                  <a:srgbClr val="000000"/>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3644C8AE-48DD-46BA-B78F-DA20224C4FD9}"/>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000000"/>
              </a:solidFill>
            </a:endParaRPr>
          </a:p>
        </p:txBody>
      </p:sp>
    </p:spTree>
    <p:extLst>
      <p:ext uri="{BB962C8B-B14F-4D97-AF65-F5344CB8AC3E}">
        <p14:creationId xmlns:p14="http://schemas.microsoft.com/office/powerpoint/2010/main" val="1616129261"/>
      </p:ext>
    </p:extLst>
  </p:cSld>
  <p:clrMapOvr>
    <a:masterClrMapping/>
  </p:clrMapOvr>
  <p:hf hdr="0"/>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Kernaussage und vier Inhalte akzentuiert" preserve="1" userDrawn="1">
  <p:cSld name="Kernaussage und vier Inhalte akzentuier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352782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4151710" y="1125540"/>
            <a:ext cx="3600053" cy="2159445"/>
          </a:xfrm>
        </p:spPr>
        <p:txBody>
          <a:bodyPr vert="horz" lIns="0" tIns="0" rIns="0" bIns="0" rtlCol="0">
            <a:noAutofit/>
          </a:bodyPr>
          <a:lstStyle>
            <a:lvl1pPr>
              <a:defRPr lang="de-CH"/>
            </a:lvl1pPr>
            <a:lvl2pPr>
              <a:defRPr lang="de-CH"/>
            </a:lvl2pPr>
            <a:lvl3pPr>
              <a:defRPr lang="de-CH"/>
            </a:lvl3pPr>
            <a:lvl4pPr>
              <a:defRPr lang="de-CH"/>
            </a:lvl4pPr>
            <a:lvl5pPr>
              <a:defRPr lang="de-CH"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0" name="Content Placeholder 3">
            <a:extLst>
              <a:ext uri="{FF2B5EF4-FFF2-40B4-BE49-F238E27FC236}">
                <a16:creationId xmlns:a16="http://schemas.microsoft.com/office/drawing/2014/main" id="{9DF61BE2-36BA-4FF2-BC8E-9F351048A87F}"/>
              </a:ext>
            </a:extLst>
          </p:cNvPr>
          <p:cNvSpPr>
            <a:spLocks noGrp="1"/>
          </p:cNvSpPr>
          <p:nvPr>
            <p:ph sz="half" idx="14"/>
          </p:nvPr>
        </p:nvSpPr>
        <p:spPr>
          <a:xfrm>
            <a:off x="7968060" y="1125539"/>
            <a:ext cx="3600053" cy="2159445"/>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334963" y="1125539"/>
            <a:ext cx="2879725" cy="2159445"/>
          </a:xfrm>
        </p:spPr>
        <p:txBody>
          <a:bodyPr/>
          <a:lstStyle>
            <a:lvl1pPr marL="0" indent="0">
              <a:lnSpc>
                <a:spcPct val="100000"/>
              </a:lnSpc>
              <a:buNone/>
              <a:defRPr sz="2000"/>
            </a:lvl1pPr>
          </a:lstStyle>
          <a:p>
            <a:pPr lvl="0"/>
            <a:r>
              <a:rPr lang="en-US" dirty="0" err="1"/>
              <a:t>Kernaussage</a:t>
            </a:r>
            <a:endParaRPr lang="en-US" dirty="0"/>
          </a:p>
        </p:txBody>
      </p:sp>
      <p:sp>
        <p:nvSpPr>
          <p:cNvPr id="12" name="Content Placeholder 3">
            <a:extLst>
              <a:ext uri="{FF2B5EF4-FFF2-40B4-BE49-F238E27FC236}">
                <a16:creationId xmlns:a16="http://schemas.microsoft.com/office/drawing/2014/main" id="{5F5A8F1C-9EA5-4DCA-AB7F-2899FA6151D1}"/>
              </a:ext>
            </a:extLst>
          </p:cNvPr>
          <p:cNvSpPr>
            <a:spLocks noGrp="1"/>
          </p:cNvSpPr>
          <p:nvPr>
            <p:ph sz="half" idx="16"/>
          </p:nvPr>
        </p:nvSpPr>
        <p:spPr>
          <a:xfrm>
            <a:off x="4151710" y="3501009"/>
            <a:ext cx="3600053" cy="2159445"/>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4" name="Content Placeholder 3">
            <a:extLst>
              <a:ext uri="{FF2B5EF4-FFF2-40B4-BE49-F238E27FC236}">
                <a16:creationId xmlns:a16="http://schemas.microsoft.com/office/drawing/2014/main" id="{5702ECDA-C7AE-49FB-98C9-BB61C06B4D48}"/>
              </a:ext>
            </a:extLst>
          </p:cNvPr>
          <p:cNvSpPr>
            <a:spLocks noGrp="1"/>
          </p:cNvSpPr>
          <p:nvPr>
            <p:ph sz="half" idx="17"/>
          </p:nvPr>
        </p:nvSpPr>
        <p:spPr>
          <a:xfrm>
            <a:off x="7968060" y="3501008"/>
            <a:ext cx="3600053" cy="2159445"/>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5" name="Text Placeholder 12">
            <a:extLst>
              <a:ext uri="{FF2B5EF4-FFF2-40B4-BE49-F238E27FC236}">
                <a16:creationId xmlns:a16="http://schemas.microsoft.com/office/drawing/2014/main" id="{BE399F86-280A-4F03-A4A1-1CAC749B5762}"/>
              </a:ext>
            </a:extLst>
          </p:cNvPr>
          <p:cNvSpPr>
            <a:spLocks noGrp="1"/>
          </p:cNvSpPr>
          <p:nvPr>
            <p:ph type="body" sz="quarter" idx="18" hasCustomPrompt="1"/>
          </p:nvPr>
        </p:nvSpPr>
        <p:spPr>
          <a:xfrm>
            <a:off x="334963" y="3501008"/>
            <a:ext cx="2879725" cy="2159445"/>
          </a:xfrm>
        </p:spPr>
        <p:txBody>
          <a:bodyPr/>
          <a:lstStyle>
            <a:lvl1pPr marL="0" indent="0">
              <a:lnSpc>
                <a:spcPct val="100000"/>
              </a:lnSpc>
              <a:buNone/>
              <a:defRPr sz="2000"/>
            </a:lvl1pPr>
          </a:lstStyle>
          <a:p>
            <a:pPr lvl="0"/>
            <a:r>
              <a:rPr lang="en-US" dirty="0" err="1"/>
              <a:t>Kernaussage</a:t>
            </a:r>
            <a:endParaRPr lang="en-US" dirty="0"/>
          </a:p>
        </p:txBody>
      </p:sp>
      <p:cxnSp>
        <p:nvCxnSpPr>
          <p:cNvPr id="16" name="Straight Connector 15">
            <a:extLst>
              <a:ext uri="{FF2B5EF4-FFF2-40B4-BE49-F238E27FC236}">
                <a16:creationId xmlns:a16="http://schemas.microsoft.com/office/drawing/2014/main" id="{573D2F41-77A4-4E25-B7A0-A4A29919DBFD}"/>
              </a:ext>
            </a:extLst>
          </p:cNvPr>
          <p:cNvCxnSpPr/>
          <p:nvPr userDrawn="1"/>
        </p:nvCxnSpPr>
        <p:spPr>
          <a:xfrm>
            <a:off x="4151710" y="980728"/>
            <a:ext cx="7416403" cy="0"/>
          </a:xfrm>
          <a:prstGeom prst="line">
            <a:avLst/>
          </a:prstGeom>
          <a:ln w="952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EEE5ACB-454C-49AC-BF96-DD392CF3416E}"/>
              </a:ext>
            </a:extLst>
          </p:cNvPr>
          <p:cNvCxnSpPr/>
          <p:nvPr userDrawn="1"/>
        </p:nvCxnSpPr>
        <p:spPr>
          <a:xfrm>
            <a:off x="4151710" y="3429000"/>
            <a:ext cx="7416403" cy="0"/>
          </a:xfrm>
          <a:prstGeom prst="line">
            <a:avLst/>
          </a:prstGeom>
          <a:ln w="9525">
            <a:solidFill>
              <a:srgbClr val="969696"/>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CC0284A9-ADFF-4601-81D5-41166BAA0039}"/>
              </a:ext>
            </a:extLst>
          </p:cNvPr>
          <p:cNvSpPr>
            <a:spLocks noGrp="1"/>
          </p:cNvSpPr>
          <p:nvPr>
            <p:ph type="sldNum" sz="quarter" idx="19"/>
          </p:nvPr>
        </p:nvSpPr>
        <p:spPr/>
        <p:txBody>
          <a:bodyPr/>
          <a:lstStyle/>
          <a:p>
            <a:fld id="{29831D22-A8FB-4E84-A5DF-11D862C1911A}" type="slidenum">
              <a:rPr lang="en-US" smtClean="0"/>
              <a:pPr/>
              <a:t>‹Nr.›</a:t>
            </a:fld>
            <a:endParaRPr lang="en-US" dirty="0"/>
          </a:p>
        </p:txBody>
      </p:sp>
      <p:cxnSp>
        <p:nvCxnSpPr>
          <p:cNvPr id="20" name="Straight Connector 15">
            <a:extLst>
              <a:ext uri="{FF2B5EF4-FFF2-40B4-BE49-F238E27FC236}">
                <a16:creationId xmlns:a16="http://schemas.microsoft.com/office/drawing/2014/main" id="{FC991337-D41F-4D29-928C-869CEAA647CF}"/>
              </a:ext>
            </a:extLst>
          </p:cNvPr>
          <p:cNvCxnSpPr>
            <a:cxnSpLocks/>
          </p:cNvCxnSpPr>
          <p:nvPr userDrawn="1"/>
        </p:nvCxnSpPr>
        <p:spPr>
          <a:xfrm>
            <a:off x="334963" y="980728"/>
            <a:ext cx="28797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15">
            <a:extLst>
              <a:ext uri="{FF2B5EF4-FFF2-40B4-BE49-F238E27FC236}">
                <a16:creationId xmlns:a16="http://schemas.microsoft.com/office/drawing/2014/main" id="{EBAD4B00-530E-46EC-8FBA-5BA6F2299419}"/>
              </a:ext>
            </a:extLst>
          </p:cNvPr>
          <p:cNvCxnSpPr>
            <a:cxnSpLocks/>
          </p:cNvCxnSpPr>
          <p:nvPr userDrawn="1"/>
        </p:nvCxnSpPr>
        <p:spPr>
          <a:xfrm>
            <a:off x="334963" y="3429000"/>
            <a:ext cx="28797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umsplatzhalter 4">
            <a:extLst>
              <a:ext uri="{FF2B5EF4-FFF2-40B4-BE49-F238E27FC236}">
                <a16:creationId xmlns:a16="http://schemas.microsoft.com/office/drawing/2014/main" id="{0DA05543-C111-4C72-BC9B-0FB97E24A502}"/>
              </a:ext>
            </a:extLst>
          </p:cNvPr>
          <p:cNvSpPr>
            <a:spLocks noGrp="1"/>
          </p:cNvSpPr>
          <p:nvPr>
            <p:ph type="dt" sz="half" idx="20"/>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A24FA979-26D6-40FD-A5FA-78A414540F53}"/>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2689594060"/>
      </p:ext>
    </p:extLst>
  </p:cSld>
  <p:clrMapOvr>
    <a:masterClrMapping/>
  </p:clrMapOvr>
  <p:hf hdr="0"/>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Kernaussage und vier Inhalte grau" preserve="1" userDrawn="1">
  <p:cSld name="Kernaussage und vier Inhalte gra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a:spLocks/>
          </p:cNvSpPr>
          <p:nvPr userDrawn="1"/>
        </p:nvSpPr>
        <p:spPr>
          <a:xfrm>
            <a:off x="-1" y="-429"/>
            <a:ext cx="352782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4151710" y="1125540"/>
            <a:ext cx="3600053" cy="2159445"/>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0" name="Content Placeholder 3">
            <a:extLst>
              <a:ext uri="{FF2B5EF4-FFF2-40B4-BE49-F238E27FC236}">
                <a16:creationId xmlns:a16="http://schemas.microsoft.com/office/drawing/2014/main" id="{9DF61BE2-36BA-4FF2-BC8E-9F351048A87F}"/>
              </a:ext>
            </a:extLst>
          </p:cNvPr>
          <p:cNvSpPr>
            <a:spLocks noGrp="1"/>
          </p:cNvSpPr>
          <p:nvPr>
            <p:ph sz="half" idx="14"/>
          </p:nvPr>
        </p:nvSpPr>
        <p:spPr>
          <a:xfrm>
            <a:off x="7968060" y="1125539"/>
            <a:ext cx="3600053" cy="2159445"/>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334963" y="1125539"/>
            <a:ext cx="2879725" cy="2159445"/>
          </a:xfrm>
        </p:spPr>
        <p:txBody>
          <a:bodyPr/>
          <a:lstStyle>
            <a:lvl1pPr marL="0" indent="0">
              <a:lnSpc>
                <a:spcPct val="100000"/>
              </a:lnSpc>
              <a:buNone/>
              <a:defRPr sz="2000"/>
            </a:lvl1pPr>
          </a:lstStyle>
          <a:p>
            <a:pPr lvl="0"/>
            <a:r>
              <a:rPr lang="en-US" dirty="0" err="1"/>
              <a:t>Kernaussage</a:t>
            </a:r>
            <a:endParaRPr lang="en-US" dirty="0"/>
          </a:p>
        </p:txBody>
      </p:sp>
      <p:sp>
        <p:nvSpPr>
          <p:cNvPr id="12" name="Content Placeholder 3">
            <a:extLst>
              <a:ext uri="{FF2B5EF4-FFF2-40B4-BE49-F238E27FC236}">
                <a16:creationId xmlns:a16="http://schemas.microsoft.com/office/drawing/2014/main" id="{5F5A8F1C-9EA5-4DCA-AB7F-2899FA6151D1}"/>
              </a:ext>
            </a:extLst>
          </p:cNvPr>
          <p:cNvSpPr>
            <a:spLocks noGrp="1"/>
          </p:cNvSpPr>
          <p:nvPr>
            <p:ph sz="half" idx="16"/>
          </p:nvPr>
        </p:nvSpPr>
        <p:spPr>
          <a:xfrm>
            <a:off x="4151710" y="3501009"/>
            <a:ext cx="3600053" cy="2159445"/>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4" name="Content Placeholder 3">
            <a:extLst>
              <a:ext uri="{FF2B5EF4-FFF2-40B4-BE49-F238E27FC236}">
                <a16:creationId xmlns:a16="http://schemas.microsoft.com/office/drawing/2014/main" id="{5702ECDA-C7AE-49FB-98C9-BB61C06B4D48}"/>
              </a:ext>
            </a:extLst>
          </p:cNvPr>
          <p:cNvSpPr>
            <a:spLocks noGrp="1"/>
          </p:cNvSpPr>
          <p:nvPr>
            <p:ph sz="half" idx="17"/>
          </p:nvPr>
        </p:nvSpPr>
        <p:spPr>
          <a:xfrm>
            <a:off x="7968060" y="3501008"/>
            <a:ext cx="3600053" cy="2159445"/>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5" name="Text Placeholder 12">
            <a:extLst>
              <a:ext uri="{FF2B5EF4-FFF2-40B4-BE49-F238E27FC236}">
                <a16:creationId xmlns:a16="http://schemas.microsoft.com/office/drawing/2014/main" id="{BE399F86-280A-4F03-A4A1-1CAC749B5762}"/>
              </a:ext>
            </a:extLst>
          </p:cNvPr>
          <p:cNvSpPr>
            <a:spLocks noGrp="1"/>
          </p:cNvSpPr>
          <p:nvPr>
            <p:ph type="body" sz="quarter" idx="18" hasCustomPrompt="1"/>
          </p:nvPr>
        </p:nvSpPr>
        <p:spPr>
          <a:xfrm>
            <a:off x="334963" y="3501008"/>
            <a:ext cx="2879725" cy="2159445"/>
          </a:xfrm>
        </p:spPr>
        <p:txBody>
          <a:bodyPr/>
          <a:lstStyle>
            <a:lvl1pPr marL="0" indent="0">
              <a:lnSpc>
                <a:spcPct val="100000"/>
              </a:lnSpc>
              <a:buNone/>
              <a:defRPr sz="2000"/>
            </a:lvl1pPr>
          </a:lstStyle>
          <a:p>
            <a:pPr lvl="0"/>
            <a:r>
              <a:rPr lang="en-US" dirty="0" err="1"/>
              <a:t>Kernaussage</a:t>
            </a:r>
            <a:endParaRPr lang="en-US" dirty="0"/>
          </a:p>
        </p:txBody>
      </p:sp>
      <p:cxnSp>
        <p:nvCxnSpPr>
          <p:cNvPr id="16" name="Straight Connector 15">
            <a:extLst>
              <a:ext uri="{FF2B5EF4-FFF2-40B4-BE49-F238E27FC236}">
                <a16:creationId xmlns:a16="http://schemas.microsoft.com/office/drawing/2014/main" id="{573D2F41-77A4-4E25-B7A0-A4A29919DBFD}"/>
              </a:ext>
            </a:extLst>
          </p:cNvPr>
          <p:cNvCxnSpPr>
            <a:cxnSpLocks/>
          </p:cNvCxnSpPr>
          <p:nvPr userDrawn="1"/>
        </p:nvCxnSpPr>
        <p:spPr>
          <a:xfrm>
            <a:off x="4151710" y="980728"/>
            <a:ext cx="7416403" cy="0"/>
          </a:xfrm>
          <a:prstGeom prst="line">
            <a:avLst/>
          </a:prstGeom>
          <a:ln w="952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EEE5ACB-454C-49AC-BF96-DD392CF3416E}"/>
              </a:ext>
            </a:extLst>
          </p:cNvPr>
          <p:cNvCxnSpPr>
            <a:cxnSpLocks/>
          </p:cNvCxnSpPr>
          <p:nvPr userDrawn="1"/>
        </p:nvCxnSpPr>
        <p:spPr>
          <a:xfrm>
            <a:off x="4151710" y="3429000"/>
            <a:ext cx="7416403" cy="0"/>
          </a:xfrm>
          <a:prstGeom prst="line">
            <a:avLst/>
          </a:prstGeom>
          <a:ln w="9525">
            <a:solidFill>
              <a:srgbClr val="969696"/>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A8F4CE5A-DAA9-4D14-B6EC-153953329F37}"/>
              </a:ext>
            </a:extLst>
          </p:cNvPr>
          <p:cNvSpPr>
            <a:spLocks noGrp="1"/>
          </p:cNvSpPr>
          <p:nvPr>
            <p:ph type="sldNum" sz="quarter" idx="19"/>
          </p:nvPr>
        </p:nvSpPr>
        <p:spPr/>
        <p:txBody>
          <a:bodyPr/>
          <a:lstStyle/>
          <a:p>
            <a:fld id="{FCD75629-73B5-4093-8FBB-F786241D2B0E}" type="slidenum">
              <a:rPr lang="en-US" smtClean="0"/>
              <a:pPr/>
              <a:t>‹Nr.›</a:t>
            </a:fld>
            <a:endParaRPr lang="en-US" dirty="0"/>
          </a:p>
        </p:txBody>
      </p:sp>
      <p:cxnSp>
        <p:nvCxnSpPr>
          <p:cNvPr id="20" name="Straight Connector 15">
            <a:extLst>
              <a:ext uri="{FF2B5EF4-FFF2-40B4-BE49-F238E27FC236}">
                <a16:creationId xmlns:a16="http://schemas.microsoft.com/office/drawing/2014/main" id="{8C825008-6E4D-4D5B-80C0-1889B1DA3EA6}"/>
              </a:ext>
            </a:extLst>
          </p:cNvPr>
          <p:cNvCxnSpPr>
            <a:cxnSpLocks/>
          </p:cNvCxnSpPr>
          <p:nvPr userDrawn="1"/>
        </p:nvCxnSpPr>
        <p:spPr>
          <a:xfrm>
            <a:off x="334963" y="980728"/>
            <a:ext cx="2879725" cy="0"/>
          </a:xfrm>
          <a:prstGeom prst="line">
            <a:avLst/>
          </a:prstGeom>
          <a:ln w="952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22" name="Straight Connector 15">
            <a:extLst>
              <a:ext uri="{FF2B5EF4-FFF2-40B4-BE49-F238E27FC236}">
                <a16:creationId xmlns:a16="http://schemas.microsoft.com/office/drawing/2014/main" id="{F9152670-1857-42C5-BE87-E00B1EC35F4C}"/>
              </a:ext>
            </a:extLst>
          </p:cNvPr>
          <p:cNvCxnSpPr>
            <a:cxnSpLocks/>
          </p:cNvCxnSpPr>
          <p:nvPr userDrawn="1"/>
        </p:nvCxnSpPr>
        <p:spPr>
          <a:xfrm>
            <a:off x="334963" y="3429000"/>
            <a:ext cx="2879725" cy="0"/>
          </a:xfrm>
          <a:prstGeom prst="line">
            <a:avLst/>
          </a:prstGeom>
          <a:ln w="9525">
            <a:solidFill>
              <a:srgbClr val="969696"/>
            </a:solidFill>
          </a:ln>
        </p:spPr>
        <p:style>
          <a:lnRef idx="1">
            <a:schemeClr val="accent1"/>
          </a:lnRef>
          <a:fillRef idx="0">
            <a:schemeClr val="accent1"/>
          </a:fillRef>
          <a:effectRef idx="0">
            <a:schemeClr val="accent1"/>
          </a:effectRef>
          <a:fontRef idx="minor">
            <a:schemeClr val="tx1"/>
          </a:fontRef>
        </p:style>
      </p:cxnSp>
      <p:sp>
        <p:nvSpPr>
          <p:cNvPr id="5" name="Datumsplatzhalter 4">
            <a:extLst>
              <a:ext uri="{FF2B5EF4-FFF2-40B4-BE49-F238E27FC236}">
                <a16:creationId xmlns:a16="http://schemas.microsoft.com/office/drawing/2014/main" id="{441CD0C9-F206-48C0-8F19-EA32F4AE8759}"/>
              </a:ext>
            </a:extLst>
          </p:cNvPr>
          <p:cNvSpPr>
            <a:spLocks noGrp="1"/>
          </p:cNvSpPr>
          <p:nvPr>
            <p:ph type="dt" sz="half" idx="20"/>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2BBA6724-E824-4A9E-89BC-2506B7CCFBE7}"/>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857105296"/>
      </p:ext>
    </p:extLst>
  </p:cSld>
  <p:clrMapOvr>
    <a:masterClrMapping/>
  </p:clrMapOvr>
  <p:hf hdr="0"/>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Kernaussage akzentuiert" preserve="1" userDrawn="1">
  <p:cSld name="Kernaussage akzentuier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352782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334963" y="1916113"/>
            <a:ext cx="2879725" cy="4024312"/>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3C322929-CCCE-4C98-97E2-2CAA9E88449E}"/>
              </a:ext>
            </a:extLst>
          </p:cNvPr>
          <p:cNvSpPr>
            <a:spLocks noGrp="1"/>
          </p:cNvSpPr>
          <p:nvPr>
            <p:ph type="sldNum" sz="quarter" idx="16"/>
          </p:nvPr>
        </p:nvSpPr>
        <p:spPr/>
        <p:txBody>
          <a:bodyPr/>
          <a:lstStyle/>
          <a:p>
            <a:fld id="{1000C656-5805-4354-9BAB-BAC8361EB81A}" type="slidenum">
              <a:rPr lang="en-US" smtClean="0"/>
              <a:pPr/>
              <a:t>‹Nr.›</a:t>
            </a:fld>
            <a:endParaRPr lang="en-US" dirty="0"/>
          </a:p>
        </p:txBody>
      </p:sp>
      <p:sp>
        <p:nvSpPr>
          <p:cNvPr id="4" name="Datumsplatzhalter 3">
            <a:extLst>
              <a:ext uri="{FF2B5EF4-FFF2-40B4-BE49-F238E27FC236}">
                <a16:creationId xmlns:a16="http://schemas.microsoft.com/office/drawing/2014/main" id="{85495E35-86BA-476C-BD50-59224B596C93}"/>
              </a:ext>
            </a:extLst>
          </p:cNvPr>
          <p:cNvSpPr>
            <a:spLocks noGrp="1"/>
          </p:cNvSpPr>
          <p:nvPr>
            <p:ph type="dt" sz="half" idx="17"/>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5" name="TextBox 4">
            <a:extLst>
              <a:ext uri="{FF2B5EF4-FFF2-40B4-BE49-F238E27FC236}">
                <a16:creationId xmlns:a16="http://schemas.microsoft.com/office/drawing/2014/main" id="{95618598-8472-4D27-9977-A11A2D6A52DE}"/>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98302713"/>
      </p:ext>
    </p:extLst>
  </p:cSld>
  <p:clrMapOvr>
    <a:masterClrMapping/>
  </p:clrMapOvr>
  <p:hf hdr="0"/>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Kernaussage grau" preserve="1" userDrawn="1">
  <p:cSld name="Kernaussage gra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352782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334963" y="1916113"/>
            <a:ext cx="2879725" cy="4024312"/>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3C322929-CCCE-4C98-97E2-2CAA9E88449E}"/>
              </a:ext>
            </a:extLst>
          </p:cNvPr>
          <p:cNvSpPr>
            <a:spLocks noGrp="1"/>
          </p:cNvSpPr>
          <p:nvPr>
            <p:ph type="sldNum" sz="quarter" idx="16"/>
          </p:nvPr>
        </p:nvSpPr>
        <p:spPr/>
        <p:txBody>
          <a:bodyPr/>
          <a:lstStyle/>
          <a:p>
            <a:fld id="{6ADC9BC6-5D45-434F-9A31-36BD82FAD9C2}" type="slidenum">
              <a:rPr lang="en-US" smtClean="0"/>
              <a:pPr/>
              <a:t>‹Nr.›</a:t>
            </a:fld>
            <a:endParaRPr lang="en-US" dirty="0"/>
          </a:p>
        </p:txBody>
      </p:sp>
      <p:sp>
        <p:nvSpPr>
          <p:cNvPr id="4" name="Datumsplatzhalter 3">
            <a:extLst>
              <a:ext uri="{FF2B5EF4-FFF2-40B4-BE49-F238E27FC236}">
                <a16:creationId xmlns:a16="http://schemas.microsoft.com/office/drawing/2014/main" id="{85495E35-86BA-476C-BD50-59224B596C93}"/>
              </a:ext>
            </a:extLst>
          </p:cNvPr>
          <p:cNvSpPr>
            <a:spLocks noGrp="1"/>
          </p:cNvSpPr>
          <p:nvPr>
            <p:ph type="dt" sz="half" idx="17"/>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5" name="TextBox 4">
            <a:extLst>
              <a:ext uri="{FF2B5EF4-FFF2-40B4-BE49-F238E27FC236}">
                <a16:creationId xmlns:a16="http://schemas.microsoft.com/office/drawing/2014/main" id="{95618598-8472-4D27-9977-A11A2D6A52DE}"/>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2753800527"/>
      </p:ext>
    </p:extLst>
  </p:cSld>
  <p:clrMapOvr>
    <a:masterClrMapping/>
  </p:clrMapOvr>
  <p:hf hdr="0"/>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Nur Kernaussage" preserve="1" userDrawn="1">
  <p:cSld name="Nur Kernauss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3" y="1916113"/>
            <a:ext cx="5761037" cy="2376984"/>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1C844DF1-4F2D-45AF-9BA6-E246832BD303}" type="slidenum">
              <a:rPr lang="en-US" smtClean="0"/>
              <a:pPr/>
              <a:t>‹Nr.›</a:t>
            </a:fld>
            <a:endParaRPr lang="en-US" dirty="0"/>
          </a:p>
        </p:txBody>
      </p:sp>
      <p:sp>
        <p:nvSpPr>
          <p:cNvPr id="4" name="Datumsplatzhalter 3">
            <a:extLst>
              <a:ext uri="{FF2B5EF4-FFF2-40B4-BE49-F238E27FC236}">
                <a16:creationId xmlns:a16="http://schemas.microsoft.com/office/drawing/2014/main" id="{9E25651E-CD90-469D-ACDC-4E2107837BCE}"/>
              </a:ext>
            </a:extLst>
          </p:cNvPr>
          <p:cNvSpPr>
            <a:spLocks noGrp="1"/>
          </p:cNvSpPr>
          <p:nvPr>
            <p:ph type="dt" sz="half" idx="17"/>
          </p:nvPr>
        </p:nvSpPr>
        <p:spPr>
          <a:xfrm>
            <a:off x="335538" y="6487478"/>
            <a:ext cx="2880320" cy="133264"/>
          </a:xfrm>
        </p:spPr>
        <p:txBody>
          <a:bodyPr/>
          <a:lstStyle/>
          <a:p>
            <a:r>
              <a:rPr lang="en-US"/>
              <a:t>September 15-16, 2022</a:t>
            </a:r>
            <a:endParaRPr lang="en-US" dirty="0"/>
          </a:p>
        </p:txBody>
      </p:sp>
      <p:sp>
        <p:nvSpPr>
          <p:cNvPr id="5" name="TextBox 4">
            <a:extLst>
              <a:ext uri="{FF2B5EF4-FFF2-40B4-BE49-F238E27FC236}">
                <a16:creationId xmlns:a16="http://schemas.microsoft.com/office/drawing/2014/main" id="{389974A3-9071-4BC3-B394-1B93A6E617A2}"/>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37184227"/>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7" name="Textfeld 15">
            <a:extLst>
              <a:ext uri="{FF2B5EF4-FFF2-40B4-BE49-F238E27FC236}">
                <a16:creationId xmlns:a16="http://schemas.microsoft.com/office/drawing/2014/main" id="{70C06905-BB73-425B-B0C6-56B700529B97}"/>
              </a:ext>
            </a:extLst>
          </p:cNvPr>
          <p:cNvSpPr txBox="1"/>
          <p:nvPr userDrawn="1">
            <p:custDataLst>
              <p:tags r:id="rId1"/>
            </p:custDataLst>
          </p:nvPr>
        </p:nvSpPr>
        <p:spPr>
          <a:xfrm>
            <a:off x="461641" y="3484531"/>
            <a:ext cx="9847585" cy="1013226"/>
          </a:xfrm>
          <a:prstGeom prst="rect">
            <a:avLst/>
          </a:prstGeom>
          <a:noFill/>
        </p:spPr>
        <p:txBody>
          <a:bodyPr wrap="square" lIns="0" tIns="0" rIns="0" bIns="0" rtlCol="0" anchor="b">
            <a:spAutoFit/>
          </a:bodyPr>
          <a:lstStyle/>
          <a:p>
            <a:pPr marL="0" indent="0">
              <a:lnSpc>
                <a:spcPct val="130000"/>
              </a:lnSpc>
              <a:buNone/>
            </a:pPr>
            <a:r>
              <a:rPr lang="en-GB" sz="1300" dirty="0">
                <a:solidFill>
                  <a:schemeClr val="accent6">
                    <a:lumMod val="50000"/>
                  </a:schemeClr>
                </a:solidFill>
              </a:rPr>
              <a:t>This presentation has been prepared solely for the purpose of general information and is not a substitute for legal advice. Therefore, WOLF THEISS accepts no responsibility if – in reliance on the information contained herein – you act, or fail to act, in any particular way. If you would like to know more about the topics covered or our services in general, please get in touch with the contacts listed above.</a:t>
            </a:r>
          </a:p>
        </p:txBody>
      </p:sp>
      <p:sp>
        <p:nvSpPr>
          <p:cNvPr id="8" name="Textfeld 16">
            <a:extLst>
              <a:ext uri="{FF2B5EF4-FFF2-40B4-BE49-F238E27FC236}">
                <a16:creationId xmlns:a16="http://schemas.microsoft.com/office/drawing/2014/main" id="{FE495F05-60BE-4C3D-A069-8B5B39527C53}"/>
              </a:ext>
            </a:extLst>
          </p:cNvPr>
          <p:cNvSpPr txBox="1"/>
          <p:nvPr userDrawn="1">
            <p:custDataLst>
              <p:tags r:id="rId2"/>
            </p:custDataLst>
          </p:nvPr>
        </p:nvSpPr>
        <p:spPr>
          <a:xfrm>
            <a:off x="461640" y="488272"/>
            <a:ext cx="6991784" cy="417250"/>
          </a:xfrm>
          <a:prstGeom prst="rect">
            <a:avLst/>
          </a:prstGeom>
        </p:spPr>
        <p:txBody>
          <a:bodyPr vert="horz" lIns="0" tIns="0" rIns="0" bIns="0" rtlCol="0" anchor="ctr">
            <a:normAutofit/>
          </a:bodyPr>
          <a:lstStyle>
            <a:lvl1pPr>
              <a:lnSpc>
                <a:spcPct val="90000"/>
              </a:lnSpc>
              <a:spcBef>
                <a:spcPct val="0"/>
              </a:spcBef>
              <a:buNone/>
              <a:defRPr sz="2400" b="1">
                <a:latin typeface="+mj-lt"/>
                <a:ea typeface="+mj-ea"/>
                <a:cs typeface="+mj-cs"/>
              </a:defRPr>
            </a:lvl1pPr>
          </a:lstStyle>
          <a:p>
            <a:pPr lvl="0"/>
            <a:r>
              <a:rPr lang="en-GB" sz="2400" dirty="0"/>
              <a:t>Disclaimer</a:t>
            </a:r>
          </a:p>
        </p:txBody>
      </p:sp>
    </p:spTree>
    <p:extLst>
      <p:ext uri="{BB962C8B-B14F-4D97-AF65-F5344CB8AC3E}">
        <p14:creationId xmlns:p14="http://schemas.microsoft.com/office/powerpoint/2010/main" val="299326130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Diagrammfolie" preserve="1" userDrawn="1">
  <p:cSld name="Diagrammfoli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3" y="1916113"/>
            <a:ext cx="3528789" cy="2376984"/>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3AB0BE66-BDFC-4502-9720-E0F0A9866E66}" type="slidenum">
              <a:rPr lang="en-US" smtClean="0"/>
              <a:pPr/>
              <a:t>‹Nr.›</a:t>
            </a:fld>
            <a:endParaRPr lang="en-US" dirty="0"/>
          </a:p>
        </p:txBody>
      </p:sp>
      <p:sp>
        <p:nvSpPr>
          <p:cNvPr id="4" name="Datumsplatzhalter 3">
            <a:extLst>
              <a:ext uri="{FF2B5EF4-FFF2-40B4-BE49-F238E27FC236}">
                <a16:creationId xmlns:a16="http://schemas.microsoft.com/office/drawing/2014/main" id="{9E25651E-CD90-469D-ACDC-4E2107837BCE}"/>
              </a:ext>
            </a:extLst>
          </p:cNvPr>
          <p:cNvSpPr>
            <a:spLocks noGrp="1"/>
          </p:cNvSpPr>
          <p:nvPr>
            <p:ph type="dt" sz="half" idx="17"/>
          </p:nvPr>
        </p:nvSpPr>
        <p:spPr>
          <a:xfrm>
            <a:off x="335538" y="6487478"/>
            <a:ext cx="2880320" cy="133264"/>
          </a:xfrm>
        </p:spPr>
        <p:txBody>
          <a:bodyPr/>
          <a:lstStyle/>
          <a:p>
            <a:r>
              <a:rPr lang="en-US"/>
              <a:t>September 15-16, 2022</a:t>
            </a:r>
            <a:endParaRPr lang="en-US" dirty="0"/>
          </a:p>
        </p:txBody>
      </p:sp>
      <p:sp>
        <p:nvSpPr>
          <p:cNvPr id="5" name="TextBox 4">
            <a:extLst>
              <a:ext uri="{FF2B5EF4-FFF2-40B4-BE49-F238E27FC236}">
                <a16:creationId xmlns:a16="http://schemas.microsoft.com/office/drawing/2014/main" id="{389974A3-9071-4BC3-B394-1B93A6E617A2}"/>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
        <p:nvSpPr>
          <p:cNvPr id="7" name="Textplatzhalter 6">
            <a:extLst>
              <a:ext uri="{FF2B5EF4-FFF2-40B4-BE49-F238E27FC236}">
                <a16:creationId xmlns:a16="http://schemas.microsoft.com/office/drawing/2014/main" id="{F7260F13-B535-486A-AEC8-E4D769A0FD71}"/>
              </a:ext>
            </a:extLst>
          </p:cNvPr>
          <p:cNvSpPr>
            <a:spLocks noGrp="1"/>
          </p:cNvSpPr>
          <p:nvPr>
            <p:ph type="body" sz="quarter" idx="18" hasCustomPrompt="1"/>
          </p:nvPr>
        </p:nvSpPr>
        <p:spPr>
          <a:xfrm>
            <a:off x="341097" y="1689093"/>
            <a:ext cx="3522655" cy="226591"/>
          </a:xfrm>
        </p:spPr>
        <p:txBody>
          <a:bodyPr bIns="72000" anchor="b" anchorCtr="0">
            <a:spAutoFit/>
          </a:bodyPr>
          <a:lstStyle>
            <a:lvl1pPr marL="0" indent="0">
              <a:lnSpc>
                <a:spcPct val="100000"/>
              </a:lnSpc>
              <a:spcBef>
                <a:spcPts val="0"/>
              </a:spcBef>
              <a:buNone/>
              <a:defRPr sz="1000">
                <a:solidFill>
                  <a:schemeClr val="tx2"/>
                </a:solidFill>
              </a:defRPr>
            </a:lvl1pPr>
          </a:lstStyle>
          <a:p>
            <a:pPr lvl="0"/>
            <a:r>
              <a:rPr lang="en-US" dirty="0" err="1"/>
              <a:t>Diagrammtitel</a:t>
            </a:r>
            <a:endParaRPr lang="en-US" dirty="0"/>
          </a:p>
        </p:txBody>
      </p:sp>
    </p:spTree>
    <p:extLst>
      <p:ext uri="{BB962C8B-B14F-4D97-AF65-F5344CB8AC3E}">
        <p14:creationId xmlns:p14="http://schemas.microsoft.com/office/powerpoint/2010/main" val="452693296"/>
      </p:ext>
    </p:extLst>
  </p:cSld>
  <p:clrMapOvr>
    <a:masterClrMapping/>
  </p:clrMapOvr>
  <p:hf hdr="0"/>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Nur zwei Kernaussagen" preserve="1" userDrawn="1">
  <p:cSld name="Nur zwei Kernaussag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3" y="1916113"/>
            <a:ext cx="3600797" cy="2376000"/>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D86FC9F8-8AB7-413D-BC72-8532251FEFBA}" type="slidenum">
              <a:rPr lang="en-US" smtClean="0"/>
              <a:pPr/>
              <a:t>‹Nr.›</a:t>
            </a:fld>
            <a:endParaRPr lang="en-US" dirty="0"/>
          </a:p>
        </p:txBody>
      </p:sp>
      <p:sp>
        <p:nvSpPr>
          <p:cNvPr id="8" name="Text Placeholder 10">
            <a:extLst>
              <a:ext uri="{FF2B5EF4-FFF2-40B4-BE49-F238E27FC236}">
                <a16:creationId xmlns:a16="http://schemas.microsoft.com/office/drawing/2014/main" id="{BB56B21E-8D48-4631-BE5A-A5C789FF044B}"/>
              </a:ext>
            </a:extLst>
          </p:cNvPr>
          <p:cNvSpPr>
            <a:spLocks noGrp="1"/>
          </p:cNvSpPr>
          <p:nvPr>
            <p:ph type="body" sz="quarter" idx="16" hasCustomPrompt="1"/>
          </p:nvPr>
        </p:nvSpPr>
        <p:spPr>
          <a:xfrm>
            <a:off x="5159375" y="1916112"/>
            <a:ext cx="3600797" cy="2376000"/>
          </a:xfrm>
        </p:spPr>
        <p:txBody>
          <a:bodyPr/>
          <a:lstStyle>
            <a:lvl1pPr marL="0" indent="0">
              <a:lnSpc>
                <a:spcPct val="100000"/>
              </a:lnSpc>
              <a:buNone/>
              <a:defRPr sz="2000"/>
            </a:lvl1pPr>
          </a:lstStyle>
          <a:p>
            <a:pPr lvl="0"/>
            <a:r>
              <a:rPr lang="en-US" dirty="0" err="1"/>
              <a:t>Kernaussage</a:t>
            </a:r>
            <a:endParaRPr lang="en-US" dirty="0"/>
          </a:p>
        </p:txBody>
      </p:sp>
      <p:sp>
        <p:nvSpPr>
          <p:cNvPr id="4" name="Datumsplatzhalter 3">
            <a:extLst>
              <a:ext uri="{FF2B5EF4-FFF2-40B4-BE49-F238E27FC236}">
                <a16:creationId xmlns:a16="http://schemas.microsoft.com/office/drawing/2014/main" id="{9E25651E-CD90-469D-ACDC-4E2107837BCE}"/>
              </a:ext>
            </a:extLst>
          </p:cNvPr>
          <p:cNvSpPr>
            <a:spLocks noGrp="1"/>
          </p:cNvSpPr>
          <p:nvPr>
            <p:ph type="dt" sz="half" idx="17"/>
          </p:nvPr>
        </p:nvSpPr>
        <p:spPr>
          <a:xfrm>
            <a:off x="335538" y="6487478"/>
            <a:ext cx="2880320" cy="133264"/>
          </a:xfrm>
        </p:spPr>
        <p:txBody>
          <a:bodyPr/>
          <a:lstStyle/>
          <a:p>
            <a:r>
              <a:rPr lang="en-US"/>
              <a:t>September 15-16, 2022</a:t>
            </a:r>
            <a:endParaRPr lang="en-US" dirty="0"/>
          </a:p>
        </p:txBody>
      </p:sp>
      <p:sp>
        <p:nvSpPr>
          <p:cNvPr id="5" name="TextBox 4">
            <a:extLst>
              <a:ext uri="{FF2B5EF4-FFF2-40B4-BE49-F238E27FC236}">
                <a16:creationId xmlns:a16="http://schemas.microsoft.com/office/drawing/2014/main" id="{4A907090-6550-4B9C-B3BE-934961D8D08F}"/>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2388219463"/>
      </p:ext>
    </p:extLst>
  </p:cSld>
  <p:clrMapOvr>
    <a:masterClrMapping/>
  </p:clrMapOvr>
  <p:hf hdr="0"/>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Kernaussage und Inhalt akzentuiert" preserve="1" userDrawn="1">
  <p:cSld name="Kernaussage und Inhalt akzentuier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453598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4963" y="518400"/>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5159374" y="1916113"/>
            <a:ext cx="4537075" cy="4033837"/>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334963" y="1916113"/>
            <a:ext cx="3600450" cy="4024312"/>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EFCD7590-203B-4F33-841E-D2CC7CDC9925}"/>
              </a:ext>
            </a:extLst>
          </p:cNvPr>
          <p:cNvSpPr>
            <a:spLocks noGrp="1"/>
          </p:cNvSpPr>
          <p:nvPr>
            <p:ph type="sldNum" sz="quarter" idx="16"/>
          </p:nvPr>
        </p:nvSpPr>
        <p:spPr/>
        <p:txBody>
          <a:bodyPr/>
          <a:lstStyle/>
          <a:p>
            <a:fld id="{7DE0E2DB-8E36-4EB8-AC18-BE30C0D91D7F}" type="slidenum">
              <a:rPr lang="en-US" smtClean="0"/>
              <a:pPr/>
              <a:t>‹Nr.›</a:t>
            </a:fld>
            <a:endParaRPr lang="en-US" dirty="0"/>
          </a:p>
        </p:txBody>
      </p:sp>
      <p:sp>
        <p:nvSpPr>
          <p:cNvPr id="5" name="Datumsplatzhalter 4">
            <a:extLst>
              <a:ext uri="{FF2B5EF4-FFF2-40B4-BE49-F238E27FC236}">
                <a16:creationId xmlns:a16="http://schemas.microsoft.com/office/drawing/2014/main" id="{7516AB98-1D8C-4185-A6A6-952E6264ECBE}"/>
              </a:ext>
            </a:extLst>
          </p:cNvPr>
          <p:cNvSpPr>
            <a:spLocks noGrp="1"/>
          </p:cNvSpPr>
          <p:nvPr>
            <p:ph type="dt" sz="half" idx="17"/>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E7BCB0BB-CEFF-49CB-9BCD-51A1DBD55DA7}"/>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1722846121"/>
      </p:ext>
    </p:extLst>
  </p:cSld>
  <p:clrMapOvr>
    <a:masterClrMapping/>
  </p:clrMapOvr>
  <p:hf hdr="0"/>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Kernaussage und Inhalt grau" preserve="1" userDrawn="1">
  <p:cSld name="Kernaussage und Inhalt gra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453598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5159374" y="1916113"/>
            <a:ext cx="4537075" cy="4033837"/>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334963" y="1916113"/>
            <a:ext cx="3600450" cy="4024312"/>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4EA9F361-8320-4CCC-98C5-582771866EB1}"/>
              </a:ext>
            </a:extLst>
          </p:cNvPr>
          <p:cNvSpPr>
            <a:spLocks noGrp="1"/>
          </p:cNvSpPr>
          <p:nvPr>
            <p:ph type="sldNum" sz="quarter" idx="16"/>
          </p:nvPr>
        </p:nvSpPr>
        <p:spPr/>
        <p:txBody>
          <a:bodyPr/>
          <a:lstStyle/>
          <a:p>
            <a:fld id="{CA342F99-6BD0-46A6-B225-538DADCFBA94}" type="slidenum">
              <a:rPr lang="en-US" smtClean="0"/>
              <a:pPr/>
              <a:t>‹Nr.›</a:t>
            </a:fld>
            <a:endParaRPr lang="en-US" dirty="0"/>
          </a:p>
        </p:txBody>
      </p:sp>
      <p:sp>
        <p:nvSpPr>
          <p:cNvPr id="5" name="Datumsplatzhalter 4">
            <a:extLst>
              <a:ext uri="{FF2B5EF4-FFF2-40B4-BE49-F238E27FC236}">
                <a16:creationId xmlns:a16="http://schemas.microsoft.com/office/drawing/2014/main" id="{BC5177EF-F5BB-4140-8352-EBA0E50C5B8D}"/>
              </a:ext>
            </a:extLst>
          </p:cNvPr>
          <p:cNvSpPr>
            <a:spLocks noGrp="1"/>
          </p:cNvSpPr>
          <p:nvPr>
            <p:ph type="dt" sz="half" idx="17"/>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9A451181-CC22-481F-8BFA-5FC6BC4BAFCD}"/>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107820614"/>
      </p:ext>
    </p:extLst>
  </p:cSld>
  <p:clrMapOvr>
    <a:masterClrMapping/>
  </p:clrMapOvr>
  <p:hf hdr="0"/>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Kernaussage rechts und Inhalt akzentuiert" preserve="1" userDrawn="1">
  <p:cSld name="Kernaussage rechts und Inhalt akzentuier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7656017" y="-429"/>
            <a:ext cx="453598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4963" y="518400"/>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335360" y="1916113"/>
            <a:ext cx="4537075" cy="4033837"/>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7990981" y="1916113"/>
            <a:ext cx="3577132" cy="4024312"/>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EFCD7590-203B-4F33-841E-D2CC7CDC9925}"/>
              </a:ext>
            </a:extLst>
          </p:cNvPr>
          <p:cNvSpPr>
            <a:spLocks noGrp="1"/>
          </p:cNvSpPr>
          <p:nvPr>
            <p:ph type="sldNum" sz="quarter" idx="16"/>
          </p:nvPr>
        </p:nvSpPr>
        <p:spPr/>
        <p:txBody>
          <a:bodyPr/>
          <a:lstStyle>
            <a:lvl1pPr>
              <a:defRPr>
                <a:solidFill>
                  <a:srgbClr val="000000"/>
                </a:solidFill>
              </a:defRPr>
            </a:lvl1pPr>
          </a:lstStyle>
          <a:p>
            <a:fld id="{0E100BB0-76B5-40AE-8BA6-3505EB7F2A03}" type="slidenum">
              <a:rPr lang="en-US" smtClean="0"/>
              <a:pPr/>
              <a:t>‹Nr.›</a:t>
            </a:fld>
            <a:endParaRPr lang="en-US" dirty="0"/>
          </a:p>
        </p:txBody>
      </p:sp>
      <p:sp>
        <p:nvSpPr>
          <p:cNvPr id="5" name="Datumsplatzhalter 4">
            <a:extLst>
              <a:ext uri="{FF2B5EF4-FFF2-40B4-BE49-F238E27FC236}">
                <a16:creationId xmlns:a16="http://schemas.microsoft.com/office/drawing/2014/main" id="{7516AB98-1D8C-4185-A6A6-952E6264ECBE}"/>
              </a:ext>
            </a:extLst>
          </p:cNvPr>
          <p:cNvSpPr>
            <a:spLocks noGrp="1"/>
          </p:cNvSpPr>
          <p:nvPr>
            <p:ph type="dt" sz="half" idx="17"/>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E7BCB0BB-CEFF-49CB-9BCD-51A1DBD55DA7}"/>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
        <p:nvSpPr>
          <p:cNvPr id="8" name="Grafik 4">
            <a:extLst>
              <a:ext uri="{FF2B5EF4-FFF2-40B4-BE49-F238E27FC236}">
                <a16:creationId xmlns:a16="http://schemas.microsoft.com/office/drawing/2014/main" id="{2CC68906-6C8E-4ADF-B7D1-38BB5941666C}"/>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4275945401"/>
      </p:ext>
    </p:extLst>
  </p:cSld>
  <p:clrMapOvr>
    <a:masterClrMapping/>
  </p:clrMapOvr>
  <p:hf hdr="0"/>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Kernaussage rechts und Inhalt grau" preserve="1" userDrawn="1">
  <p:cSld name="Kernaussage rechts und Inhalt gra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7656017" y="-429"/>
            <a:ext cx="453598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338438" y="1916113"/>
            <a:ext cx="4537075" cy="4033837"/>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hasCustomPrompt="1"/>
          </p:nvPr>
        </p:nvSpPr>
        <p:spPr>
          <a:xfrm>
            <a:off x="7990981" y="1916113"/>
            <a:ext cx="3577132" cy="4024312"/>
          </a:xfrm>
        </p:spPr>
        <p:txBody>
          <a:bodyPr/>
          <a:lstStyle>
            <a:lvl1pPr marL="0" indent="0">
              <a:lnSpc>
                <a:spcPct val="100000"/>
              </a:lnSpc>
              <a:buNone/>
              <a:defRPr sz="2000"/>
            </a:lvl1pPr>
          </a:lstStyle>
          <a:p>
            <a:pPr lvl="0"/>
            <a:r>
              <a:rPr lang="en-US" dirty="0" err="1"/>
              <a:t>Kernaussage</a:t>
            </a:r>
            <a:endParaRPr lang="en-US" dirty="0"/>
          </a:p>
        </p:txBody>
      </p:sp>
      <p:sp>
        <p:nvSpPr>
          <p:cNvPr id="3" name="Foliennummernplatzhalter 2">
            <a:extLst>
              <a:ext uri="{FF2B5EF4-FFF2-40B4-BE49-F238E27FC236}">
                <a16:creationId xmlns:a16="http://schemas.microsoft.com/office/drawing/2014/main" id="{4EA9F361-8320-4CCC-98C5-582771866EB1}"/>
              </a:ext>
            </a:extLst>
          </p:cNvPr>
          <p:cNvSpPr>
            <a:spLocks noGrp="1"/>
          </p:cNvSpPr>
          <p:nvPr>
            <p:ph type="sldNum" sz="quarter" idx="16"/>
          </p:nvPr>
        </p:nvSpPr>
        <p:spPr/>
        <p:txBody>
          <a:bodyPr/>
          <a:lstStyle>
            <a:lvl1pPr>
              <a:defRPr>
                <a:solidFill>
                  <a:srgbClr val="000000"/>
                </a:solidFill>
              </a:defRPr>
            </a:lvl1pPr>
          </a:lstStyle>
          <a:p>
            <a:fld id="{802A29AA-7C49-4985-9C58-85937318DDD1}" type="slidenum">
              <a:rPr lang="en-US" smtClean="0"/>
              <a:pPr/>
              <a:t>‹Nr.›</a:t>
            </a:fld>
            <a:endParaRPr lang="en-US" dirty="0"/>
          </a:p>
        </p:txBody>
      </p:sp>
      <p:sp>
        <p:nvSpPr>
          <p:cNvPr id="5" name="Datumsplatzhalter 4">
            <a:extLst>
              <a:ext uri="{FF2B5EF4-FFF2-40B4-BE49-F238E27FC236}">
                <a16:creationId xmlns:a16="http://schemas.microsoft.com/office/drawing/2014/main" id="{BC5177EF-F5BB-4140-8352-EBA0E50C5B8D}"/>
              </a:ext>
            </a:extLst>
          </p:cNvPr>
          <p:cNvSpPr>
            <a:spLocks noGrp="1"/>
          </p:cNvSpPr>
          <p:nvPr>
            <p:ph type="dt" sz="half" idx="17"/>
          </p:nvPr>
        </p:nvSpPr>
        <p:spPr>
          <a:xfrm>
            <a:off x="335538" y="6487478"/>
            <a:ext cx="2880320" cy="133264"/>
          </a:xfrm>
        </p:spPr>
        <p:txBody>
          <a:bodyPr/>
          <a:lstStyle>
            <a:lvl1pPr>
              <a:defRPr>
                <a:solidFill>
                  <a:srgbClr val="969696"/>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9A451181-CC22-481F-8BFA-5FC6BC4BAFCD}"/>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
        <p:nvSpPr>
          <p:cNvPr id="8" name="Grafik 4">
            <a:extLst>
              <a:ext uri="{FF2B5EF4-FFF2-40B4-BE49-F238E27FC236}">
                <a16:creationId xmlns:a16="http://schemas.microsoft.com/office/drawing/2014/main" id="{DA62A477-D96A-4F3B-8A6B-797BEAE4A53F}"/>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592197543"/>
      </p:ext>
    </p:extLst>
  </p:cSld>
  <p:clrMapOvr>
    <a:masterClrMapping/>
  </p:clrMapOvr>
  <p:hf hdr="0"/>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Marginalspalte links und zwei Inhalte akzentuiert" preserve="1" userDrawn="1">
  <p:cSld name="Marginalspalte links und zwei Inhalte akzentuier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352782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p:nvPr>
        </p:nvSpPr>
        <p:spPr>
          <a:xfrm>
            <a:off x="334963" y="1916113"/>
            <a:ext cx="2879725" cy="4024312"/>
          </a:xfrm>
        </p:spPr>
        <p:txBody>
          <a:bodyPr/>
          <a:lstStyle>
            <a:lvl1pPr marL="0" indent="0">
              <a:lnSpc>
                <a:spcPct val="122000"/>
              </a:lnSpc>
              <a:buNone/>
              <a:defRPr sz="1400"/>
            </a:lvl1pPr>
          </a:lstStyle>
          <a:p>
            <a:pPr lvl="0"/>
            <a:r>
              <a:rPr lang="en-US" dirty="0" err="1"/>
              <a:t>Mastertextformat</a:t>
            </a:r>
            <a:r>
              <a:rPr lang="en-US" dirty="0"/>
              <a:t> </a:t>
            </a:r>
            <a:r>
              <a:rPr lang="en-US" dirty="0" err="1"/>
              <a:t>bearbeiten</a:t>
            </a:r>
            <a:endParaRPr lang="en-US" dirty="0"/>
          </a:p>
        </p:txBody>
      </p:sp>
      <p:sp>
        <p:nvSpPr>
          <p:cNvPr id="3" name="Foliennummernplatzhalter 2">
            <a:extLst>
              <a:ext uri="{FF2B5EF4-FFF2-40B4-BE49-F238E27FC236}">
                <a16:creationId xmlns:a16="http://schemas.microsoft.com/office/drawing/2014/main" id="{80A1C3BF-2D20-4DC1-9D66-2A4981C05A2C}"/>
              </a:ext>
            </a:extLst>
          </p:cNvPr>
          <p:cNvSpPr>
            <a:spLocks noGrp="1"/>
          </p:cNvSpPr>
          <p:nvPr>
            <p:ph type="sldNum" sz="quarter" idx="16"/>
          </p:nvPr>
        </p:nvSpPr>
        <p:spPr/>
        <p:txBody>
          <a:bodyPr/>
          <a:lstStyle/>
          <a:p>
            <a:fld id="{37B30E7C-8C89-4234-B44C-4BF60A8BC084}" type="slidenum">
              <a:rPr lang="en-US" smtClean="0"/>
              <a:pPr/>
              <a:t>‹Nr.›</a:t>
            </a:fld>
            <a:endParaRPr lang="en-US" dirty="0"/>
          </a:p>
        </p:txBody>
      </p:sp>
      <p:sp>
        <p:nvSpPr>
          <p:cNvPr id="4" name="Datumsplatzhalter 3">
            <a:extLst>
              <a:ext uri="{FF2B5EF4-FFF2-40B4-BE49-F238E27FC236}">
                <a16:creationId xmlns:a16="http://schemas.microsoft.com/office/drawing/2014/main" id="{1D185D40-F01A-41B0-9606-F0CF14E175CC}"/>
              </a:ext>
            </a:extLst>
          </p:cNvPr>
          <p:cNvSpPr>
            <a:spLocks noGrp="1"/>
          </p:cNvSpPr>
          <p:nvPr>
            <p:ph type="dt" sz="half" idx="17"/>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8" name="Textplatzhalter 7">
            <a:extLst>
              <a:ext uri="{FF2B5EF4-FFF2-40B4-BE49-F238E27FC236}">
                <a16:creationId xmlns:a16="http://schemas.microsoft.com/office/drawing/2014/main" id="{65D0DDEB-39F2-49FE-8F03-3B4FB332DDBC}"/>
              </a:ext>
            </a:extLst>
          </p:cNvPr>
          <p:cNvSpPr>
            <a:spLocks noGrp="1"/>
          </p:cNvSpPr>
          <p:nvPr>
            <p:ph type="body" sz="quarter" idx="21" hasCustomPrompt="1"/>
          </p:nvPr>
        </p:nvSpPr>
        <p:spPr>
          <a:xfrm>
            <a:off x="4150800" y="1125111"/>
            <a:ext cx="3600450" cy="790574"/>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Stichwort</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18" name="Textplatzhalter 7">
            <a:extLst>
              <a:ext uri="{FF2B5EF4-FFF2-40B4-BE49-F238E27FC236}">
                <a16:creationId xmlns:a16="http://schemas.microsoft.com/office/drawing/2014/main" id="{C59E763B-C81E-4C99-A6E8-DCAB5C0D2980}"/>
              </a:ext>
            </a:extLst>
          </p:cNvPr>
          <p:cNvSpPr>
            <a:spLocks noGrp="1"/>
          </p:cNvSpPr>
          <p:nvPr>
            <p:ph type="body" sz="quarter" idx="22" hasCustomPrompt="1"/>
          </p:nvPr>
        </p:nvSpPr>
        <p:spPr>
          <a:xfrm>
            <a:off x="7967661" y="1125111"/>
            <a:ext cx="3600451" cy="791002"/>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Stichwort</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20" name="Textplatzhalter 19">
            <a:extLst>
              <a:ext uri="{FF2B5EF4-FFF2-40B4-BE49-F238E27FC236}">
                <a16:creationId xmlns:a16="http://schemas.microsoft.com/office/drawing/2014/main" id="{E03F45DF-C4B3-451A-8614-C5FC68CC38BA}"/>
              </a:ext>
            </a:extLst>
          </p:cNvPr>
          <p:cNvSpPr>
            <a:spLocks noGrp="1"/>
          </p:cNvSpPr>
          <p:nvPr>
            <p:ph type="body" sz="quarter" idx="23" hasCustomPrompt="1"/>
          </p:nvPr>
        </p:nvSpPr>
        <p:spPr>
          <a:xfrm>
            <a:off x="4150800" y="5300663"/>
            <a:ext cx="5545137" cy="649287"/>
          </a:xfrm>
        </p:spPr>
        <p:txBody>
          <a:bodyPr bIns="108000" anchor="b" anchorCtr="0"/>
          <a:lstStyle>
            <a:lvl1pPr marL="0" indent="0">
              <a:lnSpc>
                <a:spcPct val="122000"/>
              </a:lnSpc>
              <a:spcBef>
                <a:spcPts val="0"/>
              </a:spcBef>
              <a:buFont typeface="Arial" panose="020B0604020202020204" pitchFamily="34" charset="0"/>
              <a:buNone/>
              <a:defRPr sz="1400">
                <a:solidFill>
                  <a:schemeClr val="tx2"/>
                </a:solidFill>
              </a:defRPr>
            </a:lvl1pPr>
            <a:lvl2pPr marL="230400" indent="0">
              <a:buFont typeface="Arial" panose="020B0604020202020204" pitchFamily="34" charset="0"/>
              <a:buNone/>
              <a:defRPr sz="1400">
                <a:solidFill>
                  <a:schemeClr val="tx2"/>
                </a:solidFill>
              </a:defRPr>
            </a:lvl2pPr>
            <a:lvl3pPr marL="462600" indent="0">
              <a:buFont typeface="Arial" panose="020B0604020202020204" pitchFamily="34" charset="0"/>
              <a:buNone/>
              <a:defRPr sz="1400">
                <a:solidFill>
                  <a:schemeClr val="tx2"/>
                </a:solidFill>
              </a:defRPr>
            </a:lvl3pPr>
            <a:lvl4pPr marL="693000" indent="0">
              <a:buFont typeface="Arial" panose="020B0604020202020204" pitchFamily="34" charset="0"/>
              <a:buNone/>
              <a:defRPr sz="1400">
                <a:solidFill>
                  <a:schemeClr val="tx2"/>
                </a:solidFill>
              </a:defRPr>
            </a:lvl4pPr>
            <a:lvl5pPr marL="923400" indent="0">
              <a:buFont typeface="Arial" panose="020B0604020202020204" pitchFamily="34" charset="0"/>
              <a:buNone/>
              <a:defRPr sz="1400">
                <a:solidFill>
                  <a:schemeClr val="tx2"/>
                </a:solidFill>
              </a:defRPr>
            </a:lvl5pPr>
          </a:lstStyle>
          <a:p>
            <a:pPr lvl="0"/>
            <a:r>
              <a:rPr lang="en-US" dirty="0" err="1"/>
              <a:t>Hinweis</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33" name="Content Placeholder 3">
            <a:extLst>
              <a:ext uri="{FF2B5EF4-FFF2-40B4-BE49-F238E27FC236}">
                <a16:creationId xmlns:a16="http://schemas.microsoft.com/office/drawing/2014/main" id="{8E677199-AAF8-435C-9D56-16D28EA0B9F6}"/>
              </a:ext>
            </a:extLst>
          </p:cNvPr>
          <p:cNvSpPr>
            <a:spLocks noGrp="1"/>
          </p:cNvSpPr>
          <p:nvPr>
            <p:ph sz="half" idx="2"/>
          </p:nvPr>
        </p:nvSpPr>
        <p:spPr>
          <a:xfrm>
            <a:off x="4150800" y="1916113"/>
            <a:ext cx="3600053" cy="331308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34" name="Content Placeholder 3">
            <a:extLst>
              <a:ext uri="{FF2B5EF4-FFF2-40B4-BE49-F238E27FC236}">
                <a16:creationId xmlns:a16="http://schemas.microsoft.com/office/drawing/2014/main" id="{9D02C2C8-2A5A-4003-8795-0D6B3A6514B8}"/>
              </a:ext>
            </a:extLst>
          </p:cNvPr>
          <p:cNvSpPr>
            <a:spLocks noGrp="1"/>
          </p:cNvSpPr>
          <p:nvPr>
            <p:ph sz="half" idx="24"/>
          </p:nvPr>
        </p:nvSpPr>
        <p:spPr>
          <a:xfrm>
            <a:off x="7968060" y="1915685"/>
            <a:ext cx="3600053" cy="331308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6" name="TextBox 5">
            <a:extLst>
              <a:ext uri="{FF2B5EF4-FFF2-40B4-BE49-F238E27FC236}">
                <a16:creationId xmlns:a16="http://schemas.microsoft.com/office/drawing/2014/main" id="{9238747E-2439-44A0-BB3B-68A6BFBEE965}"/>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1682393095"/>
      </p:ext>
    </p:extLst>
  </p:cSld>
  <p:clrMapOvr>
    <a:masterClrMapping/>
  </p:clrMapOvr>
  <p:hf hdr="0"/>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Marginalspalte links und zwei Inhalte grau" preserve="1" userDrawn="1">
  <p:cSld name="Marginalspalte links und zwei Inhalte gra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352782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p:nvPr>
        </p:nvSpPr>
        <p:spPr>
          <a:xfrm>
            <a:off x="334963" y="1916113"/>
            <a:ext cx="2879725" cy="4024312"/>
          </a:xfrm>
        </p:spPr>
        <p:txBody>
          <a:bodyPr/>
          <a:lstStyle>
            <a:lvl1pPr marL="0" indent="0">
              <a:lnSpc>
                <a:spcPct val="122000"/>
              </a:lnSpc>
              <a:buNone/>
              <a:defRPr sz="1400"/>
            </a:lvl1pPr>
          </a:lstStyle>
          <a:p>
            <a:pPr lvl="0"/>
            <a:r>
              <a:rPr lang="en-US" dirty="0" err="1"/>
              <a:t>Mastertextformat</a:t>
            </a:r>
            <a:r>
              <a:rPr lang="en-US" dirty="0"/>
              <a:t> </a:t>
            </a:r>
            <a:r>
              <a:rPr lang="en-US" dirty="0" err="1"/>
              <a:t>bearbeiten</a:t>
            </a:r>
            <a:endParaRPr lang="en-US" dirty="0"/>
          </a:p>
        </p:txBody>
      </p:sp>
      <p:sp>
        <p:nvSpPr>
          <p:cNvPr id="3" name="Foliennummernplatzhalter 2">
            <a:extLst>
              <a:ext uri="{FF2B5EF4-FFF2-40B4-BE49-F238E27FC236}">
                <a16:creationId xmlns:a16="http://schemas.microsoft.com/office/drawing/2014/main" id="{80A1C3BF-2D20-4DC1-9D66-2A4981C05A2C}"/>
              </a:ext>
            </a:extLst>
          </p:cNvPr>
          <p:cNvSpPr>
            <a:spLocks noGrp="1"/>
          </p:cNvSpPr>
          <p:nvPr>
            <p:ph type="sldNum" sz="quarter" idx="16"/>
          </p:nvPr>
        </p:nvSpPr>
        <p:spPr/>
        <p:txBody>
          <a:bodyPr/>
          <a:lstStyle/>
          <a:p>
            <a:fld id="{A4A6BF34-B047-4965-BF64-F12FC9737338}" type="slidenum">
              <a:rPr lang="en-US" smtClean="0"/>
              <a:pPr/>
              <a:t>‹Nr.›</a:t>
            </a:fld>
            <a:endParaRPr lang="en-US" dirty="0"/>
          </a:p>
        </p:txBody>
      </p:sp>
      <p:sp>
        <p:nvSpPr>
          <p:cNvPr id="4" name="Datumsplatzhalter 3">
            <a:extLst>
              <a:ext uri="{FF2B5EF4-FFF2-40B4-BE49-F238E27FC236}">
                <a16:creationId xmlns:a16="http://schemas.microsoft.com/office/drawing/2014/main" id="{1D185D40-F01A-41B0-9606-F0CF14E175CC}"/>
              </a:ext>
            </a:extLst>
          </p:cNvPr>
          <p:cNvSpPr>
            <a:spLocks noGrp="1"/>
          </p:cNvSpPr>
          <p:nvPr>
            <p:ph type="dt" sz="half" idx="17"/>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8" name="Textplatzhalter 7">
            <a:extLst>
              <a:ext uri="{FF2B5EF4-FFF2-40B4-BE49-F238E27FC236}">
                <a16:creationId xmlns:a16="http://schemas.microsoft.com/office/drawing/2014/main" id="{65D0DDEB-39F2-49FE-8F03-3B4FB332DDBC}"/>
              </a:ext>
            </a:extLst>
          </p:cNvPr>
          <p:cNvSpPr>
            <a:spLocks noGrp="1"/>
          </p:cNvSpPr>
          <p:nvPr>
            <p:ph type="body" sz="quarter" idx="21" hasCustomPrompt="1"/>
          </p:nvPr>
        </p:nvSpPr>
        <p:spPr>
          <a:xfrm>
            <a:off x="4150800" y="1125111"/>
            <a:ext cx="3600450" cy="790574"/>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Stichwort</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18" name="Textplatzhalter 7">
            <a:extLst>
              <a:ext uri="{FF2B5EF4-FFF2-40B4-BE49-F238E27FC236}">
                <a16:creationId xmlns:a16="http://schemas.microsoft.com/office/drawing/2014/main" id="{C59E763B-C81E-4C99-A6E8-DCAB5C0D2980}"/>
              </a:ext>
            </a:extLst>
          </p:cNvPr>
          <p:cNvSpPr>
            <a:spLocks noGrp="1"/>
          </p:cNvSpPr>
          <p:nvPr>
            <p:ph type="body" sz="quarter" idx="22" hasCustomPrompt="1"/>
          </p:nvPr>
        </p:nvSpPr>
        <p:spPr>
          <a:xfrm>
            <a:off x="7967661" y="1125111"/>
            <a:ext cx="3600451" cy="791002"/>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Stichwort</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20" name="Textplatzhalter 19">
            <a:extLst>
              <a:ext uri="{FF2B5EF4-FFF2-40B4-BE49-F238E27FC236}">
                <a16:creationId xmlns:a16="http://schemas.microsoft.com/office/drawing/2014/main" id="{E03F45DF-C4B3-451A-8614-C5FC68CC38BA}"/>
              </a:ext>
            </a:extLst>
          </p:cNvPr>
          <p:cNvSpPr>
            <a:spLocks noGrp="1"/>
          </p:cNvSpPr>
          <p:nvPr>
            <p:ph type="body" sz="quarter" idx="23" hasCustomPrompt="1"/>
          </p:nvPr>
        </p:nvSpPr>
        <p:spPr>
          <a:xfrm>
            <a:off x="4150800" y="5300663"/>
            <a:ext cx="5545137" cy="649287"/>
          </a:xfrm>
        </p:spPr>
        <p:txBody>
          <a:bodyPr bIns="108000" anchor="b" anchorCtr="0"/>
          <a:lstStyle>
            <a:lvl1pPr marL="0" indent="0">
              <a:lnSpc>
                <a:spcPct val="122000"/>
              </a:lnSpc>
              <a:spcBef>
                <a:spcPts val="0"/>
              </a:spcBef>
              <a:buFont typeface="Arial" panose="020B0604020202020204" pitchFamily="34" charset="0"/>
              <a:buNone/>
              <a:defRPr sz="1400">
                <a:solidFill>
                  <a:schemeClr val="tx2"/>
                </a:solidFill>
              </a:defRPr>
            </a:lvl1pPr>
            <a:lvl2pPr marL="230400" indent="0">
              <a:buFont typeface="Arial" panose="020B0604020202020204" pitchFamily="34" charset="0"/>
              <a:buNone/>
              <a:defRPr sz="1400">
                <a:solidFill>
                  <a:schemeClr val="tx2"/>
                </a:solidFill>
              </a:defRPr>
            </a:lvl2pPr>
            <a:lvl3pPr marL="462600" indent="0">
              <a:buFont typeface="Arial" panose="020B0604020202020204" pitchFamily="34" charset="0"/>
              <a:buNone/>
              <a:defRPr sz="1400">
                <a:solidFill>
                  <a:schemeClr val="tx2"/>
                </a:solidFill>
              </a:defRPr>
            </a:lvl3pPr>
            <a:lvl4pPr marL="693000" indent="0">
              <a:buFont typeface="Arial" panose="020B0604020202020204" pitchFamily="34" charset="0"/>
              <a:buNone/>
              <a:defRPr sz="1400">
                <a:solidFill>
                  <a:schemeClr val="tx2"/>
                </a:solidFill>
              </a:defRPr>
            </a:lvl4pPr>
            <a:lvl5pPr marL="923400" indent="0">
              <a:buFont typeface="Arial" panose="020B0604020202020204" pitchFamily="34" charset="0"/>
              <a:buNone/>
              <a:defRPr sz="1400">
                <a:solidFill>
                  <a:schemeClr val="tx2"/>
                </a:solidFill>
              </a:defRPr>
            </a:lvl5pPr>
          </a:lstStyle>
          <a:p>
            <a:pPr lvl="0"/>
            <a:r>
              <a:rPr lang="en-US" dirty="0" err="1"/>
              <a:t>Hinweis</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33" name="Content Placeholder 3">
            <a:extLst>
              <a:ext uri="{FF2B5EF4-FFF2-40B4-BE49-F238E27FC236}">
                <a16:creationId xmlns:a16="http://schemas.microsoft.com/office/drawing/2014/main" id="{8E677199-AAF8-435C-9D56-16D28EA0B9F6}"/>
              </a:ext>
            </a:extLst>
          </p:cNvPr>
          <p:cNvSpPr>
            <a:spLocks noGrp="1"/>
          </p:cNvSpPr>
          <p:nvPr>
            <p:ph sz="half" idx="2"/>
          </p:nvPr>
        </p:nvSpPr>
        <p:spPr>
          <a:xfrm>
            <a:off x="4150800" y="1916113"/>
            <a:ext cx="3600053" cy="331308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34" name="Content Placeholder 3">
            <a:extLst>
              <a:ext uri="{FF2B5EF4-FFF2-40B4-BE49-F238E27FC236}">
                <a16:creationId xmlns:a16="http://schemas.microsoft.com/office/drawing/2014/main" id="{9D02C2C8-2A5A-4003-8795-0D6B3A6514B8}"/>
              </a:ext>
            </a:extLst>
          </p:cNvPr>
          <p:cNvSpPr>
            <a:spLocks noGrp="1"/>
          </p:cNvSpPr>
          <p:nvPr>
            <p:ph sz="half" idx="24"/>
          </p:nvPr>
        </p:nvSpPr>
        <p:spPr>
          <a:xfrm>
            <a:off x="7968060" y="1915685"/>
            <a:ext cx="3600053" cy="331308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6" name="TextBox 5">
            <a:extLst>
              <a:ext uri="{FF2B5EF4-FFF2-40B4-BE49-F238E27FC236}">
                <a16:creationId xmlns:a16="http://schemas.microsoft.com/office/drawing/2014/main" id="{9238747E-2439-44A0-BB3B-68A6BFBEE965}"/>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2719350721"/>
      </p:ext>
    </p:extLst>
  </p:cSld>
  <p:clrMapOvr>
    <a:masterClrMapping/>
  </p:clrMapOvr>
  <p:hf hdr="0"/>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Marginalspalte und akzentuierter Inhalt" preserve="1" userDrawn="1">
  <p:cSld name="Marginalspalte und akzentuierter Inhalt">
    <p:spTree>
      <p:nvGrpSpPr>
        <p:cNvPr id="1" name=""/>
        <p:cNvGrpSpPr/>
        <p:nvPr/>
      </p:nvGrpSpPr>
      <p:grpSpPr>
        <a:xfrm>
          <a:off x="0" y="0"/>
          <a:ext cx="0" cy="0"/>
          <a:chOff x="0" y="0"/>
          <a:chExt cx="0" cy="0"/>
        </a:xfrm>
      </p:grpSpPr>
      <p:sp>
        <p:nvSpPr>
          <p:cNvPr id="14" name="Rectangle 10">
            <a:extLst>
              <a:ext uri="{FF2B5EF4-FFF2-40B4-BE49-F238E27FC236}">
                <a16:creationId xmlns:a16="http://schemas.microsoft.com/office/drawing/2014/main" id="{E1BFE506-815E-4189-BA0F-BAB584843359}"/>
              </a:ext>
            </a:extLst>
          </p:cNvPr>
          <p:cNvSpPr/>
          <p:nvPr userDrawn="1"/>
        </p:nvSpPr>
        <p:spPr>
          <a:xfrm>
            <a:off x="3527822" y="-429"/>
            <a:ext cx="866417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p:nvPr>
        </p:nvSpPr>
        <p:spPr>
          <a:xfrm>
            <a:off x="334963" y="1916113"/>
            <a:ext cx="2879725" cy="4024312"/>
          </a:xfrm>
        </p:spPr>
        <p:txBody>
          <a:bodyPr/>
          <a:lstStyle>
            <a:lvl1pPr marL="0" indent="0">
              <a:lnSpc>
                <a:spcPct val="122000"/>
              </a:lnSpc>
              <a:buNone/>
              <a:defRPr sz="1400"/>
            </a:lvl1pPr>
          </a:lstStyle>
          <a:p>
            <a:pPr lvl="0"/>
            <a:r>
              <a:rPr lang="en-US" dirty="0" err="1"/>
              <a:t>Mastertextformat</a:t>
            </a:r>
            <a:r>
              <a:rPr lang="en-US" dirty="0"/>
              <a:t> </a:t>
            </a:r>
            <a:r>
              <a:rPr lang="en-US" dirty="0" err="1"/>
              <a:t>bearbeiten</a:t>
            </a:r>
            <a:endParaRPr lang="en-US" dirty="0"/>
          </a:p>
        </p:txBody>
      </p:sp>
      <p:sp>
        <p:nvSpPr>
          <p:cNvPr id="3" name="Foliennummernplatzhalter 2">
            <a:extLst>
              <a:ext uri="{FF2B5EF4-FFF2-40B4-BE49-F238E27FC236}">
                <a16:creationId xmlns:a16="http://schemas.microsoft.com/office/drawing/2014/main" id="{80A1C3BF-2D20-4DC1-9D66-2A4981C05A2C}"/>
              </a:ext>
            </a:extLst>
          </p:cNvPr>
          <p:cNvSpPr>
            <a:spLocks noGrp="1"/>
          </p:cNvSpPr>
          <p:nvPr>
            <p:ph type="sldNum" sz="quarter" idx="16"/>
          </p:nvPr>
        </p:nvSpPr>
        <p:spPr/>
        <p:txBody>
          <a:bodyPr/>
          <a:lstStyle>
            <a:lvl1pPr>
              <a:defRPr>
                <a:solidFill>
                  <a:srgbClr val="000000"/>
                </a:solidFill>
              </a:defRPr>
            </a:lvl1pPr>
          </a:lstStyle>
          <a:p>
            <a:fld id="{26732642-FB2C-4853-889E-9B95E14D42A2}" type="slidenum">
              <a:rPr lang="en-US" smtClean="0"/>
              <a:pPr/>
              <a:t>‹Nr.›</a:t>
            </a:fld>
            <a:endParaRPr lang="en-US" dirty="0"/>
          </a:p>
        </p:txBody>
      </p:sp>
      <p:sp>
        <p:nvSpPr>
          <p:cNvPr id="4" name="Datumsplatzhalter 3">
            <a:extLst>
              <a:ext uri="{FF2B5EF4-FFF2-40B4-BE49-F238E27FC236}">
                <a16:creationId xmlns:a16="http://schemas.microsoft.com/office/drawing/2014/main" id="{1D185D40-F01A-41B0-9606-F0CF14E175CC}"/>
              </a:ext>
            </a:extLst>
          </p:cNvPr>
          <p:cNvSpPr>
            <a:spLocks noGrp="1"/>
          </p:cNvSpPr>
          <p:nvPr>
            <p:ph type="dt" sz="half" idx="17"/>
          </p:nvPr>
        </p:nvSpPr>
        <p:spPr>
          <a:xfrm>
            <a:off x="335538" y="6487478"/>
            <a:ext cx="2880320" cy="133264"/>
          </a:xfrm>
        </p:spPr>
        <p:txBody>
          <a:bodyPr/>
          <a:lstStyle>
            <a:lvl1pPr>
              <a:defRPr>
                <a:solidFill>
                  <a:srgbClr val="969696"/>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9238747E-2439-44A0-BB3B-68A6BFBEE965}"/>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
        <p:nvSpPr>
          <p:cNvPr id="8" name="Grafik 4">
            <a:extLst>
              <a:ext uri="{FF2B5EF4-FFF2-40B4-BE49-F238E27FC236}">
                <a16:creationId xmlns:a16="http://schemas.microsoft.com/office/drawing/2014/main" id="{B7D49E72-DAAC-4245-A33D-5E327B65CA18}"/>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2784882329"/>
      </p:ext>
    </p:extLst>
  </p:cSld>
  <p:clrMapOvr>
    <a:masterClrMapping/>
  </p:clrMapOvr>
  <p:hf hdr="0"/>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Marginalspalte rechts und zwei Inhalte akzentuiert" preserve="1" userDrawn="1">
  <p:cSld name="Marginalspalte rechts und zwei Inhalte akzentuiert">
    <p:spTree>
      <p:nvGrpSpPr>
        <p:cNvPr id="1" name=""/>
        <p:cNvGrpSpPr/>
        <p:nvPr/>
      </p:nvGrpSpPr>
      <p:grpSpPr>
        <a:xfrm>
          <a:off x="0" y="0"/>
          <a:ext cx="0" cy="0"/>
          <a:chOff x="0" y="0"/>
          <a:chExt cx="0" cy="0"/>
        </a:xfrm>
      </p:grpSpPr>
      <p:sp>
        <p:nvSpPr>
          <p:cNvPr id="14" name="Rectangle 10">
            <a:extLst>
              <a:ext uri="{FF2B5EF4-FFF2-40B4-BE49-F238E27FC236}">
                <a16:creationId xmlns:a16="http://schemas.microsoft.com/office/drawing/2014/main" id="{484258D9-55FF-45CF-B01A-E81D9CC7D2BA}"/>
              </a:ext>
            </a:extLst>
          </p:cNvPr>
          <p:cNvSpPr/>
          <p:nvPr userDrawn="1"/>
        </p:nvSpPr>
        <p:spPr>
          <a:xfrm>
            <a:off x="8400257" y="-429"/>
            <a:ext cx="378912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itle 1">
            <a:extLst>
              <a:ext uri="{FF2B5EF4-FFF2-40B4-BE49-F238E27FC236}">
                <a16:creationId xmlns:a16="http://schemas.microsoft.com/office/drawing/2014/main" id="{9971AAFF-580F-4852-94F4-C6F21B6C563D}"/>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21" name="Subtitle 2">
            <a:extLst>
              <a:ext uri="{FF2B5EF4-FFF2-40B4-BE49-F238E27FC236}">
                <a16:creationId xmlns:a16="http://schemas.microsoft.com/office/drawing/2014/main" id="{4FAB923C-AA0B-4DA0-8F18-132D60F62669}"/>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22" name="Foliennummernplatzhalter 2">
            <a:extLst>
              <a:ext uri="{FF2B5EF4-FFF2-40B4-BE49-F238E27FC236}">
                <a16:creationId xmlns:a16="http://schemas.microsoft.com/office/drawing/2014/main" id="{0255E5FC-CDCB-42FC-A077-91F9146EF795}"/>
              </a:ext>
            </a:extLst>
          </p:cNvPr>
          <p:cNvSpPr>
            <a:spLocks noGrp="1"/>
          </p:cNvSpPr>
          <p:nvPr>
            <p:ph type="sldNum" sz="quarter" idx="16"/>
          </p:nvPr>
        </p:nvSpPr>
        <p:spPr>
          <a:xfrm>
            <a:off x="11424592" y="6453336"/>
            <a:ext cx="438944" cy="180000"/>
          </a:xfrm>
        </p:spPr>
        <p:txBody>
          <a:bodyPr/>
          <a:lstStyle>
            <a:lvl1pPr>
              <a:defRPr>
                <a:solidFill>
                  <a:schemeClr val="tx1"/>
                </a:solidFill>
              </a:defRPr>
            </a:lvl1pPr>
          </a:lstStyle>
          <a:p>
            <a:fld id="{2DCD8B69-9FFE-4154-BAED-4F5B910FFC4A}" type="slidenum">
              <a:rPr lang="en-US" smtClean="0"/>
              <a:pPr/>
              <a:t>‹Nr.›</a:t>
            </a:fld>
            <a:endParaRPr lang="en-US" dirty="0"/>
          </a:p>
        </p:txBody>
      </p:sp>
      <p:sp>
        <p:nvSpPr>
          <p:cNvPr id="23" name="Datumsplatzhalter 3">
            <a:extLst>
              <a:ext uri="{FF2B5EF4-FFF2-40B4-BE49-F238E27FC236}">
                <a16:creationId xmlns:a16="http://schemas.microsoft.com/office/drawing/2014/main" id="{500921E9-9945-4F06-9221-D41452485AA6}"/>
              </a:ext>
            </a:extLst>
          </p:cNvPr>
          <p:cNvSpPr>
            <a:spLocks noGrp="1"/>
          </p:cNvSpPr>
          <p:nvPr>
            <p:ph type="dt" sz="half" idx="17"/>
          </p:nvPr>
        </p:nvSpPr>
        <p:spPr>
          <a:xfrm>
            <a:off x="335538" y="6487478"/>
            <a:ext cx="2880320" cy="133264"/>
          </a:xfrm>
        </p:spPr>
        <p:txBody>
          <a:bodyPr/>
          <a:lstStyle>
            <a:lvl1pPr>
              <a:defRPr>
                <a:solidFill>
                  <a:srgbClr val="969696"/>
                </a:solidFill>
              </a:defRPr>
            </a:lvl1pPr>
          </a:lstStyle>
          <a:p>
            <a:r>
              <a:rPr lang="en-US"/>
              <a:t>September 15-16, 2022</a:t>
            </a:r>
            <a:endParaRPr lang="en-US" dirty="0"/>
          </a:p>
        </p:txBody>
      </p:sp>
      <p:sp>
        <p:nvSpPr>
          <p:cNvPr id="25" name="Textplatzhalter 7">
            <a:extLst>
              <a:ext uri="{FF2B5EF4-FFF2-40B4-BE49-F238E27FC236}">
                <a16:creationId xmlns:a16="http://schemas.microsoft.com/office/drawing/2014/main" id="{231F27FF-B9B3-4E34-948F-F5E3BE15B723}"/>
              </a:ext>
            </a:extLst>
          </p:cNvPr>
          <p:cNvSpPr>
            <a:spLocks noGrp="1"/>
          </p:cNvSpPr>
          <p:nvPr>
            <p:ph type="body" sz="quarter" idx="21" hasCustomPrompt="1"/>
          </p:nvPr>
        </p:nvSpPr>
        <p:spPr>
          <a:xfrm>
            <a:off x="341097" y="1125537"/>
            <a:ext cx="3600000" cy="790147"/>
          </a:xfrm>
        </p:spPr>
        <p:txBody>
          <a:bodyPr lIns="0" bIns="72000" anchor="b" anchorCtr="0"/>
          <a:lstStyle>
            <a:lvl1pPr marL="0" indent="0">
              <a:lnSpc>
                <a:spcPct val="100000"/>
              </a:lnSpc>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Stichwort</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26" name="Textplatzhalter 7">
            <a:extLst>
              <a:ext uri="{FF2B5EF4-FFF2-40B4-BE49-F238E27FC236}">
                <a16:creationId xmlns:a16="http://schemas.microsoft.com/office/drawing/2014/main" id="{74E50DE5-73A6-41B4-B2C3-EA330A62B21F}"/>
              </a:ext>
            </a:extLst>
          </p:cNvPr>
          <p:cNvSpPr>
            <a:spLocks noGrp="1"/>
          </p:cNvSpPr>
          <p:nvPr>
            <p:ph type="body" sz="quarter" idx="22" hasCustomPrompt="1"/>
          </p:nvPr>
        </p:nvSpPr>
        <p:spPr>
          <a:xfrm>
            <a:off x="4150800" y="1125537"/>
            <a:ext cx="3600451" cy="790575"/>
          </a:xfrm>
        </p:spPr>
        <p:txBody>
          <a:bodyPr lIns="0" bIns="72000" anchor="b" anchorCtr="0"/>
          <a:lstStyle>
            <a:lvl1pPr marL="0" indent="0">
              <a:lnSpc>
                <a:spcPct val="100000"/>
              </a:lnSpc>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Stichwort</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36" name="Content Placeholder 3">
            <a:extLst>
              <a:ext uri="{FF2B5EF4-FFF2-40B4-BE49-F238E27FC236}">
                <a16:creationId xmlns:a16="http://schemas.microsoft.com/office/drawing/2014/main" id="{5648C80F-26F4-4FBB-AB7D-6DBB8A431847}"/>
              </a:ext>
            </a:extLst>
          </p:cNvPr>
          <p:cNvSpPr>
            <a:spLocks noGrp="1"/>
          </p:cNvSpPr>
          <p:nvPr>
            <p:ph sz="half" idx="2"/>
          </p:nvPr>
        </p:nvSpPr>
        <p:spPr>
          <a:xfrm>
            <a:off x="341097" y="1916113"/>
            <a:ext cx="3600053" cy="331308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37" name="Content Placeholder 3">
            <a:extLst>
              <a:ext uri="{FF2B5EF4-FFF2-40B4-BE49-F238E27FC236}">
                <a16:creationId xmlns:a16="http://schemas.microsoft.com/office/drawing/2014/main" id="{EAF0B13A-1C46-48F0-B55A-7DCF74176BA7}"/>
              </a:ext>
            </a:extLst>
          </p:cNvPr>
          <p:cNvSpPr>
            <a:spLocks noGrp="1"/>
          </p:cNvSpPr>
          <p:nvPr>
            <p:ph sz="half" idx="24"/>
          </p:nvPr>
        </p:nvSpPr>
        <p:spPr>
          <a:xfrm>
            <a:off x="4150800" y="1915685"/>
            <a:ext cx="3600053" cy="331308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0" name="Content Placeholder 3">
            <a:extLst>
              <a:ext uri="{FF2B5EF4-FFF2-40B4-BE49-F238E27FC236}">
                <a16:creationId xmlns:a16="http://schemas.microsoft.com/office/drawing/2014/main" id="{C4A1A7D4-16FA-46F1-9765-D7671E5DD520}"/>
              </a:ext>
            </a:extLst>
          </p:cNvPr>
          <p:cNvSpPr>
            <a:spLocks noGrp="1"/>
          </p:cNvSpPr>
          <p:nvPr>
            <p:ph sz="half" idx="25"/>
          </p:nvPr>
        </p:nvSpPr>
        <p:spPr>
          <a:xfrm>
            <a:off x="8976320" y="1916113"/>
            <a:ext cx="2591793" cy="402391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3" name="TextBox 2">
            <a:extLst>
              <a:ext uri="{FF2B5EF4-FFF2-40B4-BE49-F238E27FC236}">
                <a16:creationId xmlns:a16="http://schemas.microsoft.com/office/drawing/2014/main" id="{F2B37389-47A3-481A-A44E-01067CACD20D}"/>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
        <p:nvSpPr>
          <p:cNvPr id="15" name="Textplatzhalter 19">
            <a:extLst>
              <a:ext uri="{FF2B5EF4-FFF2-40B4-BE49-F238E27FC236}">
                <a16:creationId xmlns:a16="http://schemas.microsoft.com/office/drawing/2014/main" id="{85C33027-67E7-484C-80E8-4FAAC8AFC251}"/>
              </a:ext>
            </a:extLst>
          </p:cNvPr>
          <p:cNvSpPr>
            <a:spLocks noGrp="1"/>
          </p:cNvSpPr>
          <p:nvPr>
            <p:ph type="body" sz="quarter" idx="23" hasCustomPrompt="1"/>
          </p:nvPr>
        </p:nvSpPr>
        <p:spPr>
          <a:xfrm>
            <a:off x="334962" y="5300663"/>
            <a:ext cx="5545137" cy="649287"/>
          </a:xfrm>
        </p:spPr>
        <p:txBody>
          <a:bodyPr bIns="108000" anchor="b" anchorCtr="0"/>
          <a:lstStyle>
            <a:lvl1pPr marL="0" indent="0">
              <a:lnSpc>
                <a:spcPct val="122000"/>
              </a:lnSpc>
              <a:spcBef>
                <a:spcPts val="0"/>
              </a:spcBef>
              <a:buFont typeface="Arial" panose="020B0604020202020204" pitchFamily="34" charset="0"/>
              <a:buNone/>
              <a:defRPr sz="1400">
                <a:solidFill>
                  <a:schemeClr val="tx2"/>
                </a:solidFill>
              </a:defRPr>
            </a:lvl1pPr>
            <a:lvl2pPr marL="230400" indent="0">
              <a:buFont typeface="Arial" panose="020B0604020202020204" pitchFamily="34" charset="0"/>
              <a:buNone/>
              <a:defRPr sz="1400">
                <a:solidFill>
                  <a:schemeClr val="tx2"/>
                </a:solidFill>
              </a:defRPr>
            </a:lvl2pPr>
            <a:lvl3pPr marL="462600" indent="0">
              <a:buFont typeface="Arial" panose="020B0604020202020204" pitchFamily="34" charset="0"/>
              <a:buNone/>
              <a:defRPr sz="1400">
                <a:solidFill>
                  <a:schemeClr val="tx2"/>
                </a:solidFill>
              </a:defRPr>
            </a:lvl3pPr>
            <a:lvl4pPr marL="693000" indent="0">
              <a:buFont typeface="Arial" panose="020B0604020202020204" pitchFamily="34" charset="0"/>
              <a:buNone/>
              <a:defRPr sz="1400">
                <a:solidFill>
                  <a:schemeClr val="tx2"/>
                </a:solidFill>
              </a:defRPr>
            </a:lvl4pPr>
            <a:lvl5pPr marL="923400" indent="0">
              <a:buFont typeface="Arial" panose="020B0604020202020204" pitchFamily="34" charset="0"/>
              <a:buNone/>
              <a:defRPr sz="1400">
                <a:solidFill>
                  <a:schemeClr val="tx2"/>
                </a:solidFill>
              </a:defRPr>
            </a:lvl5pPr>
          </a:lstStyle>
          <a:p>
            <a:pPr lvl="0"/>
            <a:r>
              <a:rPr lang="en-US" dirty="0" err="1"/>
              <a:t>Hinweis</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2" name="Grafik 4">
            <a:extLst>
              <a:ext uri="{FF2B5EF4-FFF2-40B4-BE49-F238E27FC236}">
                <a16:creationId xmlns:a16="http://schemas.microsoft.com/office/drawing/2014/main" id="{6E09055A-4C84-4428-B45F-F4986CFB91EF}"/>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2583528776"/>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0B93BF-1DE7-4807-91F4-14194AE7E67E}"/>
              </a:ext>
            </a:extLst>
          </p:cNvPr>
          <p:cNvSpPr>
            <a:spLocks noGrp="1"/>
          </p:cNvSpPr>
          <p:nvPr>
            <p:ph type="title" hasCustomPrompt="1"/>
            <p:custDataLst>
              <p:tags r:id="rId1"/>
            </p:custDataLst>
          </p:nvPr>
        </p:nvSpPr>
        <p:spPr>
          <a:xfrm>
            <a:off x="461640" y="488272"/>
            <a:ext cx="11265763" cy="417250"/>
          </a:xfrm>
          <a:prstGeom prst="rect">
            <a:avLst/>
          </a:prstGeom>
        </p:spPr>
        <p:txBody>
          <a:bodyPr/>
          <a:lstStyle/>
          <a:p>
            <a:r>
              <a:rPr lang="en-GB" dirty="0" err="1"/>
              <a:t>Mastertitelformat</a:t>
            </a:r>
            <a:r>
              <a:rPr lang="en-GB" dirty="0"/>
              <a:t> </a:t>
            </a:r>
            <a:r>
              <a:rPr lang="en-GB" dirty="0" err="1"/>
              <a:t>bearbeiten</a:t>
            </a:r>
            <a:endParaRPr lang="en-GB" dirty="0"/>
          </a:p>
        </p:txBody>
      </p:sp>
    </p:spTree>
    <p:extLst>
      <p:ext uri="{BB962C8B-B14F-4D97-AF65-F5344CB8AC3E}">
        <p14:creationId xmlns:p14="http://schemas.microsoft.com/office/powerpoint/2010/main" val="28977761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Marginalspalte rechts und zwei Inhalte grau" preserve="1" userDrawn="1">
  <p:cSld name="Marginalspalte rechts und zwei Inhalte grau">
    <p:spTree>
      <p:nvGrpSpPr>
        <p:cNvPr id="1" name=""/>
        <p:cNvGrpSpPr/>
        <p:nvPr/>
      </p:nvGrpSpPr>
      <p:grpSpPr>
        <a:xfrm>
          <a:off x="0" y="0"/>
          <a:ext cx="0" cy="0"/>
          <a:chOff x="0" y="0"/>
          <a:chExt cx="0" cy="0"/>
        </a:xfrm>
      </p:grpSpPr>
      <p:sp>
        <p:nvSpPr>
          <p:cNvPr id="14" name="Rectangle 10">
            <a:extLst>
              <a:ext uri="{FF2B5EF4-FFF2-40B4-BE49-F238E27FC236}">
                <a16:creationId xmlns:a16="http://schemas.microsoft.com/office/drawing/2014/main" id="{484258D9-55FF-45CF-B01A-E81D9CC7D2BA}"/>
              </a:ext>
            </a:extLst>
          </p:cNvPr>
          <p:cNvSpPr/>
          <p:nvPr userDrawn="1"/>
        </p:nvSpPr>
        <p:spPr>
          <a:xfrm>
            <a:off x="8400257" y="-429"/>
            <a:ext cx="37891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itle 1">
            <a:extLst>
              <a:ext uri="{FF2B5EF4-FFF2-40B4-BE49-F238E27FC236}">
                <a16:creationId xmlns:a16="http://schemas.microsoft.com/office/drawing/2014/main" id="{9971AAFF-580F-4852-94F4-C6F21B6C563D}"/>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21" name="Subtitle 2">
            <a:extLst>
              <a:ext uri="{FF2B5EF4-FFF2-40B4-BE49-F238E27FC236}">
                <a16:creationId xmlns:a16="http://schemas.microsoft.com/office/drawing/2014/main" id="{4FAB923C-AA0B-4DA0-8F18-132D60F62669}"/>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22" name="Foliennummernplatzhalter 2">
            <a:extLst>
              <a:ext uri="{FF2B5EF4-FFF2-40B4-BE49-F238E27FC236}">
                <a16:creationId xmlns:a16="http://schemas.microsoft.com/office/drawing/2014/main" id="{0255E5FC-CDCB-42FC-A077-91F9146EF795}"/>
              </a:ext>
            </a:extLst>
          </p:cNvPr>
          <p:cNvSpPr>
            <a:spLocks noGrp="1"/>
          </p:cNvSpPr>
          <p:nvPr>
            <p:ph type="sldNum" sz="quarter" idx="16"/>
          </p:nvPr>
        </p:nvSpPr>
        <p:spPr>
          <a:xfrm>
            <a:off x="11424592" y="6453336"/>
            <a:ext cx="438944" cy="180000"/>
          </a:xfrm>
        </p:spPr>
        <p:txBody>
          <a:bodyPr/>
          <a:lstStyle>
            <a:lvl1pPr>
              <a:defRPr>
                <a:solidFill>
                  <a:schemeClr val="tx1"/>
                </a:solidFill>
              </a:defRPr>
            </a:lvl1pPr>
          </a:lstStyle>
          <a:p>
            <a:fld id="{B03CFFEE-B5F6-43F5-BBE9-3E61082BC271}" type="slidenum">
              <a:rPr lang="en-US" smtClean="0"/>
              <a:pPr/>
              <a:t>‹Nr.›</a:t>
            </a:fld>
            <a:endParaRPr lang="en-US" dirty="0"/>
          </a:p>
        </p:txBody>
      </p:sp>
      <p:sp>
        <p:nvSpPr>
          <p:cNvPr id="23" name="Datumsplatzhalter 3">
            <a:extLst>
              <a:ext uri="{FF2B5EF4-FFF2-40B4-BE49-F238E27FC236}">
                <a16:creationId xmlns:a16="http://schemas.microsoft.com/office/drawing/2014/main" id="{500921E9-9945-4F06-9221-D41452485AA6}"/>
              </a:ext>
            </a:extLst>
          </p:cNvPr>
          <p:cNvSpPr>
            <a:spLocks noGrp="1"/>
          </p:cNvSpPr>
          <p:nvPr>
            <p:ph type="dt" sz="half" idx="17"/>
          </p:nvPr>
        </p:nvSpPr>
        <p:spPr>
          <a:xfrm>
            <a:off x="335538" y="6487478"/>
            <a:ext cx="2880320" cy="133264"/>
          </a:xfrm>
        </p:spPr>
        <p:txBody>
          <a:bodyPr/>
          <a:lstStyle>
            <a:lvl1pPr>
              <a:defRPr>
                <a:solidFill>
                  <a:srgbClr val="969696"/>
                </a:solidFill>
              </a:defRPr>
            </a:lvl1pPr>
          </a:lstStyle>
          <a:p>
            <a:r>
              <a:rPr lang="en-US"/>
              <a:t>September 15-16, 2022</a:t>
            </a:r>
            <a:endParaRPr lang="en-US" dirty="0"/>
          </a:p>
        </p:txBody>
      </p:sp>
      <p:sp>
        <p:nvSpPr>
          <p:cNvPr id="25" name="Textplatzhalter 7">
            <a:extLst>
              <a:ext uri="{FF2B5EF4-FFF2-40B4-BE49-F238E27FC236}">
                <a16:creationId xmlns:a16="http://schemas.microsoft.com/office/drawing/2014/main" id="{231F27FF-B9B3-4E34-948F-F5E3BE15B723}"/>
              </a:ext>
            </a:extLst>
          </p:cNvPr>
          <p:cNvSpPr>
            <a:spLocks noGrp="1"/>
          </p:cNvSpPr>
          <p:nvPr>
            <p:ph type="body" sz="quarter" idx="21" hasCustomPrompt="1"/>
          </p:nvPr>
        </p:nvSpPr>
        <p:spPr>
          <a:xfrm>
            <a:off x="341097" y="1125537"/>
            <a:ext cx="3600000" cy="790147"/>
          </a:xfrm>
        </p:spPr>
        <p:txBody>
          <a:bodyPr lIns="0" bIns="72000" anchor="b" anchorCtr="0"/>
          <a:lstStyle>
            <a:lvl1pPr marL="0" indent="0">
              <a:lnSpc>
                <a:spcPct val="100000"/>
              </a:lnSpc>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Stichwort</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26" name="Textplatzhalter 7">
            <a:extLst>
              <a:ext uri="{FF2B5EF4-FFF2-40B4-BE49-F238E27FC236}">
                <a16:creationId xmlns:a16="http://schemas.microsoft.com/office/drawing/2014/main" id="{74E50DE5-73A6-41B4-B2C3-EA330A62B21F}"/>
              </a:ext>
            </a:extLst>
          </p:cNvPr>
          <p:cNvSpPr>
            <a:spLocks noGrp="1"/>
          </p:cNvSpPr>
          <p:nvPr>
            <p:ph type="body" sz="quarter" idx="22" hasCustomPrompt="1"/>
          </p:nvPr>
        </p:nvSpPr>
        <p:spPr>
          <a:xfrm>
            <a:off x="4150800" y="1125537"/>
            <a:ext cx="3600451" cy="790575"/>
          </a:xfrm>
        </p:spPr>
        <p:txBody>
          <a:bodyPr lIns="0" bIns="72000" anchor="b" anchorCtr="0"/>
          <a:lstStyle>
            <a:lvl1pPr marL="0" indent="0">
              <a:lnSpc>
                <a:spcPct val="100000"/>
              </a:lnSpc>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Stichwort</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36" name="Content Placeholder 3">
            <a:extLst>
              <a:ext uri="{FF2B5EF4-FFF2-40B4-BE49-F238E27FC236}">
                <a16:creationId xmlns:a16="http://schemas.microsoft.com/office/drawing/2014/main" id="{5648C80F-26F4-4FBB-AB7D-6DBB8A431847}"/>
              </a:ext>
            </a:extLst>
          </p:cNvPr>
          <p:cNvSpPr>
            <a:spLocks noGrp="1"/>
          </p:cNvSpPr>
          <p:nvPr>
            <p:ph sz="half" idx="2"/>
          </p:nvPr>
        </p:nvSpPr>
        <p:spPr>
          <a:xfrm>
            <a:off x="341097" y="1916113"/>
            <a:ext cx="3600053" cy="331308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37" name="Content Placeholder 3">
            <a:extLst>
              <a:ext uri="{FF2B5EF4-FFF2-40B4-BE49-F238E27FC236}">
                <a16:creationId xmlns:a16="http://schemas.microsoft.com/office/drawing/2014/main" id="{EAF0B13A-1C46-48F0-B55A-7DCF74176BA7}"/>
              </a:ext>
            </a:extLst>
          </p:cNvPr>
          <p:cNvSpPr>
            <a:spLocks noGrp="1"/>
          </p:cNvSpPr>
          <p:nvPr>
            <p:ph sz="half" idx="24"/>
          </p:nvPr>
        </p:nvSpPr>
        <p:spPr>
          <a:xfrm>
            <a:off x="4150800" y="1915685"/>
            <a:ext cx="3600053" cy="331308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0" name="Content Placeholder 3">
            <a:extLst>
              <a:ext uri="{FF2B5EF4-FFF2-40B4-BE49-F238E27FC236}">
                <a16:creationId xmlns:a16="http://schemas.microsoft.com/office/drawing/2014/main" id="{C4A1A7D4-16FA-46F1-9765-D7671E5DD520}"/>
              </a:ext>
            </a:extLst>
          </p:cNvPr>
          <p:cNvSpPr>
            <a:spLocks noGrp="1"/>
          </p:cNvSpPr>
          <p:nvPr>
            <p:ph sz="half" idx="25"/>
          </p:nvPr>
        </p:nvSpPr>
        <p:spPr>
          <a:xfrm>
            <a:off x="8976320" y="1916113"/>
            <a:ext cx="2591793" cy="4023917"/>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3" name="TextBox 2">
            <a:extLst>
              <a:ext uri="{FF2B5EF4-FFF2-40B4-BE49-F238E27FC236}">
                <a16:creationId xmlns:a16="http://schemas.microsoft.com/office/drawing/2014/main" id="{F2B37389-47A3-481A-A44E-01067CACD20D}"/>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
        <p:nvSpPr>
          <p:cNvPr id="15" name="Textplatzhalter 19">
            <a:extLst>
              <a:ext uri="{FF2B5EF4-FFF2-40B4-BE49-F238E27FC236}">
                <a16:creationId xmlns:a16="http://schemas.microsoft.com/office/drawing/2014/main" id="{85C33027-67E7-484C-80E8-4FAAC8AFC251}"/>
              </a:ext>
            </a:extLst>
          </p:cNvPr>
          <p:cNvSpPr>
            <a:spLocks noGrp="1"/>
          </p:cNvSpPr>
          <p:nvPr>
            <p:ph type="body" sz="quarter" idx="23" hasCustomPrompt="1"/>
          </p:nvPr>
        </p:nvSpPr>
        <p:spPr>
          <a:xfrm>
            <a:off x="334962" y="5300663"/>
            <a:ext cx="5545137" cy="649287"/>
          </a:xfrm>
        </p:spPr>
        <p:txBody>
          <a:bodyPr bIns="108000" anchor="b" anchorCtr="0"/>
          <a:lstStyle>
            <a:lvl1pPr marL="0" indent="0">
              <a:lnSpc>
                <a:spcPct val="122000"/>
              </a:lnSpc>
              <a:spcBef>
                <a:spcPts val="0"/>
              </a:spcBef>
              <a:buFont typeface="Arial" panose="020B0604020202020204" pitchFamily="34" charset="0"/>
              <a:buNone/>
              <a:defRPr sz="1400">
                <a:solidFill>
                  <a:schemeClr val="tx2"/>
                </a:solidFill>
              </a:defRPr>
            </a:lvl1pPr>
            <a:lvl2pPr marL="230400" indent="0">
              <a:buFont typeface="Arial" panose="020B0604020202020204" pitchFamily="34" charset="0"/>
              <a:buNone/>
              <a:defRPr sz="1400">
                <a:solidFill>
                  <a:schemeClr val="tx2"/>
                </a:solidFill>
              </a:defRPr>
            </a:lvl2pPr>
            <a:lvl3pPr marL="462600" indent="0">
              <a:buFont typeface="Arial" panose="020B0604020202020204" pitchFamily="34" charset="0"/>
              <a:buNone/>
              <a:defRPr sz="1400">
                <a:solidFill>
                  <a:schemeClr val="tx2"/>
                </a:solidFill>
              </a:defRPr>
            </a:lvl3pPr>
            <a:lvl4pPr marL="693000" indent="0">
              <a:buFont typeface="Arial" panose="020B0604020202020204" pitchFamily="34" charset="0"/>
              <a:buNone/>
              <a:defRPr sz="1400">
                <a:solidFill>
                  <a:schemeClr val="tx2"/>
                </a:solidFill>
              </a:defRPr>
            </a:lvl4pPr>
            <a:lvl5pPr marL="923400" indent="0">
              <a:buFont typeface="Arial" panose="020B0604020202020204" pitchFamily="34" charset="0"/>
              <a:buNone/>
              <a:defRPr sz="1400">
                <a:solidFill>
                  <a:schemeClr val="tx2"/>
                </a:solidFill>
              </a:defRPr>
            </a:lvl5pPr>
          </a:lstStyle>
          <a:p>
            <a:pPr lvl="0"/>
            <a:r>
              <a:rPr lang="en-US" dirty="0" err="1"/>
              <a:t>Hinweis</a:t>
            </a:r>
            <a:r>
              <a:rPr lang="en-US" dirty="0"/>
              <a:t> </a:t>
            </a:r>
            <a:r>
              <a:rPr lang="en-US" dirty="0" err="1"/>
              <a:t>durch</a:t>
            </a:r>
            <a:r>
              <a:rPr lang="en-US" dirty="0"/>
              <a:t> </a:t>
            </a:r>
            <a:r>
              <a:rPr lang="en-US" dirty="0" err="1"/>
              <a:t>Klicken</a:t>
            </a:r>
            <a:r>
              <a:rPr lang="en-US" dirty="0"/>
              <a:t> </a:t>
            </a:r>
            <a:r>
              <a:rPr lang="en-US" dirty="0" err="1"/>
              <a:t>einfügen</a:t>
            </a:r>
            <a:endParaRPr lang="en-US" dirty="0"/>
          </a:p>
        </p:txBody>
      </p:sp>
      <p:sp>
        <p:nvSpPr>
          <p:cNvPr id="2" name="Grafik 4">
            <a:extLst>
              <a:ext uri="{FF2B5EF4-FFF2-40B4-BE49-F238E27FC236}">
                <a16:creationId xmlns:a16="http://schemas.microsoft.com/office/drawing/2014/main" id="{72B867CC-90ED-4A07-A56A-52A42F3F20FC}"/>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3466001207"/>
      </p:ext>
    </p:extLst>
  </p:cSld>
  <p:clrMapOvr>
    <a:masterClrMapping/>
  </p:clrMapOvr>
  <p:hf hdr="0"/>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Produktfolie akzentuiert" preserve="1" userDrawn="1">
  <p:cSld name="Produktfolie akzentuier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739214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334963" y="3501008"/>
            <a:ext cx="4824412" cy="2448942"/>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p:nvPr>
        </p:nvSpPr>
        <p:spPr>
          <a:xfrm>
            <a:off x="334963" y="1125540"/>
            <a:ext cx="4824412" cy="307777"/>
          </a:xfrm>
        </p:spPr>
        <p:txBody>
          <a:bodyPr>
            <a:spAutoFit/>
          </a:bodyPr>
          <a:lstStyle>
            <a:lvl1pPr marL="0" indent="0">
              <a:lnSpc>
                <a:spcPct val="100000"/>
              </a:lnSpc>
              <a:buNone/>
              <a:defRPr sz="2000"/>
            </a:lvl1pPr>
          </a:lstStyle>
          <a:p>
            <a:pPr lvl="0"/>
            <a:r>
              <a:rPr lang="en-US" dirty="0" err="1"/>
              <a:t>Mastertextformat</a:t>
            </a:r>
            <a:r>
              <a:rPr lang="en-US" dirty="0"/>
              <a:t> </a:t>
            </a:r>
            <a:r>
              <a:rPr lang="en-US" dirty="0" err="1"/>
              <a:t>bearbeiten</a:t>
            </a:r>
            <a:endParaRPr lang="en-US" dirty="0"/>
          </a:p>
        </p:txBody>
      </p:sp>
      <p:sp>
        <p:nvSpPr>
          <p:cNvPr id="3" name="Foliennummernplatzhalter 2">
            <a:extLst>
              <a:ext uri="{FF2B5EF4-FFF2-40B4-BE49-F238E27FC236}">
                <a16:creationId xmlns:a16="http://schemas.microsoft.com/office/drawing/2014/main" id="{CC0284A9-ADFF-4601-81D5-41166BAA0039}"/>
              </a:ext>
            </a:extLst>
          </p:cNvPr>
          <p:cNvSpPr>
            <a:spLocks noGrp="1"/>
          </p:cNvSpPr>
          <p:nvPr>
            <p:ph type="sldNum" sz="quarter" idx="19"/>
          </p:nvPr>
        </p:nvSpPr>
        <p:spPr/>
        <p:txBody>
          <a:bodyPr/>
          <a:lstStyle/>
          <a:p>
            <a:fld id="{CF0EEDFF-EA3F-4F41-B7F8-DBCDD477B234}" type="slidenum">
              <a:rPr lang="en-US" smtClean="0"/>
              <a:pPr/>
              <a:t>‹Nr.›</a:t>
            </a:fld>
            <a:endParaRPr lang="en-US" dirty="0"/>
          </a:p>
        </p:txBody>
      </p:sp>
      <p:sp>
        <p:nvSpPr>
          <p:cNvPr id="5" name="Datumsplatzhalter 4">
            <a:extLst>
              <a:ext uri="{FF2B5EF4-FFF2-40B4-BE49-F238E27FC236}">
                <a16:creationId xmlns:a16="http://schemas.microsoft.com/office/drawing/2014/main" id="{92FCF493-F17C-4542-B9EB-983F25668928}"/>
              </a:ext>
            </a:extLst>
          </p:cNvPr>
          <p:cNvSpPr>
            <a:spLocks noGrp="1"/>
          </p:cNvSpPr>
          <p:nvPr>
            <p:ph type="dt" sz="half" idx="20"/>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6" name="TextBox 5">
            <a:extLst>
              <a:ext uri="{FF2B5EF4-FFF2-40B4-BE49-F238E27FC236}">
                <a16:creationId xmlns:a16="http://schemas.microsoft.com/office/drawing/2014/main" id="{E21AD7ED-112D-4938-9BAF-F4C5E271527A}"/>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3380760786"/>
      </p:ext>
    </p:extLst>
  </p:cSld>
  <p:clrMapOvr>
    <a:masterClrMapping/>
  </p:clrMapOvr>
  <p:hf hdr="0"/>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Produktfolie grau" preserve="1" userDrawn="1">
  <p:cSld name="Produktfolie grau">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5481E65-4692-46FE-87C4-411AC8598049}"/>
              </a:ext>
            </a:extLst>
          </p:cNvPr>
          <p:cNvSpPr/>
          <p:nvPr userDrawn="1"/>
        </p:nvSpPr>
        <p:spPr>
          <a:xfrm>
            <a:off x="-1" y="-429"/>
            <a:ext cx="739214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0F0F0"/>
              </a:solidFill>
            </a:endParaRPr>
          </a:p>
        </p:txBody>
      </p:sp>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334963" y="1916113"/>
            <a:ext cx="4824412" cy="4033837"/>
          </a:xfrm>
        </p:spPr>
        <p:txBody>
          <a:bodyPr/>
          <a:lstStyle>
            <a:lvl1pPr>
              <a:spcBef>
                <a:spcPts val="400"/>
              </a:spcBef>
              <a:defRPr/>
            </a:lvl1pPr>
            <a:lvl2pPr>
              <a:spcBef>
                <a:spcPts val="400"/>
              </a:spcBef>
              <a:defRPr/>
            </a:lvl2pPr>
            <a:lvl3pPr>
              <a:spcBef>
                <a:spcPts val="400"/>
              </a:spcBef>
              <a:defRPr/>
            </a:lvl3pPr>
            <a:lvl4pPr>
              <a:spcBef>
                <a:spcPts val="400"/>
              </a:spcBef>
              <a:defRPr/>
            </a:lvl4pPr>
            <a:lvl5pPr>
              <a:spcBef>
                <a:spcPts val="400"/>
              </a:spcBef>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13" name="Text Placeholder 12">
            <a:extLst>
              <a:ext uri="{FF2B5EF4-FFF2-40B4-BE49-F238E27FC236}">
                <a16:creationId xmlns:a16="http://schemas.microsoft.com/office/drawing/2014/main" id="{3D3E6F14-847D-4098-958C-FD6E997F0C59}"/>
              </a:ext>
            </a:extLst>
          </p:cNvPr>
          <p:cNvSpPr>
            <a:spLocks noGrp="1"/>
          </p:cNvSpPr>
          <p:nvPr>
            <p:ph type="body" sz="quarter" idx="15"/>
          </p:nvPr>
        </p:nvSpPr>
        <p:spPr>
          <a:xfrm>
            <a:off x="334963" y="1125540"/>
            <a:ext cx="4824412" cy="790574"/>
          </a:xfrm>
        </p:spPr>
        <p:txBody>
          <a:bodyPr/>
          <a:lstStyle>
            <a:lvl1pPr marL="0" indent="0">
              <a:lnSpc>
                <a:spcPct val="100000"/>
              </a:lnSpc>
              <a:buNone/>
              <a:defRPr sz="2000"/>
            </a:lvl1pPr>
          </a:lstStyle>
          <a:p>
            <a:pPr lvl="0"/>
            <a:r>
              <a:rPr lang="en-US" dirty="0" err="1"/>
              <a:t>Mastertextformat</a:t>
            </a:r>
            <a:r>
              <a:rPr lang="en-US" dirty="0"/>
              <a:t> </a:t>
            </a:r>
            <a:r>
              <a:rPr lang="en-US" dirty="0" err="1"/>
              <a:t>bearbeiten</a:t>
            </a:r>
            <a:endParaRPr lang="en-US" dirty="0"/>
          </a:p>
        </p:txBody>
      </p:sp>
      <p:sp>
        <p:nvSpPr>
          <p:cNvPr id="3" name="Foliennummernplatzhalter 2">
            <a:extLst>
              <a:ext uri="{FF2B5EF4-FFF2-40B4-BE49-F238E27FC236}">
                <a16:creationId xmlns:a16="http://schemas.microsoft.com/office/drawing/2014/main" id="{CC0284A9-ADFF-4601-81D5-41166BAA0039}"/>
              </a:ext>
            </a:extLst>
          </p:cNvPr>
          <p:cNvSpPr>
            <a:spLocks noGrp="1"/>
          </p:cNvSpPr>
          <p:nvPr>
            <p:ph type="sldNum" sz="quarter" idx="19"/>
          </p:nvPr>
        </p:nvSpPr>
        <p:spPr/>
        <p:txBody>
          <a:bodyPr/>
          <a:lstStyle/>
          <a:p>
            <a:fld id="{24D79344-2ED6-48A2-A58E-2AB8EEE767B8}" type="slidenum">
              <a:rPr lang="en-US" smtClean="0"/>
              <a:pPr/>
              <a:t>‹Nr.›</a:t>
            </a:fld>
            <a:endParaRPr lang="en-US" dirty="0"/>
          </a:p>
        </p:txBody>
      </p:sp>
      <p:sp>
        <p:nvSpPr>
          <p:cNvPr id="5" name="Datumsplatzhalter 4">
            <a:extLst>
              <a:ext uri="{FF2B5EF4-FFF2-40B4-BE49-F238E27FC236}">
                <a16:creationId xmlns:a16="http://schemas.microsoft.com/office/drawing/2014/main" id="{80D6FC54-E2A4-484B-8112-ABBD2ECBFDB7}"/>
              </a:ext>
            </a:extLst>
          </p:cNvPr>
          <p:cNvSpPr>
            <a:spLocks noGrp="1"/>
          </p:cNvSpPr>
          <p:nvPr>
            <p:ph type="dt" sz="half" idx="20"/>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7" name="TextBox 6">
            <a:extLst>
              <a:ext uri="{FF2B5EF4-FFF2-40B4-BE49-F238E27FC236}">
                <a16:creationId xmlns:a16="http://schemas.microsoft.com/office/drawing/2014/main" id="{E84365C9-D5CB-46D9-B804-B415AA5204DC}"/>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Tree>
    <p:extLst>
      <p:ext uri="{BB962C8B-B14F-4D97-AF65-F5344CB8AC3E}">
        <p14:creationId xmlns:p14="http://schemas.microsoft.com/office/powerpoint/2010/main" val="4114039363"/>
      </p:ext>
    </p:extLst>
  </p:cSld>
  <p:clrMapOvr>
    <a:masterClrMapping/>
  </p:clrMapOvr>
  <p:hf hdr="0"/>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Reference Case" preserve="1" userDrawn="1">
  <p:cSld name="Reference Cas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p>
            <a:fld id="{3A70B909-B660-4B3E-9B89-00D69C679A8E}" type="slidenum">
              <a:rPr lang="en-US" smtClean="0"/>
              <a:pPr/>
              <a:t>‹Nr.›</a:t>
            </a:fld>
            <a:endParaRPr lang="en-US" dirty="0"/>
          </a:p>
        </p:txBody>
      </p:sp>
      <p:sp>
        <p:nvSpPr>
          <p:cNvPr id="4" name="Datumsplatzhalter 3">
            <a:extLst>
              <a:ext uri="{FF2B5EF4-FFF2-40B4-BE49-F238E27FC236}">
                <a16:creationId xmlns:a16="http://schemas.microsoft.com/office/drawing/2014/main" id="{9E25651E-CD90-469D-ACDC-4E2107837BCE}"/>
              </a:ext>
            </a:extLst>
          </p:cNvPr>
          <p:cNvSpPr>
            <a:spLocks noGrp="1"/>
          </p:cNvSpPr>
          <p:nvPr>
            <p:ph type="dt" sz="half" idx="17"/>
          </p:nvPr>
        </p:nvSpPr>
        <p:spPr>
          <a:xfrm>
            <a:off x="335538" y="6487478"/>
            <a:ext cx="2880320" cy="133264"/>
          </a:xfrm>
        </p:spPr>
        <p:txBody>
          <a:bodyPr/>
          <a:lstStyle/>
          <a:p>
            <a:r>
              <a:rPr lang="en-US"/>
              <a:t>September 15-16, 2022</a:t>
            </a:r>
            <a:endParaRPr lang="en-US" dirty="0"/>
          </a:p>
        </p:txBody>
      </p:sp>
      <p:sp>
        <p:nvSpPr>
          <p:cNvPr id="15" name="Text Placeholder 10">
            <a:extLst>
              <a:ext uri="{FF2B5EF4-FFF2-40B4-BE49-F238E27FC236}">
                <a16:creationId xmlns:a16="http://schemas.microsoft.com/office/drawing/2014/main" id="{6CE47F74-7E4C-4506-83F1-CE06AF4C91F4}"/>
              </a:ext>
            </a:extLst>
          </p:cNvPr>
          <p:cNvSpPr>
            <a:spLocks noGrp="1"/>
          </p:cNvSpPr>
          <p:nvPr>
            <p:ph type="body" sz="quarter" idx="19" hasCustomPrompt="1"/>
          </p:nvPr>
        </p:nvSpPr>
        <p:spPr>
          <a:xfrm>
            <a:off x="334963" y="1916113"/>
            <a:ext cx="3600349" cy="648791"/>
          </a:xfrm>
        </p:spPr>
        <p:txBody>
          <a:bodyPr/>
          <a:lstStyle>
            <a:lvl1pPr marL="0" indent="0">
              <a:lnSpc>
                <a:spcPct val="100000"/>
              </a:lnSpc>
              <a:buNone/>
              <a:defRPr sz="2000"/>
            </a:lvl1pPr>
          </a:lstStyle>
          <a:p>
            <a:pPr lvl="0"/>
            <a:r>
              <a:rPr lang="en-US" dirty="0"/>
              <a:t>Lead Text</a:t>
            </a:r>
          </a:p>
        </p:txBody>
      </p:sp>
      <p:sp>
        <p:nvSpPr>
          <p:cNvPr id="16" name="Textplatzhalter 7">
            <a:extLst>
              <a:ext uri="{FF2B5EF4-FFF2-40B4-BE49-F238E27FC236}">
                <a16:creationId xmlns:a16="http://schemas.microsoft.com/office/drawing/2014/main" id="{6F99C7A5-7D11-41C0-8762-AE3B56BC73A3}"/>
              </a:ext>
            </a:extLst>
          </p:cNvPr>
          <p:cNvSpPr>
            <a:spLocks noGrp="1"/>
          </p:cNvSpPr>
          <p:nvPr>
            <p:ph type="body" sz="quarter" idx="21"/>
          </p:nvPr>
        </p:nvSpPr>
        <p:spPr>
          <a:xfrm>
            <a:off x="341097" y="1518337"/>
            <a:ext cx="3600000" cy="397347"/>
          </a:xfrm>
        </p:spPr>
        <p:txBody>
          <a:bodyPr lIns="0" bIns="72000" anchor="b" anchorCtr="0"/>
          <a:lstStyle>
            <a:lvl1pPr marL="0" indent="0">
              <a:lnSpc>
                <a:spcPct val="100000"/>
              </a:lnSpc>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17" name="Bildplatzhalter 16">
            <a:extLst>
              <a:ext uri="{FF2B5EF4-FFF2-40B4-BE49-F238E27FC236}">
                <a16:creationId xmlns:a16="http://schemas.microsoft.com/office/drawing/2014/main" id="{CFE66490-1607-46BA-B6AA-9EB39F300420}"/>
              </a:ext>
            </a:extLst>
          </p:cNvPr>
          <p:cNvSpPr>
            <a:spLocks noGrp="1"/>
          </p:cNvSpPr>
          <p:nvPr>
            <p:ph type="pic" sz="quarter" idx="22" hasCustomPrompt="1"/>
          </p:nvPr>
        </p:nvSpPr>
        <p:spPr>
          <a:xfrm>
            <a:off x="6311900" y="1707564"/>
            <a:ext cx="3384550" cy="865188"/>
          </a:xfrm>
        </p:spPr>
        <p:txBody>
          <a:bodyPr/>
          <a:lstStyle>
            <a:lvl1pPr marL="0" indent="0" algn="ctr">
              <a:buNone/>
              <a:defRPr/>
            </a:lvl1pPr>
          </a:lstStyle>
          <a:p>
            <a:r>
              <a:rPr lang="en-US" dirty="0"/>
              <a:t>Logo via Homburger-</a:t>
            </a:r>
            <a:r>
              <a:rPr lang="en-US" dirty="0" err="1"/>
              <a:t>Menü</a:t>
            </a:r>
            <a:r>
              <a:rPr lang="en-US" dirty="0"/>
              <a:t> </a:t>
            </a:r>
            <a:r>
              <a:rPr lang="en-US" dirty="0" err="1"/>
              <a:t>einfügen</a:t>
            </a:r>
            <a:endParaRPr lang="en-US" dirty="0"/>
          </a:p>
        </p:txBody>
      </p:sp>
      <p:sp>
        <p:nvSpPr>
          <p:cNvPr id="13" name="Bildplatzhalter 16">
            <a:extLst>
              <a:ext uri="{FF2B5EF4-FFF2-40B4-BE49-F238E27FC236}">
                <a16:creationId xmlns:a16="http://schemas.microsoft.com/office/drawing/2014/main" id="{D46F83B9-8D1D-46D8-B020-D1EE513E17C2}"/>
              </a:ext>
            </a:extLst>
          </p:cNvPr>
          <p:cNvSpPr>
            <a:spLocks noGrp="1"/>
          </p:cNvSpPr>
          <p:nvPr>
            <p:ph type="pic" sz="quarter" idx="23" hasCustomPrompt="1"/>
          </p:nvPr>
        </p:nvSpPr>
        <p:spPr>
          <a:xfrm>
            <a:off x="6311900" y="2996405"/>
            <a:ext cx="3384550" cy="865188"/>
          </a:xfrm>
        </p:spPr>
        <p:txBody>
          <a:bodyPr/>
          <a:lstStyle>
            <a:lvl1pPr marL="0" indent="0" algn="ctr">
              <a:buNone/>
              <a:defRPr/>
            </a:lvl1pPr>
          </a:lstStyle>
          <a:p>
            <a:r>
              <a:rPr lang="en-US" dirty="0"/>
              <a:t>Logo via Homburger-</a:t>
            </a:r>
            <a:r>
              <a:rPr lang="en-US" dirty="0" err="1"/>
              <a:t>Menü</a:t>
            </a:r>
            <a:r>
              <a:rPr lang="en-US" dirty="0"/>
              <a:t> </a:t>
            </a:r>
            <a:r>
              <a:rPr lang="en-US" dirty="0" err="1"/>
              <a:t>einfügen</a:t>
            </a:r>
            <a:endParaRPr lang="en-US" dirty="0"/>
          </a:p>
        </p:txBody>
      </p:sp>
      <p:sp>
        <p:nvSpPr>
          <p:cNvPr id="12" name="Bildplatzhalter 16">
            <a:extLst>
              <a:ext uri="{FF2B5EF4-FFF2-40B4-BE49-F238E27FC236}">
                <a16:creationId xmlns:a16="http://schemas.microsoft.com/office/drawing/2014/main" id="{9C8E0480-50A4-4DD7-BC69-E7F4166921E3}"/>
              </a:ext>
            </a:extLst>
          </p:cNvPr>
          <p:cNvSpPr>
            <a:spLocks noGrp="1"/>
          </p:cNvSpPr>
          <p:nvPr>
            <p:ph type="pic" sz="quarter" idx="24" hasCustomPrompt="1"/>
          </p:nvPr>
        </p:nvSpPr>
        <p:spPr>
          <a:xfrm>
            <a:off x="6311900" y="4285246"/>
            <a:ext cx="3384550" cy="865188"/>
          </a:xfrm>
        </p:spPr>
        <p:txBody>
          <a:bodyPr/>
          <a:lstStyle>
            <a:lvl1pPr marL="0" indent="0" algn="ctr">
              <a:buNone/>
              <a:defRPr/>
            </a:lvl1pPr>
          </a:lstStyle>
          <a:p>
            <a:r>
              <a:rPr lang="en-US" dirty="0"/>
              <a:t>Logo via Homburger-</a:t>
            </a:r>
            <a:r>
              <a:rPr lang="en-US" dirty="0" err="1"/>
              <a:t>Menü</a:t>
            </a:r>
            <a:r>
              <a:rPr lang="en-US" dirty="0"/>
              <a:t> </a:t>
            </a:r>
            <a:r>
              <a:rPr lang="en-US" dirty="0" err="1"/>
              <a:t>einfügen</a:t>
            </a:r>
            <a:endParaRPr lang="en-US" dirty="0"/>
          </a:p>
        </p:txBody>
      </p:sp>
      <p:sp>
        <p:nvSpPr>
          <p:cNvPr id="18" name="Content Placeholder 3">
            <a:extLst>
              <a:ext uri="{FF2B5EF4-FFF2-40B4-BE49-F238E27FC236}">
                <a16:creationId xmlns:a16="http://schemas.microsoft.com/office/drawing/2014/main" id="{6DEDC807-FC51-4500-BF83-F8283C5264D9}"/>
              </a:ext>
            </a:extLst>
          </p:cNvPr>
          <p:cNvSpPr>
            <a:spLocks noGrp="1"/>
          </p:cNvSpPr>
          <p:nvPr>
            <p:ph sz="half" idx="25"/>
          </p:nvPr>
        </p:nvSpPr>
        <p:spPr>
          <a:xfrm>
            <a:off x="335360" y="2682241"/>
            <a:ext cx="3600053" cy="3267710"/>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5" name="TextBox 4">
            <a:extLst>
              <a:ext uri="{FF2B5EF4-FFF2-40B4-BE49-F238E27FC236}">
                <a16:creationId xmlns:a16="http://schemas.microsoft.com/office/drawing/2014/main" id="{6292F934-3CAD-474F-9D9E-11E5772D96EF}"/>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2513351105"/>
      </p:ext>
    </p:extLst>
  </p:cSld>
  <p:clrMapOvr>
    <a:masterClrMapping/>
  </p:clrMapOvr>
  <p:hf hdr="0"/>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V" preserve="1" userDrawn="1">
  <p:cSld name="CV">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p>
            <a:fld id="{B104BA3A-63FF-40C5-8EA4-12E295F62907}"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10" name="Textplatzhalter 9">
            <a:extLst>
              <a:ext uri="{FF2B5EF4-FFF2-40B4-BE49-F238E27FC236}">
                <a16:creationId xmlns:a16="http://schemas.microsoft.com/office/drawing/2014/main" id="{F906F280-D70B-4AEA-A598-4CA9EDF1291E}"/>
              </a:ext>
            </a:extLst>
          </p:cNvPr>
          <p:cNvSpPr>
            <a:spLocks noGrp="1"/>
          </p:cNvSpPr>
          <p:nvPr>
            <p:ph type="body" sz="quarter" idx="17" hasCustomPrompt="1"/>
          </p:nvPr>
        </p:nvSpPr>
        <p:spPr>
          <a:xfrm>
            <a:off x="334963" y="1916113"/>
            <a:ext cx="6913562" cy="246221"/>
          </a:xfrm>
        </p:spPr>
        <p:txBody>
          <a:bodyPr>
            <a:spAutoFit/>
          </a:bodyPr>
          <a:lstStyle>
            <a:lvl1pPr marL="0" indent="0">
              <a:lnSpc>
                <a:spcPct val="100000"/>
              </a:lnSpc>
              <a:spcBef>
                <a:spcPts val="0"/>
              </a:spcBef>
              <a:buFontTx/>
              <a:buNone/>
              <a:defRPr sz="1600" b="0"/>
            </a:lvl1pPr>
          </a:lstStyle>
          <a:p>
            <a:pPr lvl="0"/>
            <a:r>
              <a:rPr lang="en-US" dirty="0" err="1"/>
              <a:t>Vorname</a:t>
            </a:r>
            <a:r>
              <a:rPr lang="en-US" dirty="0"/>
              <a:t> Name (</a:t>
            </a:r>
            <a:r>
              <a:rPr lang="en-US" dirty="0" err="1"/>
              <a:t>fett</a:t>
            </a:r>
            <a:r>
              <a:rPr lang="en-US" dirty="0"/>
              <a:t>) </a:t>
            </a:r>
            <a:r>
              <a:rPr lang="en-US" dirty="0" err="1"/>
              <a:t>persönlicher</a:t>
            </a:r>
            <a:r>
              <a:rPr lang="en-US" dirty="0"/>
              <a:t> Text (</a:t>
            </a:r>
            <a:r>
              <a:rPr lang="en-US" dirty="0" err="1"/>
              <a:t>nicht</a:t>
            </a:r>
            <a:r>
              <a:rPr lang="en-US" dirty="0"/>
              <a:t> </a:t>
            </a:r>
            <a:r>
              <a:rPr lang="en-US" dirty="0" err="1"/>
              <a:t>fett</a:t>
            </a:r>
            <a:r>
              <a:rPr lang="en-US" dirty="0"/>
              <a:t>)</a:t>
            </a:r>
          </a:p>
        </p:txBody>
      </p:sp>
      <p:sp>
        <p:nvSpPr>
          <p:cNvPr id="13" name="Bildplatzhalter 12">
            <a:extLst>
              <a:ext uri="{FF2B5EF4-FFF2-40B4-BE49-F238E27FC236}">
                <a16:creationId xmlns:a16="http://schemas.microsoft.com/office/drawing/2014/main" id="{F20005C5-7C89-4F5C-9676-4B2BAB99A99C}"/>
              </a:ext>
            </a:extLst>
          </p:cNvPr>
          <p:cNvSpPr>
            <a:spLocks noGrp="1"/>
          </p:cNvSpPr>
          <p:nvPr>
            <p:ph type="pic" sz="quarter" idx="18" hasCustomPrompt="1"/>
          </p:nvPr>
        </p:nvSpPr>
        <p:spPr>
          <a:xfrm>
            <a:off x="9336360" y="1422000"/>
            <a:ext cx="2855640" cy="4023224"/>
          </a:xfrm>
          <a:solidFill>
            <a:schemeClr val="bg1">
              <a:lumMod val="95000"/>
            </a:schemeClr>
          </a:solidFill>
        </p:spPr>
        <p:txBody>
          <a:bodyPr anchor="ctr"/>
          <a:lstStyle>
            <a:lvl1pPr marL="0" indent="0" algn="ctr">
              <a:lnSpc>
                <a:spcPct val="100000"/>
              </a:lnSpc>
              <a:spcBef>
                <a:spcPts val="0"/>
              </a:spcBef>
              <a:buNone/>
              <a:defRPr/>
            </a:lvl1pPr>
          </a:lstStyle>
          <a:p>
            <a:r>
              <a:rPr lang="en-US" dirty="0"/>
              <a:t>Bild via Homburger-</a:t>
            </a:r>
            <a:r>
              <a:rPr lang="en-US" dirty="0" err="1"/>
              <a:t>Menü</a:t>
            </a:r>
            <a:r>
              <a:rPr lang="en-US" dirty="0"/>
              <a:t> </a:t>
            </a:r>
            <a:r>
              <a:rPr lang="en-US" dirty="0" err="1"/>
              <a:t>einfügen</a:t>
            </a:r>
            <a:endParaRPr lang="en-US" dirty="0"/>
          </a:p>
        </p:txBody>
      </p:sp>
      <p:sp>
        <p:nvSpPr>
          <p:cNvPr id="11" name="Textplatzhalter 9">
            <a:extLst>
              <a:ext uri="{FF2B5EF4-FFF2-40B4-BE49-F238E27FC236}">
                <a16:creationId xmlns:a16="http://schemas.microsoft.com/office/drawing/2014/main" id="{C5119CAA-A958-474E-BCDA-749127575E8A}"/>
              </a:ext>
            </a:extLst>
          </p:cNvPr>
          <p:cNvSpPr>
            <a:spLocks noGrp="1"/>
          </p:cNvSpPr>
          <p:nvPr>
            <p:ph type="body" sz="quarter" idx="19" hasCustomPrompt="1"/>
          </p:nvPr>
        </p:nvSpPr>
        <p:spPr>
          <a:xfrm>
            <a:off x="334963" y="3501008"/>
            <a:ext cx="4392885" cy="204736"/>
          </a:xfrm>
        </p:spPr>
        <p:txBody>
          <a:bodyPr wrap="square">
            <a:spAutoFit/>
          </a:bodyPr>
          <a:lstStyle>
            <a:lvl1pPr marL="987425" indent="-987425">
              <a:lnSpc>
                <a:spcPts val="1700"/>
              </a:lnSpc>
              <a:spcBef>
                <a:spcPts val="0"/>
              </a:spcBef>
              <a:buFontTx/>
              <a:buNone/>
              <a:tabLst>
                <a:tab pos="987425" algn="l"/>
              </a:tabLst>
              <a:defRPr sz="1200" b="0"/>
            </a:lvl1pPr>
          </a:lstStyle>
          <a:p>
            <a:pPr lvl="0"/>
            <a:r>
              <a:rPr lang="en-US" dirty="0" err="1"/>
              <a:t>YYYY</a:t>
            </a:r>
            <a:r>
              <a:rPr lang="en-US" dirty="0"/>
              <a:t>                  Text</a:t>
            </a:r>
          </a:p>
        </p:txBody>
      </p:sp>
      <p:sp>
        <p:nvSpPr>
          <p:cNvPr id="12" name="Textplatzhalter 9">
            <a:extLst>
              <a:ext uri="{FF2B5EF4-FFF2-40B4-BE49-F238E27FC236}">
                <a16:creationId xmlns:a16="http://schemas.microsoft.com/office/drawing/2014/main" id="{791E79E0-EB2A-4A10-A118-021486ABBE67}"/>
              </a:ext>
            </a:extLst>
          </p:cNvPr>
          <p:cNvSpPr>
            <a:spLocks noGrp="1"/>
          </p:cNvSpPr>
          <p:nvPr>
            <p:ph type="body" sz="quarter" idx="20" hasCustomPrompt="1"/>
          </p:nvPr>
        </p:nvSpPr>
        <p:spPr>
          <a:xfrm>
            <a:off x="5159375" y="3501008"/>
            <a:ext cx="3528913" cy="1076770"/>
          </a:xfrm>
        </p:spPr>
        <p:txBody>
          <a:bodyPr wrap="square">
            <a:spAutoFit/>
          </a:bodyPr>
          <a:lstStyle>
            <a:lvl1pPr marL="0" indent="0">
              <a:lnSpc>
                <a:spcPts val="1700"/>
              </a:lnSpc>
              <a:spcBef>
                <a:spcPts val="0"/>
              </a:spcBef>
              <a:buFontTx/>
              <a:buNone/>
              <a:tabLst/>
              <a:defRPr sz="1200" b="0"/>
            </a:lvl1pPr>
          </a:lstStyle>
          <a:p>
            <a:pPr lvl="0"/>
            <a:r>
              <a:rPr lang="en-US" dirty="0"/>
              <a:t>T +41 43 000 00 00</a:t>
            </a:r>
            <a:br>
              <a:rPr lang="en-US" dirty="0"/>
            </a:br>
            <a:r>
              <a:rPr lang="en-US" dirty="0"/>
              <a:t>M +41 79 000 00 00</a:t>
            </a:r>
            <a:br>
              <a:rPr lang="en-US" dirty="0"/>
            </a:br>
            <a:r>
              <a:rPr lang="en-US" dirty="0"/>
              <a:t>vorname.name@homburger.ch</a:t>
            </a:r>
            <a:br>
              <a:rPr lang="en-US" dirty="0"/>
            </a:br>
            <a:br>
              <a:rPr lang="en-US" dirty="0"/>
            </a:br>
            <a:r>
              <a:rPr lang="en-US" dirty="0"/>
              <a:t>Text</a:t>
            </a:r>
          </a:p>
        </p:txBody>
      </p:sp>
      <p:sp>
        <p:nvSpPr>
          <p:cNvPr id="6" name="TextBox 5">
            <a:extLst>
              <a:ext uri="{FF2B5EF4-FFF2-40B4-BE49-F238E27FC236}">
                <a16:creationId xmlns:a16="http://schemas.microsoft.com/office/drawing/2014/main" id="{61E2BA5F-6216-4670-AF8A-87374B564B33}"/>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013876768"/>
      </p:ext>
    </p:extLst>
  </p:cSld>
  <p:clrMapOvr>
    <a:masterClrMapping/>
  </p:clrMapOvr>
  <p:hf hdr="0"/>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Timing Stream" preserve="1" userDrawn="1">
  <p:cSld name="Timing Str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p>
            <a:fld id="{9D81BE06-C455-4CC7-B072-385211F26778}"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8" name="Tabellenplatzhalter 7">
            <a:extLst>
              <a:ext uri="{FF2B5EF4-FFF2-40B4-BE49-F238E27FC236}">
                <a16:creationId xmlns:a16="http://schemas.microsoft.com/office/drawing/2014/main" id="{408B6068-D267-427B-B109-7F7D6CFB2BA5}"/>
              </a:ext>
            </a:extLst>
          </p:cNvPr>
          <p:cNvSpPr>
            <a:spLocks noGrp="1"/>
          </p:cNvSpPr>
          <p:nvPr>
            <p:ph type="tbl" sz="quarter" idx="17"/>
          </p:nvPr>
        </p:nvSpPr>
        <p:spPr>
          <a:xfrm>
            <a:off x="334963" y="1125538"/>
            <a:ext cx="11233150" cy="2303462"/>
          </a:xfrm>
        </p:spPr>
        <p:txBody>
          <a:bodyPr/>
          <a:lstStyle/>
          <a:p>
            <a:r>
              <a:rPr lang="en-US" dirty="0" err="1"/>
              <a:t>Tabelle</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10" name="Textplatzhalter 9">
            <a:extLst>
              <a:ext uri="{FF2B5EF4-FFF2-40B4-BE49-F238E27FC236}">
                <a16:creationId xmlns:a16="http://schemas.microsoft.com/office/drawing/2014/main" id="{00550411-3098-49B4-AD9B-D1C5883A3A94}"/>
              </a:ext>
            </a:extLst>
          </p:cNvPr>
          <p:cNvSpPr>
            <a:spLocks noGrp="1"/>
          </p:cNvSpPr>
          <p:nvPr>
            <p:ph type="body" sz="quarter" idx="18"/>
          </p:nvPr>
        </p:nvSpPr>
        <p:spPr>
          <a:xfrm>
            <a:off x="339195" y="4039287"/>
            <a:ext cx="3600000" cy="973889"/>
          </a:xfrm>
        </p:spPr>
        <p:txBody>
          <a:bodyPr/>
          <a:lstStyle>
            <a:lvl1pPr marL="0" indent="0">
              <a:buNone/>
              <a:defRPr/>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13" name="Textplatzhalter 9">
            <a:extLst>
              <a:ext uri="{FF2B5EF4-FFF2-40B4-BE49-F238E27FC236}">
                <a16:creationId xmlns:a16="http://schemas.microsoft.com/office/drawing/2014/main" id="{8174F6D6-C3CC-4A31-8B2F-F81AF3F7277E}"/>
              </a:ext>
            </a:extLst>
          </p:cNvPr>
          <p:cNvSpPr>
            <a:spLocks noGrp="1"/>
          </p:cNvSpPr>
          <p:nvPr>
            <p:ph type="body" sz="quarter" idx="19"/>
          </p:nvPr>
        </p:nvSpPr>
        <p:spPr>
          <a:xfrm>
            <a:off x="339194" y="5094239"/>
            <a:ext cx="3600000" cy="855712"/>
          </a:xfrm>
        </p:spPr>
        <p:txBody>
          <a:bodyPr/>
          <a:lstStyle>
            <a:lvl1pPr marL="0" indent="0">
              <a:buNone/>
              <a:defRPr/>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18" name="Textplatzhalter 9">
            <a:extLst>
              <a:ext uri="{FF2B5EF4-FFF2-40B4-BE49-F238E27FC236}">
                <a16:creationId xmlns:a16="http://schemas.microsoft.com/office/drawing/2014/main" id="{6BAB939B-501F-4DCD-89B6-17C583183F7C}"/>
              </a:ext>
            </a:extLst>
          </p:cNvPr>
          <p:cNvSpPr>
            <a:spLocks noGrp="1"/>
          </p:cNvSpPr>
          <p:nvPr>
            <p:ph type="body" sz="quarter" idx="20"/>
          </p:nvPr>
        </p:nvSpPr>
        <p:spPr>
          <a:xfrm>
            <a:off x="4152184" y="4039287"/>
            <a:ext cx="3600000" cy="973889"/>
          </a:xfrm>
        </p:spPr>
        <p:txBody>
          <a:bodyPr/>
          <a:lstStyle>
            <a:lvl1pPr marL="0" indent="0">
              <a:buNone/>
              <a:defRPr/>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19" name="Textplatzhalter 9">
            <a:extLst>
              <a:ext uri="{FF2B5EF4-FFF2-40B4-BE49-F238E27FC236}">
                <a16:creationId xmlns:a16="http://schemas.microsoft.com/office/drawing/2014/main" id="{77618B02-659B-4CFC-9ACB-1091D5F8B231}"/>
              </a:ext>
            </a:extLst>
          </p:cNvPr>
          <p:cNvSpPr>
            <a:spLocks noGrp="1"/>
          </p:cNvSpPr>
          <p:nvPr>
            <p:ph type="body" sz="quarter" idx="21"/>
          </p:nvPr>
        </p:nvSpPr>
        <p:spPr>
          <a:xfrm>
            <a:off x="4152183" y="5094239"/>
            <a:ext cx="3600000" cy="855712"/>
          </a:xfrm>
        </p:spPr>
        <p:txBody>
          <a:bodyPr/>
          <a:lstStyle>
            <a:lvl1pPr marL="0" indent="0">
              <a:buNone/>
              <a:defRPr/>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20" name="Textplatzhalter 9">
            <a:extLst>
              <a:ext uri="{FF2B5EF4-FFF2-40B4-BE49-F238E27FC236}">
                <a16:creationId xmlns:a16="http://schemas.microsoft.com/office/drawing/2014/main" id="{494E6047-5ABD-4B4A-A5A3-25775BC3F96A}"/>
              </a:ext>
            </a:extLst>
          </p:cNvPr>
          <p:cNvSpPr>
            <a:spLocks noGrp="1"/>
          </p:cNvSpPr>
          <p:nvPr>
            <p:ph type="body" sz="quarter" idx="22"/>
          </p:nvPr>
        </p:nvSpPr>
        <p:spPr>
          <a:xfrm>
            <a:off x="7968209" y="4039512"/>
            <a:ext cx="3600000" cy="973889"/>
          </a:xfrm>
        </p:spPr>
        <p:txBody>
          <a:bodyPr/>
          <a:lstStyle>
            <a:lvl1pPr marL="0" indent="0">
              <a:buNone/>
              <a:defRPr/>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21" name="Textplatzhalter 9">
            <a:extLst>
              <a:ext uri="{FF2B5EF4-FFF2-40B4-BE49-F238E27FC236}">
                <a16:creationId xmlns:a16="http://schemas.microsoft.com/office/drawing/2014/main" id="{50BC76E1-C3B7-4314-8E99-AE669024B8E2}"/>
              </a:ext>
            </a:extLst>
          </p:cNvPr>
          <p:cNvSpPr>
            <a:spLocks noGrp="1"/>
          </p:cNvSpPr>
          <p:nvPr>
            <p:ph type="body" sz="quarter" idx="23"/>
          </p:nvPr>
        </p:nvSpPr>
        <p:spPr>
          <a:xfrm>
            <a:off x="7968208" y="5094464"/>
            <a:ext cx="3600000" cy="855712"/>
          </a:xfrm>
        </p:spPr>
        <p:txBody>
          <a:bodyPr/>
          <a:lstStyle>
            <a:lvl1pPr marL="0" indent="0">
              <a:buNone/>
              <a:defRPr/>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4" name="TextBox 3">
            <a:extLst>
              <a:ext uri="{FF2B5EF4-FFF2-40B4-BE49-F238E27FC236}">
                <a16:creationId xmlns:a16="http://schemas.microsoft.com/office/drawing/2014/main" id="{5DF3C7A5-538F-464B-95C1-A9EEC1942E34}"/>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530772855"/>
      </p:ext>
    </p:extLst>
  </p:cSld>
  <p:clrMapOvr>
    <a:masterClrMapping/>
  </p:clrMapOvr>
  <p:hf hdr="0"/>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ombstone" preserve="1" userDrawn="1">
  <p:cSld name="Tombsto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109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1488"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p>
            <a:fld id="{E23FA2E8-4F64-4DA4-A324-4990AD338FB0}"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10" name="Textplatzhalter 9">
            <a:extLst>
              <a:ext uri="{FF2B5EF4-FFF2-40B4-BE49-F238E27FC236}">
                <a16:creationId xmlns:a16="http://schemas.microsoft.com/office/drawing/2014/main" id="{00550411-3098-49B4-AD9B-D1C5883A3A94}"/>
              </a:ext>
            </a:extLst>
          </p:cNvPr>
          <p:cNvSpPr>
            <a:spLocks noGrp="1"/>
          </p:cNvSpPr>
          <p:nvPr>
            <p:ph type="body" sz="quarter" idx="18"/>
          </p:nvPr>
        </p:nvSpPr>
        <p:spPr>
          <a:xfrm>
            <a:off x="334963" y="1882185"/>
            <a:ext cx="2592000" cy="12600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18" name="Textplatzhalter 9">
            <a:extLst>
              <a:ext uri="{FF2B5EF4-FFF2-40B4-BE49-F238E27FC236}">
                <a16:creationId xmlns:a16="http://schemas.microsoft.com/office/drawing/2014/main" id="{6BAB939B-501F-4DCD-89B6-17C583183F7C}"/>
              </a:ext>
            </a:extLst>
          </p:cNvPr>
          <p:cNvSpPr>
            <a:spLocks noGrp="1"/>
          </p:cNvSpPr>
          <p:nvPr>
            <p:ph type="body" sz="quarter" idx="20"/>
          </p:nvPr>
        </p:nvSpPr>
        <p:spPr>
          <a:xfrm>
            <a:off x="3224063" y="1882185"/>
            <a:ext cx="2592000" cy="12600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20" name="Textplatzhalter 9">
            <a:extLst>
              <a:ext uri="{FF2B5EF4-FFF2-40B4-BE49-F238E27FC236}">
                <a16:creationId xmlns:a16="http://schemas.microsoft.com/office/drawing/2014/main" id="{494E6047-5ABD-4B4A-A5A3-25775BC3F96A}"/>
              </a:ext>
            </a:extLst>
          </p:cNvPr>
          <p:cNvSpPr>
            <a:spLocks noGrp="1"/>
          </p:cNvSpPr>
          <p:nvPr>
            <p:ph type="body" sz="quarter" idx="22"/>
          </p:nvPr>
        </p:nvSpPr>
        <p:spPr>
          <a:xfrm>
            <a:off x="6089890" y="1882410"/>
            <a:ext cx="2592000" cy="12600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22" name="Textplatzhalter 9">
            <a:extLst>
              <a:ext uri="{FF2B5EF4-FFF2-40B4-BE49-F238E27FC236}">
                <a16:creationId xmlns:a16="http://schemas.microsoft.com/office/drawing/2014/main" id="{C0BB1B2F-F57A-4653-A2BF-178115E7B075}"/>
              </a:ext>
            </a:extLst>
          </p:cNvPr>
          <p:cNvSpPr>
            <a:spLocks noGrp="1"/>
          </p:cNvSpPr>
          <p:nvPr>
            <p:ph type="body" sz="quarter" idx="24"/>
          </p:nvPr>
        </p:nvSpPr>
        <p:spPr>
          <a:xfrm>
            <a:off x="8976608" y="1889061"/>
            <a:ext cx="2592000" cy="12600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24" name="Textplatzhalter 7">
            <a:extLst>
              <a:ext uri="{FF2B5EF4-FFF2-40B4-BE49-F238E27FC236}">
                <a16:creationId xmlns:a16="http://schemas.microsoft.com/office/drawing/2014/main" id="{2910B2FE-47DF-4925-A61D-A0CCF7D4DC71}"/>
              </a:ext>
            </a:extLst>
          </p:cNvPr>
          <p:cNvSpPr>
            <a:spLocks noGrp="1"/>
          </p:cNvSpPr>
          <p:nvPr>
            <p:ph type="body" sz="quarter" idx="21"/>
          </p:nvPr>
        </p:nvSpPr>
        <p:spPr>
          <a:xfrm>
            <a:off x="334963" y="1518337"/>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25" name="Textplatzhalter 7">
            <a:extLst>
              <a:ext uri="{FF2B5EF4-FFF2-40B4-BE49-F238E27FC236}">
                <a16:creationId xmlns:a16="http://schemas.microsoft.com/office/drawing/2014/main" id="{06E327F4-2571-4905-A28F-7677BF095ADB}"/>
              </a:ext>
            </a:extLst>
          </p:cNvPr>
          <p:cNvSpPr>
            <a:spLocks noGrp="1"/>
          </p:cNvSpPr>
          <p:nvPr>
            <p:ph type="body" sz="quarter" idx="25"/>
          </p:nvPr>
        </p:nvSpPr>
        <p:spPr>
          <a:xfrm>
            <a:off x="3224063" y="1518337"/>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27" name="Textplatzhalter 7">
            <a:extLst>
              <a:ext uri="{FF2B5EF4-FFF2-40B4-BE49-F238E27FC236}">
                <a16:creationId xmlns:a16="http://schemas.microsoft.com/office/drawing/2014/main" id="{A361B486-5C7B-4E78-B94C-6D5C3B4B0549}"/>
              </a:ext>
            </a:extLst>
          </p:cNvPr>
          <p:cNvSpPr>
            <a:spLocks noGrp="1"/>
          </p:cNvSpPr>
          <p:nvPr>
            <p:ph type="body" sz="quarter" idx="26"/>
          </p:nvPr>
        </p:nvSpPr>
        <p:spPr>
          <a:xfrm>
            <a:off x="6089890" y="1518337"/>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28" name="Textplatzhalter 7">
            <a:extLst>
              <a:ext uri="{FF2B5EF4-FFF2-40B4-BE49-F238E27FC236}">
                <a16:creationId xmlns:a16="http://schemas.microsoft.com/office/drawing/2014/main" id="{66A7E42F-AFCB-405D-A88D-F6DF4B9C6D11}"/>
              </a:ext>
            </a:extLst>
          </p:cNvPr>
          <p:cNvSpPr>
            <a:spLocks noGrp="1"/>
          </p:cNvSpPr>
          <p:nvPr>
            <p:ph type="body" sz="quarter" idx="27"/>
          </p:nvPr>
        </p:nvSpPr>
        <p:spPr>
          <a:xfrm>
            <a:off x="8976608" y="1518337"/>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29" name="Textplatzhalter 7">
            <a:extLst>
              <a:ext uri="{FF2B5EF4-FFF2-40B4-BE49-F238E27FC236}">
                <a16:creationId xmlns:a16="http://schemas.microsoft.com/office/drawing/2014/main" id="{5BF31E62-FBD1-4535-B2E7-E40BAA9CEACF}"/>
              </a:ext>
            </a:extLst>
          </p:cNvPr>
          <p:cNvSpPr>
            <a:spLocks noGrp="1"/>
          </p:cNvSpPr>
          <p:nvPr>
            <p:ph type="body" sz="quarter" idx="28"/>
          </p:nvPr>
        </p:nvSpPr>
        <p:spPr>
          <a:xfrm>
            <a:off x="334963" y="3911148"/>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30" name="Textplatzhalter 7">
            <a:extLst>
              <a:ext uri="{FF2B5EF4-FFF2-40B4-BE49-F238E27FC236}">
                <a16:creationId xmlns:a16="http://schemas.microsoft.com/office/drawing/2014/main" id="{97F5037F-E702-42D7-AE3C-DA6E5D80E02B}"/>
              </a:ext>
            </a:extLst>
          </p:cNvPr>
          <p:cNvSpPr>
            <a:spLocks noGrp="1"/>
          </p:cNvSpPr>
          <p:nvPr>
            <p:ph type="body" sz="quarter" idx="29"/>
          </p:nvPr>
        </p:nvSpPr>
        <p:spPr>
          <a:xfrm>
            <a:off x="3224063" y="3911148"/>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31" name="Textplatzhalter 7">
            <a:extLst>
              <a:ext uri="{FF2B5EF4-FFF2-40B4-BE49-F238E27FC236}">
                <a16:creationId xmlns:a16="http://schemas.microsoft.com/office/drawing/2014/main" id="{001F08B6-5A22-4C05-AD0D-4AE1BAC27F61}"/>
              </a:ext>
            </a:extLst>
          </p:cNvPr>
          <p:cNvSpPr>
            <a:spLocks noGrp="1"/>
          </p:cNvSpPr>
          <p:nvPr>
            <p:ph type="body" sz="quarter" idx="30"/>
          </p:nvPr>
        </p:nvSpPr>
        <p:spPr>
          <a:xfrm>
            <a:off x="6089890" y="3911148"/>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32" name="Textplatzhalter 7">
            <a:extLst>
              <a:ext uri="{FF2B5EF4-FFF2-40B4-BE49-F238E27FC236}">
                <a16:creationId xmlns:a16="http://schemas.microsoft.com/office/drawing/2014/main" id="{5C3C1756-CFDD-4F86-9B02-60424A1C40BE}"/>
              </a:ext>
            </a:extLst>
          </p:cNvPr>
          <p:cNvSpPr>
            <a:spLocks noGrp="1"/>
          </p:cNvSpPr>
          <p:nvPr>
            <p:ph type="body" sz="quarter" idx="31"/>
          </p:nvPr>
        </p:nvSpPr>
        <p:spPr>
          <a:xfrm>
            <a:off x="8976608" y="3911148"/>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41" name="Textplatzhalter 9">
            <a:extLst>
              <a:ext uri="{FF2B5EF4-FFF2-40B4-BE49-F238E27FC236}">
                <a16:creationId xmlns:a16="http://schemas.microsoft.com/office/drawing/2014/main" id="{5A5D5C9C-E68D-4B12-BB3F-2FF6BFA11410}"/>
              </a:ext>
            </a:extLst>
          </p:cNvPr>
          <p:cNvSpPr>
            <a:spLocks noGrp="1"/>
          </p:cNvSpPr>
          <p:nvPr>
            <p:ph type="body" sz="quarter" idx="40"/>
          </p:nvPr>
        </p:nvSpPr>
        <p:spPr>
          <a:xfrm>
            <a:off x="334963" y="4286436"/>
            <a:ext cx="2592000" cy="12600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42" name="Textplatzhalter 9">
            <a:extLst>
              <a:ext uri="{FF2B5EF4-FFF2-40B4-BE49-F238E27FC236}">
                <a16:creationId xmlns:a16="http://schemas.microsoft.com/office/drawing/2014/main" id="{A6F7AA92-7E32-4616-9E85-E0BE84D06CFB}"/>
              </a:ext>
            </a:extLst>
          </p:cNvPr>
          <p:cNvSpPr>
            <a:spLocks noGrp="1"/>
          </p:cNvSpPr>
          <p:nvPr>
            <p:ph type="body" sz="quarter" idx="41"/>
          </p:nvPr>
        </p:nvSpPr>
        <p:spPr>
          <a:xfrm>
            <a:off x="3224063" y="4286435"/>
            <a:ext cx="2592000" cy="1260000"/>
          </a:xfrm>
        </p:spPr>
        <p:txBody>
          <a:bodyPr>
            <a:noAutofit/>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43" name="Textplatzhalter 9">
            <a:extLst>
              <a:ext uri="{FF2B5EF4-FFF2-40B4-BE49-F238E27FC236}">
                <a16:creationId xmlns:a16="http://schemas.microsoft.com/office/drawing/2014/main" id="{13E96892-9F65-48BF-AA09-A06B23B0CD47}"/>
              </a:ext>
            </a:extLst>
          </p:cNvPr>
          <p:cNvSpPr>
            <a:spLocks noGrp="1"/>
          </p:cNvSpPr>
          <p:nvPr>
            <p:ph type="body" sz="quarter" idx="42"/>
          </p:nvPr>
        </p:nvSpPr>
        <p:spPr>
          <a:xfrm>
            <a:off x="6089890" y="4286436"/>
            <a:ext cx="2592000" cy="1260000"/>
          </a:xfrm>
        </p:spPr>
        <p:txBody>
          <a:bodyPr>
            <a:noAutofit/>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44" name="Textplatzhalter 9">
            <a:extLst>
              <a:ext uri="{FF2B5EF4-FFF2-40B4-BE49-F238E27FC236}">
                <a16:creationId xmlns:a16="http://schemas.microsoft.com/office/drawing/2014/main" id="{EAE68F70-AC7C-4C69-909E-0EB86A133092}"/>
              </a:ext>
            </a:extLst>
          </p:cNvPr>
          <p:cNvSpPr>
            <a:spLocks noGrp="1"/>
          </p:cNvSpPr>
          <p:nvPr>
            <p:ph type="body" sz="quarter" idx="43"/>
          </p:nvPr>
        </p:nvSpPr>
        <p:spPr>
          <a:xfrm>
            <a:off x="8976608" y="4286436"/>
            <a:ext cx="2592000" cy="12600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23" name="TextBox 22">
            <a:extLst>
              <a:ext uri="{FF2B5EF4-FFF2-40B4-BE49-F238E27FC236}">
                <a16:creationId xmlns:a16="http://schemas.microsoft.com/office/drawing/2014/main" id="{D53FCFC9-7E7A-4831-AB34-EEC5E1AF687F}"/>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368440393"/>
      </p:ext>
    </p:extLst>
  </p:cSld>
  <p:clrMapOvr>
    <a:masterClrMapping/>
  </p:clrMapOvr>
  <p:hf hdr="0"/>
  <p:extLst>
    <p:ext uri="{DCECCB84-F9BA-43D5-87BE-67443E8EF086}">
      <p15:sldGuideLst xmlns:p15="http://schemas.microsoft.com/office/powerpoint/2012/main">
        <p15:guide id="1" pos="1845">
          <p15:clr>
            <a:srgbClr val="5ACBF0"/>
          </p15:clr>
        </p15:guide>
        <p15:guide id="3" orient="horz" pos="873">
          <p15:clr>
            <a:srgbClr val="5ACBF0"/>
          </p15:clr>
        </p15:guide>
        <p15:guide id="4" pos="2030">
          <p15:clr>
            <a:srgbClr val="5ACBF0"/>
          </p15:clr>
        </p15:guide>
        <p15:guide id="5" pos="3665">
          <p15:clr>
            <a:srgbClr val="5ACBF0"/>
          </p15:clr>
        </p15:guide>
        <p15:guide id="6" pos="3836">
          <p15:clr>
            <a:srgbClr val="5ACBF0"/>
          </p15:clr>
        </p15:guide>
        <p15:guide id="7" pos="5469">
          <p15:clr>
            <a:srgbClr val="5ACBF0"/>
          </p15:clr>
        </p15:guide>
        <p15:guide id="8" pos="5654">
          <p15:clr>
            <a:srgbClr val="5ACBF0"/>
          </p15:clr>
        </p15:guide>
        <p15:guide id="9" orient="horz" pos="709">
          <p15:clr>
            <a:srgbClr val="5ACBF0"/>
          </p15:clr>
        </p15:guide>
        <p15:guide id="10" pos="7287">
          <p15:clr>
            <a:srgbClr val="5ACBF0"/>
          </p15:clr>
        </p15:guide>
        <p15:guide id="11" pos="211">
          <p15:clr>
            <a:srgbClr val="C35EA4"/>
          </p15:clr>
        </p15:guide>
        <p15:guide id="12" orient="horz" pos="2210">
          <p15:clr>
            <a:srgbClr val="5ACBF0"/>
          </p15:clr>
        </p15:guide>
        <p15:guide id="14" orient="horz" pos="237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ombstone 2" preserve="1" userDrawn="1">
  <p:cSld name="Tombsto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109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1488"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p>
            <a:fld id="{4CB3D5B7-2CC9-4650-8CBD-8D7C36AE40D2}"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53" name="Textplatzhalter 9">
            <a:extLst>
              <a:ext uri="{FF2B5EF4-FFF2-40B4-BE49-F238E27FC236}">
                <a16:creationId xmlns:a16="http://schemas.microsoft.com/office/drawing/2014/main" id="{AFE6A5B6-919E-4CA1-AFDF-AA56D9793B3F}"/>
              </a:ext>
            </a:extLst>
          </p:cNvPr>
          <p:cNvSpPr>
            <a:spLocks noGrp="1"/>
          </p:cNvSpPr>
          <p:nvPr>
            <p:ph type="body" sz="quarter" idx="18"/>
          </p:nvPr>
        </p:nvSpPr>
        <p:spPr>
          <a:xfrm>
            <a:off x="334963" y="2173218"/>
            <a:ext cx="2592000" cy="10332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54" name="Textplatzhalter 9">
            <a:extLst>
              <a:ext uri="{FF2B5EF4-FFF2-40B4-BE49-F238E27FC236}">
                <a16:creationId xmlns:a16="http://schemas.microsoft.com/office/drawing/2014/main" id="{4AA48D18-F69A-4E11-959A-E1AE4582F8EC}"/>
              </a:ext>
            </a:extLst>
          </p:cNvPr>
          <p:cNvSpPr>
            <a:spLocks noGrp="1"/>
          </p:cNvSpPr>
          <p:nvPr>
            <p:ph type="body" sz="quarter" idx="20"/>
          </p:nvPr>
        </p:nvSpPr>
        <p:spPr>
          <a:xfrm>
            <a:off x="3224063" y="2173218"/>
            <a:ext cx="2592000" cy="10332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55" name="Textplatzhalter 9">
            <a:extLst>
              <a:ext uri="{FF2B5EF4-FFF2-40B4-BE49-F238E27FC236}">
                <a16:creationId xmlns:a16="http://schemas.microsoft.com/office/drawing/2014/main" id="{B7FF011F-B585-4CC2-B6FE-0E124934571C}"/>
              </a:ext>
            </a:extLst>
          </p:cNvPr>
          <p:cNvSpPr>
            <a:spLocks noGrp="1"/>
          </p:cNvSpPr>
          <p:nvPr>
            <p:ph type="body" sz="quarter" idx="22"/>
          </p:nvPr>
        </p:nvSpPr>
        <p:spPr>
          <a:xfrm>
            <a:off x="6089890" y="2173443"/>
            <a:ext cx="2592000" cy="10332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56" name="Textplatzhalter 9">
            <a:extLst>
              <a:ext uri="{FF2B5EF4-FFF2-40B4-BE49-F238E27FC236}">
                <a16:creationId xmlns:a16="http://schemas.microsoft.com/office/drawing/2014/main" id="{9DA70237-CA76-493D-A6A1-B0E1B4DFB7DA}"/>
              </a:ext>
            </a:extLst>
          </p:cNvPr>
          <p:cNvSpPr>
            <a:spLocks noGrp="1"/>
          </p:cNvSpPr>
          <p:nvPr>
            <p:ph type="body" sz="quarter" idx="24"/>
          </p:nvPr>
        </p:nvSpPr>
        <p:spPr>
          <a:xfrm>
            <a:off x="8976608" y="2180094"/>
            <a:ext cx="2592000" cy="10332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57" name="Textplatzhalter 7">
            <a:extLst>
              <a:ext uri="{FF2B5EF4-FFF2-40B4-BE49-F238E27FC236}">
                <a16:creationId xmlns:a16="http://schemas.microsoft.com/office/drawing/2014/main" id="{5F3A2500-A1A4-4D62-9230-98B9C7B540B2}"/>
              </a:ext>
            </a:extLst>
          </p:cNvPr>
          <p:cNvSpPr>
            <a:spLocks noGrp="1"/>
          </p:cNvSpPr>
          <p:nvPr>
            <p:ph type="body" sz="quarter" idx="21"/>
          </p:nvPr>
        </p:nvSpPr>
        <p:spPr>
          <a:xfrm>
            <a:off x="334963" y="1809369"/>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58" name="Textplatzhalter 7">
            <a:extLst>
              <a:ext uri="{FF2B5EF4-FFF2-40B4-BE49-F238E27FC236}">
                <a16:creationId xmlns:a16="http://schemas.microsoft.com/office/drawing/2014/main" id="{9D63A3A9-C2E8-4225-8457-F5627F439D85}"/>
              </a:ext>
            </a:extLst>
          </p:cNvPr>
          <p:cNvSpPr>
            <a:spLocks noGrp="1"/>
          </p:cNvSpPr>
          <p:nvPr>
            <p:ph type="body" sz="quarter" idx="25"/>
          </p:nvPr>
        </p:nvSpPr>
        <p:spPr>
          <a:xfrm>
            <a:off x="3224063" y="1809369"/>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59" name="Textplatzhalter 7">
            <a:extLst>
              <a:ext uri="{FF2B5EF4-FFF2-40B4-BE49-F238E27FC236}">
                <a16:creationId xmlns:a16="http://schemas.microsoft.com/office/drawing/2014/main" id="{692202C8-BFEF-4B46-AEC9-D4158C472A83}"/>
              </a:ext>
            </a:extLst>
          </p:cNvPr>
          <p:cNvSpPr>
            <a:spLocks noGrp="1"/>
          </p:cNvSpPr>
          <p:nvPr>
            <p:ph type="body" sz="quarter" idx="26"/>
          </p:nvPr>
        </p:nvSpPr>
        <p:spPr>
          <a:xfrm>
            <a:off x="6089890" y="1809369"/>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68" name="Textplatzhalter 7">
            <a:extLst>
              <a:ext uri="{FF2B5EF4-FFF2-40B4-BE49-F238E27FC236}">
                <a16:creationId xmlns:a16="http://schemas.microsoft.com/office/drawing/2014/main" id="{48604119-EE92-4D99-A5B3-24C93C53CBC7}"/>
              </a:ext>
            </a:extLst>
          </p:cNvPr>
          <p:cNvSpPr>
            <a:spLocks noGrp="1"/>
          </p:cNvSpPr>
          <p:nvPr>
            <p:ph type="body" sz="quarter" idx="27"/>
          </p:nvPr>
        </p:nvSpPr>
        <p:spPr>
          <a:xfrm>
            <a:off x="8976608" y="1809369"/>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69" name="Textplatzhalter 7">
            <a:extLst>
              <a:ext uri="{FF2B5EF4-FFF2-40B4-BE49-F238E27FC236}">
                <a16:creationId xmlns:a16="http://schemas.microsoft.com/office/drawing/2014/main" id="{BD09FB6D-69A0-4714-A7CD-16AC3D67EBAA}"/>
              </a:ext>
            </a:extLst>
          </p:cNvPr>
          <p:cNvSpPr>
            <a:spLocks noGrp="1"/>
          </p:cNvSpPr>
          <p:nvPr>
            <p:ph type="body" sz="quarter" idx="60"/>
          </p:nvPr>
        </p:nvSpPr>
        <p:spPr>
          <a:xfrm>
            <a:off x="334963" y="4553594"/>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70" name="Textplatzhalter 7">
            <a:extLst>
              <a:ext uri="{FF2B5EF4-FFF2-40B4-BE49-F238E27FC236}">
                <a16:creationId xmlns:a16="http://schemas.microsoft.com/office/drawing/2014/main" id="{D85EF8B6-278B-444D-B2F9-8F1399577520}"/>
              </a:ext>
            </a:extLst>
          </p:cNvPr>
          <p:cNvSpPr>
            <a:spLocks noGrp="1"/>
          </p:cNvSpPr>
          <p:nvPr>
            <p:ph type="body" sz="quarter" idx="61"/>
          </p:nvPr>
        </p:nvSpPr>
        <p:spPr>
          <a:xfrm>
            <a:off x="3224063" y="4553594"/>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71" name="Textplatzhalter 7">
            <a:extLst>
              <a:ext uri="{FF2B5EF4-FFF2-40B4-BE49-F238E27FC236}">
                <a16:creationId xmlns:a16="http://schemas.microsoft.com/office/drawing/2014/main" id="{1FBAE429-4519-42DA-9F62-CECCB331576E}"/>
              </a:ext>
            </a:extLst>
          </p:cNvPr>
          <p:cNvSpPr>
            <a:spLocks noGrp="1"/>
          </p:cNvSpPr>
          <p:nvPr>
            <p:ph type="body" sz="quarter" idx="62"/>
          </p:nvPr>
        </p:nvSpPr>
        <p:spPr>
          <a:xfrm>
            <a:off x="6089890" y="4553594"/>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72" name="Textplatzhalter 7">
            <a:extLst>
              <a:ext uri="{FF2B5EF4-FFF2-40B4-BE49-F238E27FC236}">
                <a16:creationId xmlns:a16="http://schemas.microsoft.com/office/drawing/2014/main" id="{E1C72F8E-7D9E-4FE7-86EF-28EB90B0A80A}"/>
              </a:ext>
            </a:extLst>
          </p:cNvPr>
          <p:cNvSpPr>
            <a:spLocks noGrp="1"/>
          </p:cNvSpPr>
          <p:nvPr>
            <p:ph type="body" sz="quarter" idx="63"/>
          </p:nvPr>
        </p:nvSpPr>
        <p:spPr>
          <a:xfrm>
            <a:off x="8976608" y="4553594"/>
            <a:ext cx="2592000" cy="397347"/>
          </a:xfrm>
        </p:spPr>
        <p:txBody>
          <a:bodyPr lIns="0" bIns="72000" anchor="b" anchorCtr="0"/>
          <a:lstStyle>
            <a:lvl1pPr marL="0" indent="0">
              <a:lnSpc>
                <a:spcPct val="100000"/>
              </a:lnSpc>
              <a:spcBef>
                <a:spcPts val="0"/>
              </a:spcBef>
              <a:buNone/>
              <a:defRPr lang="de-DE" sz="10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Mastertextformat</a:t>
            </a:r>
            <a:r>
              <a:rPr lang="en-US" dirty="0"/>
              <a:t> </a:t>
            </a:r>
            <a:r>
              <a:rPr lang="en-US" dirty="0" err="1"/>
              <a:t>bearbeiten</a:t>
            </a:r>
            <a:endParaRPr lang="en-US" dirty="0"/>
          </a:p>
        </p:txBody>
      </p:sp>
      <p:sp>
        <p:nvSpPr>
          <p:cNvPr id="73" name="Textplatzhalter 9">
            <a:extLst>
              <a:ext uri="{FF2B5EF4-FFF2-40B4-BE49-F238E27FC236}">
                <a16:creationId xmlns:a16="http://schemas.microsoft.com/office/drawing/2014/main" id="{C0F5D9F1-51D5-4994-A591-22E5AA65093E}"/>
              </a:ext>
            </a:extLst>
          </p:cNvPr>
          <p:cNvSpPr>
            <a:spLocks noGrp="1"/>
          </p:cNvSpPr>
          <p:nvPr>
            <p:ph type="body" sz="quarter" idx="40"/>
          </p:nvPr>
        </p:nvSpPr>
        <p:spPr>
          <a:xfrm>
            <a:off x="334963" y="4915654"/>
            <a:ext cx="2592000" cy="10332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74" name="Textplatzhalter 9">
            <a:extLst>
              <a:ext uri="{FF2B5EF4-FFF2-40B4-BE49-F238E27FC236}">
                <a16:creationId xmlns:a16="http://schemas.microsoft.com/office/drawing/2014/main" id="{F8EF1E1E-9A0C-4C8C-9BC8-8264F60C5758}"/>
              </a:ext>
            </a:extLst>
          </p:cNvPr>
          <p:cNvSpPr>
            <a:spLocks noGrp="1"/>
          </p:cNvSpPr>
          <p:nvPr>
            <p:ph type="body" sz="quarter" idx="41"/>
          </p:nvPr>
        </p:nvSpPr>
        <p:spPr>
          <a:xfrm>
            <a:off x="3224063" y="4915654"/>
            <a:ext cx="2592000" cy="1033200"/>
          </a:xfrm>
        </p:spPr>
        <p:txBody>
          <a:bodyPr>
            <a:noAutofit/>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75" name="Textplatzhalter 9">
            <a:extLst>
              <a:ext uri="{FF2B5EF4-FFF2-40B4-BE49-F238E27FC236}">
                <a16:creationId xmlns:a16="http://schemas.microsoft.com/office/drawing/2014/main" id="{F4C7E2A3-CE61-4D65-B7A1-65CE2219512D}"/>
              </a:ext>
            </a:extLst>
          </p:cNvPr>
          <p:cNvSpPr>
            <a:spLocks noGrp="1"/>
          </p:cNvSpPr>
          <p:nvPr>
            <p:ph type="body" sz="quarter" idx="42"/>
          </p:nvPr>
        </p:nvSpPr>
        <p:spPr>
          <a:xfrm>
            <a:off x="6089890" y="4915654"/>
            <a:ext cx="2592000" cy="10332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76" name="Textplatzhalter 9">
            <a:extLst>
              <a:ext uri="{FF2B5EF4-FFF2-40B4-BE49-F238E27FC236}">
                <a16:creationId xmlns:a16="http://schemas.microsoft.com/office/drawing/2014/main" id="{A342ADD8-E38A-44E3-A75A-54E47C55B55C}"/>
              </a:ext>
            </a:extLst>
          </p:cNvPr>
          <p:cNvSpPr>
            <a:spLocks noGrp="1"/>
          </p:cNvSpPr>
          <p:nvPr>
            <p:ph type="body" sz="quarter" idx="43"/>
          </p:nvPr>
        </p:nvSpPr>
        <p:spPr>
          <a:xfrm>
            <a:off x="8976608" y="4915654"/>
            <a:ext cx="2592000" cy="1033200"/>
          </a:xfrm>
        </p:spPr>
        <p:txBody>
          <a:bodyPr/>
          <a:lstStyle>
            <a:lvl1pPr marL="0" indent="0">
              <a:spcBef>
                <a:spcPts val="0"/>
              </a:spcBef>
              <a:buNone/>
              <a:defRPr sz="1400"/>
            </a:lvl1pPr>
            <a:lvl2pPr marL="230400" indent="0">
              <a:buNone/>
              <a:defRPr/>
            </a:lvl2pPr>
            <a:lvl3pPr marL="462600" indent="0">
              <a:buNone/>
              <a:defRPr/>
            </a:lvl3pPr>
            <a:lvl4pPr marL="693000" indent="0">
              <a:buNone/>
              <a:defRPr/>
            </a:lvl4pPr>
            <a:lvl5pPr marL="923400" indent="0">
              <a:buNone/>
              <a:defRPr/>
            </a:lvl5pPr>
          </a:lstStyle>
          <a:p>
            <a:pPr lvl="0"/>
            <a:r>
              <a:rPr lang="en-US" dirty="0" err="1"/>
              <a:t>Mastertextformat</a:t>
            </a:r>
            <a:r>
              <a:rPr lang="en-US" dirty="0"/>
              <a:t> </a:t>
            </a:r>
            <a:r>
              <a:rPr lang="en-US" dirty="0" err="1"/>
              <a:t>bearbeiten</a:t>
            </a:r>
            <a:endParaRPr lang="en-US" dirty="0"/>
          </a:p>
        </p:txBody>
      </p:sp>
      <p:sp>
        <p:nvSpPr>
          <p:cNvPr id="23" name="TextBox 22">
            <a:extLst>
              <a:ext uri="{FF2B5EF4-FFF2-40B4-BE49-F238E27FC236}">
                <a16:creationId xmlns:a16="http://schemas.microsoft.com/office/drawing/2014/main" id="{7E9CCBBE-400E-46E7-8AFC-63A1EB4D6569}"/>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877276886"/>
      </p:ext>
    </p:extLst>
  </p:cSld>
  <p:clrMapOvr>
    <a:masterClrMapping/>
  </p:clrMapOvr>
  <p:hf hdr="0"/>
  <p:extLst>
    <p:ext uri="{DCECCB84-F9BA-43D5-87BE-67443E8EF086}">
      <p15:sldGuideLst xmlns:p15="http://schemas.microsoft.com/office/powerpoint/2012/main">
        <p15:guide id="1" pos="211">
          <p15:clr>
            <a:srgbClr val="5ACBF0"/>
          </p15:clr>
        </p15:guide>
        <p15:guide id="3" pos="1847">
          <p15:clr>
            <a:srgbClr val="5ACBF0"/>
          </p15:clr>
        </p15:guide>
        <p15:guide id="4" pos="3665">
          <p15:clr>
            <a:srgbClr val="5ACBF0"/>
          </p15:clr>
        </p15:guide>
        <p15:guide id="5" pos="2030">
          <p15:clr>
            <a:srgbClr val="5ACBF0"/>
          </p15:clr>
        </p15:guide>
        <p15:guide id="6" pos="3836">
          <p15:clr>
            <a:srgbClr val="5ACBF0"/>
          </p15:clr>
        </p15:guide>
        <p15:guide id="7" pos="5469">
          <p15:clr>
            <a:srgbClr val="5ACBF0"/>
          </p15:clr>
        </p15:guide>
        <p15:guide id="8" pos="5654">
          <p15:clr>
            <a:srgbClr val="5ACBF0"/>
          </p15:clr>
        </p15:guide>
        <p15:guide id="10" orient="horz" pos="709">
          <p15:clr>
            <a:srgbClr val="5ACBF0"/>
          </p15:clr>
        </p15:guide>
        <p15:guide id="12" orient="horz" pos="2439">
          <p15:clr>
            <a:srgbClr val="5ACBF0"/>
          </p15:clr>
        </p15:guide>
        <p15:guide id="15" orient="horz" pos="876">
          <p15:clr>
            <a:srgbClr val="5ACBF0"/>
          </p15:clr>
        </p15:guide>
        <p15:guide id="16" orient="horz" pos="926">
          <p15:clr>
            <a:srgbClr val="5ACBF0"/>
          </p15:clr>
        </p15:guide>
        <p15:guide id="17" orient="horz" pos="1092">
          <p15:clr>
            <a:srgbClr val="5ACBF0"/>
          </p15:clr>
        </p15:guide>
        <p15:guide id="18" orient="horz" pos="2606">
          <p15:clr>
            <a:srgbClr val="5ACBF0"/>
          </p15:clr>
        </p15:guide>
        <p15:guide id="19" orient="horz" pos="2655">
          <p15:clr>
            <a:srgbClr val="5ACBF0"/>
          </p15:clr>
        </p15:guide>
        <p15:guide id="20" orient="horz" pos="282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eam" preserve="1" userDrawn="1">
  <p:cSld name="Team">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003EA353-F64A-425E-88C2-CF325915D950}"/>
              </a:ext>
            </a:extLst>
          </p:cNvPr>
          <p:cNvSpPr>
            <a:spLocks noGrp="1"/>
          </p:cNvSpPr>
          <p:nvPr>
            <p:ph type="pic" sz="quarter" idx="20" hasCustomPrompt="1"/>
          </p:nvPr>
        </p:nvSpPr>
        <p:spPr>
          <a:xfrm>
            <a:off x="6802627" y="1166050"/>
            <a:ext cx="936104" cy="936326"/>
          </a:xfrm>
          <a:prstGeom prst="flowChartConnector">
            <a:avLst/>
          </a:prstGeom>
          <a:solidFill>
            <a:schemeClr val="bg1">
              <a:lumMod val="95000"/>
            </a:schemeClr>
          </a:solidFill>
        </p:spPr>
        <p:txBody>
          <a:bodyPr/>
          <a:lstStyle>
            <a:lvl1pPr marL="0" indent="0" algn="ctr">
              <a:buNone/>
              <a:defRPr sz="900"/>
            </a:lvl1pPr>
          </a:lstStyle>
          <a:p>
            <a:r>
              <a:rPr lang="en-US" dirty="0"/>
              <a:t>Bild via Homburger-</a:t>
            </a:r>
            <a:r>
              <a:rPr lang="en-US" dirty="0" err="1"/>
              <a:t>Menü</a:t>
            </a:r>
            <a:r>
              <a:rPr lang="en-US" dirty="0"/>
              <a:t> </a:t>
            </a:r>
            <a:r>
              <a:rPr lang="en-US" dirty="0" err="1"/>
              <a:t>einfügen</a:t>
            </a:r>
            <a:endParaRPr lang="en-US" dirty="0"/>
          </a:p>
        </p:txBody>
      </p:sp>
      <p:sp>
        <p:nvSpPr>
          <p:cNvPr id="19" name="Title 1">
            <a:extLst>
              <a:ext uri="{FF2B5EF4-FFF2-40B4-BE49-F238E27FC236}">
                <a16:creationId xmlns:a16="http://schemas.microsoft.com/office/drawing/2014/main" id="{9971AAFF-580F-4852-94F4-C6F21B6C563D}"/>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21" name="Subtitle 2">
            <a:extLst>
              <a:ext uri="{FF2B5EF4-FFF2-40B4-BE49-F238E27FC236}">
                <a16:creationId xmlns:a16="http://schemas.microsoft.com/office/drawing/2014/main" id="{4FAB923C-AA0B-4DA0-8F18-132D60F62669}"/>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22" name="Foliennummernplatzhalter 2">
            <a:extLst>
              <a:ext uri="{FF2B5EF4-FFF2-40B4-BE49-F238E27FC236}">
                <a16:creationId xmlns:a16="http://schemas.microsoft.com/office/drawing/2014/main" id="{0255E5FC-CDCB-42FC-A077-91F9146EF795}"/>
              </a:ext>
            </a:extLst>
          </p:cNvPr>
          <p:cNvSpPr>
            <a:spLocks noGrp="1"/>
          </p:cNvSpPr>
          <p:nvPr>
            <p:ph type="sldNum" sz="quarter" idx="16"/>
          </p:nvPr>
        </p:nvSpPr>
        <p:spPr>
          <a:xfrm>
            <a:off x="11424592" y="6453336"/>
            <a:ext cx="438944" cy="180000"/>
          </a:xfrm>
        </p:spPr>
        <p:txBody>
          <a:bodyPr/>
          <a:lstStyle>
            <a:lvl1pPr>
              <a:defRPr>
                <a:solidFill>
                  <a:schemeClr val="tx1"/>
                </a:solidFill>
              </a:defRPr>
            </a:lvl1pPr>
          </a:lstStyle>
          <a:p>
            <a:fld id="{636DB641-3E42-43B9-8759-3132EE8B97A8}" type="slidenum">
              <a:rPr lang="en-US" smtClean="0"/>
              <a:pPr/>
              <a:t>‹Nr.›</a:t>
            </a:fld>
            <a:endParaRPr lang="en-US" dirty="0"/>
          </a:p>
        </p:txBody>
      </p:sp>
      <p:sp>
        <p:nvSpPr>
          <p:cNvPr id="23" name="Datumsplatzhalter 3">
            <a:extLst>
              <a:ext uri="{FF2B5EF4-FFF2-40B4-BE49-F238E27FC236}">
                <a16:creationId xmlns:a16="http://schemas.microsoft.com/office/drawing/2014/main" id="{500921E9-9945-4F06-9221-D41452485AA6}"/>
              </a:ext>
            </a:extLst>
          </p:cNvPr>
          <p:cNvSpPr>
            <a:spLocks noGrp="1"/>
          </p:cNvSpPr>
          <p:nvPr>
            <p:ph type="dt" sz="half" idx="17"/>
          </p:nvPr>
        </p:nvSpPr>
        <p:spPr>
          <a:xfrm>
            <a:off x="335538" y="6487478"/>
            <a:ext cx="2880320" cy="133264"/>
          </a:xfrm>
        </p:spPr>
        <p:txBody>
          <a:bodyPr/>
          <a:lstStyle>
            <a:lvl1pPr>
              <a:defRPr>
                <a:solidFill>
                  <a:srgbClr val="969696"/>
                </a:solidFill>
              </a:defRPr>
            </a:lvl1pPr>
          </a:lstStyle>
          <a:p>
            <a:r>
              <a:rPr lang="en-US"/>
              <a:t>September 15-16, 2022</a:t>
            </a:r>
            <a:endParaRPr lang="en-US" dirty="0"/>
          </a:p>
        </p:txBody>
      </p:sp>
      <p:sp>
        <p:nvSpPr>
          <p:cNvPr id="34" name="Text Placeholder 12">
            <a:extLst>
              <a:ext uri="{FF2B5EF4-FFF2-40B4-BE49-F238E27FC236}">
                <a16:creationId xmlns:a16="http://schemas.microsoft.com/office/drawing/2014/main" id="{DCAE8430-8FA9-4C5E-8031-2FB640A09C5D}"/>
              </a:ext>
            </a:extLst>
          </p:cNvPr>
          <p:cNvSpPr>
            <a:spLocks noGrp="1"/>
          </p:cNvSpPr>
          <p:nvPr>
            <p:ph type="body" sz="quarter" idx="15"/>
          </p:nvPr>
        </p:nvSpPr>
        <p:spPr>
          <a:xfrm>
            <a:off x="8008752" y="1289079"/>
            <a:ext cx="3559361" cy="792529"/>
          </a:xfrm>
        </p:spPr>
        <p:txBody>
          <a:bodyPr/>
          <a:lstStyle>
            <a:lvl1pPr marL="0" indent="0">
              <a:lnSpc>
                <a:spcPct val="122000"/>
              </a:lnSpc>
              <a:spcBef>
                <a:spcPts val="0"/>
              </a:spcBef>
              <a:buNone/>
              <a:defRPr sz="1200" b="0"/>
            </a:lvl1pPr>
          </a:lstStyle>
          <a:p>
            <a:pPr lvl="0"/>
            <a:r>
              <a:rPr lang="en-US" dirty="0" err="1"/>
              <a:t>Mastertextformat</a:t>
            </a:r>
            <a:r>
              <a:rPr lang="en-US" dirty="0"/>
              <a:t> </a:t>
            </a:r>
            <a:r>
              <a:rPr lang="en-US" dirty="0" err="1"/>
              <a:t>bearbeiten</a:t>
            </a:r>
            <a:endParaRPr lang="en-US" dirty="0"/>
          </a:p>
        </p:txBody>
      </p:sp>
      <p:sp>
        <p:nvSpPr>
          <p:cNvPr id="18" name="Text Placeholder 12">
            <a:extLst>
              <a:ext uri="{FF2B5EF4-FFF2-40B4-BE49-F238E27FC236}">
                <a16:creationId xmlns:a16="http://schemas.microsoft.com/office/drawing/2014/main" id="{87184ACD-ECF1-4A9B-8FAA-3AF8FE908F8A}"/>
              </a:ext>
            </a:extLst>
          </p:cNvPr>
          <p:cNvSpPr>
            <a:spLocks noGrp="1"/>
          </p:cNvSpPr>
          <p:nvPr>
            <p:ph type="body" sz="quarter" idx="21"/>
          </p:nvPr>
        </p:nvSpPr>
        <p:spPr>
          <a:xfrm>
            <a:off x="8008752" y="2430827"/>
            <a:ext cx="3559361" cy="792529"/>
          </a:xfrm>
        </p:spPr>
        <p:txBody>
          <a:bodyPr/>
          <a:lstStyle>
            <a:lvl1pPr marL="0" indent="0">
              <a:lnSpc>
                <a:spcPct val="122000"/>
              </a:lnSpc>
              <a:spcBef>
                <a:spcPts val="0"/>
              </a:spcBef>
              <a:buNone/>
              <a:defRPr sz="1200" b="0"/>
            </a:lvl1pPr>
          </a:lstStyle>
          <a:p>
            <a:pPr lvl="0"/>
            <a:r>
              <a:rPr lang="en-US" dirty="0" err="1"/>
              <a:t>Mastertextformat</a:t>
            </a:r>
            <a:r>
              <a:rPr lang="en-US" dirty="0"/>
              <a:t> </a:t>
            </a:r>
            <a:r>
              <a:rPr lang="en-US" dirty="0" err="1"/>
              <a:t>bearbeiten</a:t>
            </a:r>
            <a:endParaRPr lang="en-US" dirty="0"/>
          </a:p>
        </p:txBody>
      </p:sp>
      <p:sp>
        <p:nvSpPr>
          <p:cNvPr id="20" name="Text Placeholder 12">
            <a:extLst>
              <a:ext uri="{FF2B5EF4-FFF2-40B4-BE49-F238E27FC236}">
                <a16:creationId xmlns:a16="http://schemas.microsoft.com/office/drawing/2014/main" id="{D96B15FE-FE3D-4936-B0FD-B1F7E86158AA}"/>
              </a:ext>
            </a:extLst>
          </p:cNvPr>
          <p:cNvSpPr>
            <a:spLocks noGrp="1"/>
          </p:cNvSpPr>
          <p:nvPr>
            <p:ph type="body" sz="quarter" idx="22"/>
          </p:nvPr>
        </p:nvSpPr>
        <p:spPr>
          <a:xfrm>
            <a:off x="8008752" y="3572575"/>
            <a:ext cx="3559361" cy="792529"/>
          </a:xfrm>
        </p:spPr>
        <p:txBody>
          <a:bodyPr/>
          <a:lstStyle>
            <a:lvl1pPr marL="0" indent="0">
              <a:lnSpc>
                <a:spcPct val="122000"/>
              </a:lnSpc>
              <a:spcBef>
                <a:spcPts val="0"/>
              </a:spcBef>
              <a:buNone/>
              <a:defRPr sz="1200" b="0"/>
            </a:lvl1pPr>
          </a:lstStyle>
          <a:p>
            <a:pPr lvl="0"/>
            <a:r>
              <a:rPr lang="en-US" dirty="0" err="1"/>
              <a:t>Mastertextformat</a:t>
            </a:r>
            <a:r>
              <a:rPr lang="en-US" dirty="0"/>
              <a:t> </a:t>
            </a:r>
            <a:r>
              <a:rPr lang="en-US" dirty="0" err="1"/>
              <a:t>bearbeiten</a:t>
            </a:r>
            <a:endParaRPr lang="en-US" dirty="0"/>
          </a:p>
        </p:txBody>
      </p:sp>
      <p:sp>
        <p:nvSpPr>
          <p:cNvPr id="35" name="Bildplatzhalter 4">
            <a:extLst>
              <a:ext uri="{FF2B5EF4-FFF2-40B4-BE49-F238E27FC236}">
                <a16:creationId xmlns:a16="http://schemas.microsoft.com/office/drawing/2014/main" id="{358506B2-73A8-4120-A32D-4583CEBFF258}"/>
              </a:ext>
            </a:extLst>
          </p:cNvPr>
          <p:cNvSpPr>
            <a:spLocks noGrp="1"/>
          </p:cNvSpPr>
          <p:nvPr>
            <p:ph type="pic" sz="quarter" idx="23" hasCustomPrompt="1"/>
          </p:nvPr>
        </p:nvSpPr>
        <p:spPr>
          <a:xfrm>
            <a:off x="6802627" y="2297414"/>
            <a:ext cx="936104" cy="936326"/>
          </a:xfrm>
          <a:prstGeom prst="flowChartConnector">
            <a:avLst/>
          </a:prstGeom>
          <a:solidFill>
            <a:schemeClr val="bg1">
              <a:lumMod val="95000"/>
            </a:schemeClr>
          </a:solidFill>
        </p:spPr>
        <p:txBody>
          <a:bodyPr/>
          <a:lstStyle>
            <a:lvl1pPr marL="0" indent="0" algn="ctr">
              <a:buNone/>
              <a:defRPr sz="900"/>
            </a:lvl1pPr>
          </a:lstStyle>
          <a:p>
            <a:r>
              <a:rPr lang="en-US" dirty="0"/>
              <a:t>Bild via Homburger-</a:t>
            </a:r>
            <a:r>
              <a:rPr lang="en-US" dirty="0" err="1"/>
              <a:t>Menü</a:t>
            </a:r>
            <a:r>
              <a:rPr lang="en-US" dirty="0"/>
              <a:t> </a:t>
            </a:r>
            <a:r>
              <a:rPr lang="en-US" dirty="0" err="1"/>
              <a:t>einfügen</a:t>
            </a:r>
            <a:endParaRPr lang="en-US" dirty="0"/>
          </a:p>
        </p:txBody>
      </p:sp>
      <p:sp>
        <p:nvSpPr>
          <p:cNvPr id="36" name="Bildplatzhalter 4">
            <a:extLst>
              <a:ext uri="{FF2B5EF4-FFF2-40B4-BE49-F238E27FC236}">
                <a16:creationId xmlns:a16="http://schemas.microsoft.com/office/drawing/2014/main" id="{1FCEF19B-2507-4FCF-A99F-8F05523759D5}"/>
              </a:ext>
            </a:extLst>
          </p:cNvPr>
          <p:cNvSpPr>
            <a:spLocks noGrp="1"/>
          </p:cNvSpPr>
          <p:nvPr>
            <p:ph type="pic" sz="quarter" idx="24" hasCustomPrompt="1"/>
          </p:nvPr>
        </p:nvSpPr>
        <p:spPr>
          <a:xfrm>
            <a:off x="6802627" y="3428778"/>
            <a:ext cx="936104" cy="936326"/>
          </a:xfrm>
          <a:prstGeom prst="flowChartConnector">
            <a:avLst/>
          </a:prstGeom>
          <a:solidFill>
            <a:schemeClr val="bg1">
              <a:lumMod val="95000"/>
            </a:schemeClr>
          </a:solidFill>
        </p:spPr>
        <p:txBody>
          <a:bodyPr/>
          <a:lstStyle>
            <a:lvl1pPr marL="0" marR="0" indent="0" algn="ctr" defTabSz="914400" rtl="0" eaLnBrk="1" fontAlgn="auto" latinLnBrk="0" hangingPunct="1">
              <a:lnSpc>
                <a:spcPct val="122000"/>
              </a:lnSpc>
              <a:spcBef>
                <a:spcPts val="400"/>
              </a:spcBef>
              <a:spcAft>
                <a:spcPts val="0"/>
              </a:spcAft>
              <a:buClrTx/>
              <a:buSzTx/>
              <a:buFont typeface="Aktiv Grotesk Homburger" panose="020B0404020202020204" pitchFamily="34" charset="0"/>
              <a:buNone/>
              <a:tabLst/>
              <a:defRPr sz="900"/>
            </a:lvl1pPr>
          </a:lstStyle>
          <a:p>
            <a:pPr marL="0" marR="0" lvl="0" indent="0" algn="ctr" defTabSz="914400" rtl="0" eaLnBrk="1" fontAlgn="auto" latinLnBrk="0" hangingPunct="1">
              <a:lnSpc>
                <a:spcPct val="122000"/>
              </a:lnSpc>
              <a:spcBef>
                <a:spcPts val="400"/>
              </a:spcBef>
              <a:spcAft>
                <a:spcPts val="0"/>
              </a:spcAft>
              <a:buClrTx/>
              <a:buSzTx/>
              <a:buFont typeface="Aktiv Grotesk Homburger" panose="020B0404020202020204" pitchFamily="34" charset="0"/>
              <a:buNone/>
              <a:tabLst/>
              <a:defRPr/>
            </a:pPr>
            <a:r>
              <a:rPr lang="en-US" dirty="0"/>
              <a:t>Bild via Homburger-</a:t>
            </a:r>
            <a:r>
              <a:rPr lang="en-US" dirty="0" err="1"/>
              <a:t>Menü</a:t>
            </a:r>
            <a:r>
              <a:rPr lang="en-US" dirty="0"/>
              <a:t> </a:t>
            </a:r>
            <a:r>
              <a:rPr lang="en-US" dirty="0" err="1"/>
              <a:t>einfügen</a:t>
            </a:r>
            <a:endParaRPr lang="en-US" dirty="0"/>
          </a:p>
        </p:txBody>
      </p:sp>
      <p:sp>
        <p:nvSpPr>
          <p:cNvPr id="38" name="Content Placeholder 3">
            <a:extLst>
              <a:ext uri="{FF2B5EF4-FFF2-40B4-BE49-F238E27FC236}">
                <a16:creationId xmlns:a16="http://schemas.microsoft.com/office/drawing/2014/main" id="{1F227182-8632-4ABE-9614-5B01C85E8C13}"/>
              </a:ext>
            </a:extLst>
          </p:cNvPr>
          <p:cNvSpPr>
            <a:spLocks noGrp="1"/>
          </p:cNvSpPr>
          <p:nvPr>
            <p:ph sz="half" idx="25"/>
          </p:nvPr>
        </p:nvSpPr>
        <p:spPr>
          <a:xfrm>
            <a:off x="335360" y="1916113"/>
            <a:ext cx="3600053" cy="3313163"/>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2" name="TextBox 1">
            <a:extLst>
              <a:ext uri="{FF2B5EF4-FFF2-40B4-BE49-F238E27FC236}">
                <a16:creationId xmlns:a16="http://schemas.microsoft.com/office/drawing/2014/main" id="{A3964FE7-F06D-4787-B911-B48EEEBC7776}"/>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681607205"/>
      </p:ext>
    </p:extLst>
  </p:cSld>
  <p:clrMapOvr>
    <a:masterClrMapping/>
  </p:clrMapOvr>
  <p:hf hdr="0"/>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eam 2" preserve="1" userDrawn="1">
  <p:cSld name="Team 2">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003EA353-F64A-425E-88C2-CF325915D950}"/>
              </a:ext>
            </a:extLst>
          </p:cNvPr>
          <p:cNvSpPr>
            <a:spLocks noGrp="1" noChangeAspect="1"/>
          </p:cNvSpPr>
          <p:nvPr>
            <p:ph type="pic" sz="quarter" idx="20" hasCustomPrompt="1"/>
          </p:nvPr>
        </p:nvSpPr>
        <p:spPr>
          <a:xfrm>
            <a:off x="7039725" y="1143192"/>
            <a:ext cx="719831" cy="720000"/>
          </a:xfrm>
          <a:prstGeom prst="flowChartConnector">
            <a:avLst/>
          </a:prstGeom>
          <a:solidFill>
            <a:schemeClr val="bg1">
              <a:lumMod val="95000"/>
            </a:schemeClr>
          </a:solidFill>
        </p:spPr>
        <p:txBody>
          <a:bodyPr/>
          <a:lstStyle>
            <a:lvl1pPr marL="0" indent="0" algn="ctr">
              <a:buNone/>
              <a:defRPr sz="700"/>
            </a:lvl1pPr>
          </a:lstStyle>
          <a:p>
            <a:r>
              <a:rPr lang="en-US" dirty="0"/>
              <a:t>Bild via Homburger-</a:t>
            </a:r>
            <a:r>
              <a:rPr lang="en-US" dirty="0" err="1"/>
              <a:t>Menü</a:t>
            </a:r>
            <a:r>
              <a:rPr lang="en-US" dirty="0"/>
              <a:t> </a:t>
            </a:r>
            <a:r>
              <a:rPr lang="en-US" dirty="0" err="1"/>
              <a:t>einfügen</a:t>
            </a:r>
            <a:endParaRPr lang="en-US" dirty="0"/>
          </a:p>
        </p:txBody>
      </p:sp>
      <p:sp>
        <p:nvSpPr>
          <p:cNvPr id="19" name="Title 1">
            <a:extLst>
              <a:ext uri="{FF2B5EF4-FFF2-40B4-BE49-F238E27FC236}">
                <a16:creationId xmlns:a16="http://schemas.microsoft.com/office/drawing/2014/main" id="{9971AAFF-580F-4852-94F4-C6F21B6C563D}"/>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21" name="Subtitle 2">
            <a:extLst>
              <a:ext uri="{FF2B5EF4-FFF2-40B4-BE49-F238E27FC236}">
                <a16:creationId xmlns:a16="http://schemas.microsoft.com/office/drawing/2014/main" id="{4FAB923C-AA0B-4DA0-8F18-132D60F62669}"/>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22" name="Foliennummernplatzhalter 2">
            <a:extLst>
              <a:ext uri="{FF2B5EF4-FFF2-40B4-BE49-F238E27FC236}">
                <a16:creationId xmlns:a16="http://schemas.microsoft.com/office/drawing/2014/main" id="{0255E5FC-CDCB-42FC-A077-91F9146EF795}"/>
              </a:ext>
            </a:extLst>
          </p:cNvPr>
          <p:cNvSpPr>
            <a:spLocks noGrp="1"/>
          </p:cNvSpPr>
          <p:nvPr>
            <p:ph type="sldNum" sz="quarter" idx="16"/>
          </p:nvPr>
        </p:nvSpPr>
        <p:spPr>
          <a:xfrm>
            <a:off x="11424592" y="6453336"/>
            <a:ext cx="438944" cy="180000"/>
          </a:xfrm>
        </p:spPr>
        <p:txBody>
          <a:bodyPr/>
          <a:lstStyle>
            <a:lvl1pPr>
              <a:defRPr>
                <a:solidFill>
                  <a:schemeClr val="tx1"/>
                </a:solidFill>
              </a:defRPr>
            </a:lvl1pPr>
          </a:lstStyle>
          <a:p>
            <a:fld id="{CB56F652-9516-412E-B85C-4206471783F3}" type="slidenum">
              <a:rPr lang="en-US" smtClean="0"/>
              <a:pPr/>
              <a:t>‹Nr.›</a:t>
            </a:fld>
            <a:endParaRPr lang="en-US" dirty="0"/>
          </a:p>
        </p:txBody>
      </p:sp>
      <p:sp>
        <p:nvSpPr>
          <p:cNvPr id="23" name="Datumsplatzhalter 3">
            <a:extLst>
              <a:ext uri="{FF2B5EF4-FFF2-40B4-BE49-F238E27FC236}">
                <a16:creationId xmlns:a16="http://schemas.microsoft.com/office/drawing/2014/main" id="{500921E9-9945-4F06-9221-D41452485AA6}"/>
              </a:ext>
            </a:extLst>
          </p:cNvPr>
          <p:cNvSpPr>
            <a:spLocks noGrp="1"/>
          </p:cNvSpPr>
          <p:nvPr>
            <p:ph type="dt" sz="half" idx="17"/>
          </p:nvPr>
        </p:nvSpPr>
        <p:spPr>
          <a:xfrm>
            <a:off x="335538" y="6487478"/>
            <a:ext cx="2880320" cy="133264"/>
          </a:xfrm>
        </p:spPr>
        <p:txBody>
          <a:bodyPr/>
          <a:lstStyle>
            <a:lvl1pPr>
              <a:defRPr>
                <a:solidFill>
                  <a:srgbClr val="969696"/>
                </a:solidFill>
              </a:defRPr>
            </a:lvl1pPr>
          </a:lstStyle>
          <a:p>
            <a:r>
              <a:rPr lang="en-US"/>
              <a:t>September 15-16, 2022</a:t>
            </a:r>
            <a:endParaRPr lang="en-US" dirty="0"/>
          </a:p>
        </p:txBody>
      </p:sp>
      <p:sp>
        <p:nvSpPr>
          <p:cNvPr id="34" name="Text Placeholder 12">
            <a:extLst>
              <a:ext uri="{FF2B5EF4-FFF2-40B4-BE49-F238E27FC236}">
                <a16:creationId xmlns:a16="http://schemas.microsoft.com/office/drawing/2014/main" id="{DCAE8430-8FA9-4C5E-8031-2FB640A09C5D}"/>
              </a:ext>
            </a:extLst>
          </p:cNvPr>
          <p:cNvSpPr>
            <a:spLocks noGrp="1"/>
          </p:cNvSpPr>
          <p:nvPr>
            <p:ph type="body" sz="quarter" idx="15"/>
          </p:nvPr>
        </p:nvSpPr>
        <p:spPr>
          <a:xfrm>
            <a:off x="8008752" y="1145063"/>
            <a:ext cx="3559361" cy="792529"/>
          </a:xfrm>
        </p:spPr>
        <p:txBody>
          <a:bodyPr/>
          <a:lstStyle>
            <a:lvl1pPr marL="0" indent="0">
              <a:lnSpc>
                <a:spcPct val="122000"/>
              </a:lnSpc>
              <a:spcBef>
                <a:spcPts val="0"/>
              </a:spcBef>
              <a:buNone/>
              <a:defRPr sz="1200" b="0"/>
            </a:lvl1pPr>
          </a:lstStyle>
          <a:p>
            <a:pPr lvl="0"/>
            <a:r>
              <a:rPr lang="en-US" dirty="0" err="1"/>
              <a:t>Mastertextformat</a:t>
            </a:r>
            <a:r>
              <a:rPr lang="en-US" dirty="0"/>
              <a:t> </a:t>
            </a:r>
            <a:r>
              <a:rPr lang="en-US" dirty="0" err="1"/>
              <a:t>bearbeiten</a:t>
            </a:r>
            <a:endParaRPr lang="en-US" dirty="0"/>
          </a:p>
        </p:txBody>
      </p:sp>
      <p:sp>
        <p:nvSpPr>
          <p:cNvPr id="18" name="Text Placeholder 12">
            <a:extLst>
              <a:ext uri="{FF2B5EF4-FFF2-40B4-BE49-F238E27FC236}">
                <a16:creationId xmlns:a16="http://schemas.microsoft.com/office/drawing/2014/main" id="{87184ACD-ECF1-4A9B-8FAA-3AF8FE908F8A}"/>
              </a:ext>
            </a:extLst>
          </p:cNvPr>
          <p:cNvSpPr>
            <a:spLocks noGrp="1"/>
          </p:cNvSpPr>
          <p:nvPr>
            <p:ph type="body" sz="quarter" idx="21"/>
          </p:nvPr>
        </p:nvSpPr>
        <p:spPr>
          <a:xfrm>
            <a:off x="8008752" y="1998259"/>
            <a:ext cx="3559361" cy="792529"/>
          </a:xfrm>
        </p:spPr>
        <p:txBody>
          <a:bodyPr/>
          <a:lstStyle>
            <a:lvl1pPr marL="0" indent="0">
              <a:lnSpc>
                <a:spcPct val="122000"/>
              </a:lnSpc>
              <a:spcBef>
                <a:spcPts val="0"/>
              </a:spcBef>
              <a:buNone/>
              <a:defRPr sz="1200" b="0"/>
            </a:lvl1pPr>
          </a:lstStyle>
          <a:p>
            <a:pPr lvl="0"/>
            <a:r>
              <a:rPr lang="en-US" dirty="0" err="1"/>
              <a:t>Mastertextformat</a:t>
            </a:r>
            <a:r>
              <a:rPr lang="en-US" dirty="0"/>
              <a:t> </a:t>
            </a:r>
            <a:r>
              <a:rPr lang="en-US" dirty="0" err="1"/>
              <a:t>bearbeiten</a:t>
            </a:r>
            <a:endParaRPr lang="en-US" dirty="0"/>
          </a:p>
        </p:txBody>
      </p:sp>
      <p:sp>
        <p:nvSpPr>
          <p:cNvPr id="20" name="Text Placeholder 12">
            <a:extLst>
              <a:ext uri="{FF2B5EF4-FFF2-40B4-BE49-F238E27FC236}">
                <a16:creationId xmlns:a16="http://schemas.microsoft.com/office/drawing/2014/main" id="{D96B15FE-FE3D-4936-B0FD-B1F7E86158AA}"/>
              </a:ext>
            </a:extLst>
          </p:cNvPr>
          <p:cNvSpPr>
            <a:spLocks noGrp="1"/>
          </p:cNvSpPr>
          <p:nvPr>
            <p:ph type="body" sz="quarter" idx="22"/>
          </p:nvPr>
        </p:nvSpPr>
        <p:spPr>
          <a:xfrm>
            <a:off x="8008752" y="2851455"/>
            <a:ext cx="3559361" cy="792529"/>
          </a:xfrm>
        </p:spPr>
        <p:txBody>
          <a:bodyPr/>
          <a:lstStyle>
            <a:lvl1pPr marL="0" indent="0">
              <a:lnSpc>
                <a:spcPct val="122000"/>
              </a:lnSpc>
              <a:spcBef>
                <a:spcPts val="0"/>
              </a:spcBef>
              <a:buNone/>
              <a:defRPr sz="1200" b="0"/>
            </a:lvl1pPr>
          </a:lstStyle>
          <a:p>
            <a:pPr lvl="0"/>
            <a:r>
              <a:rPr lang="en-US" dirty="0" err="1"/>
              <a:t>Mastertextformat</a:t>
            </a:r>
            <a:r>
              <a:rPr lang="en-US" dirty="0"/>
              <a:t> </a:t>
            </a:r>
            <a:r>
              <a:rPr lang="en-US" dirty="0" err="1"/>
              <a:t>bearbeiten</a:t>
            </a:r>
            <a:endParaRPr lang="en-US" dirty="0"/>
          </a:p>
        </p:txBody>
      </p:sp>
      <p:sp>
        <p:nvSpPr>
          <p:cNvPr id="35" name="Bildplatzhalter 4">
            <a:extLst>
              <a:ext uri="{FF2B5EF4-FFF2-40B4-BE49-F238E27FC236}">
                <a16:creationId xmlns:a16="http://schemas.microsoft.com/office/drawing/2014/main" id="{358506B2-73A8-4120-A32D-4583CEBFF258}"/>
              </a:ext>
            </a:extLst>
          </p:cNvPr>
          <p:cNvSpPr>
            <a:spLocks noGrp="1" noChangeAspect="1"/>
          </p:cNvSpPr>
          <p:nvPr>
            <p:ph type="pic" sz="quarter" idx="23" hasCustomPrompt="1"/>
          </p:nvPr>
        </p:nvSpPr>
        <p:spPr>
          <a:xfrm>
            <a:off x="7039725" y="1984713"/>
            <a:ext cx="719831" cy="720000"/>
          </a:xfrm>
          <a:prstGeom prst="flowChartConnector">
            <a:avLst/>
          </a:prstGeom>
          <a:solidFill>
            <a:schemeClr val="bg1">
              <a:lumMod val="95000"/>
            </a:schemeClr>
          </a:solidFill>
        </p:spPr>
        <p:txBody>
          <a:bodyPr/>
          <a:lstStyle>
            <a:lvl1pPr marL="0" indent="0" algn="ctr">
              <a:buNone/>
              <a:defRPr sz="700"/>
            </a:lvl1pPr>
          </a:lstStyle>
          <a:p>
            <a:r>
              <a:rPr lang="en-US" dirty="0"/>
              <a:t>Bild via Homburger-</a:t>
            </a:r>
            <a:r>
              <a:rPr lang="en-US" dirty="0" err="1"/>
              <a:t>Menü</a:t>
            </a:r>
            <a:r>
              <a:rPr lang="en-US" dirty="0"/>
              <a:t> </a:t>
            </a:r>
            <a:r>
              <a:rPr lang="en-US" dirty="0" err="1"/>
              <a:t>einfügen</a:t>
            </a:r>
            <a:endParaRPr lang="en-US" dirty="0"/>
          </a:p>
        </p:txBody>
      </p:sp>
      <p:sp>
        <p:nvSpPr>
          <p:cNvPr id="36" name="Bildplatzhalter 4">
            <a:extLst>
              <a:ext uri="{FF2B5EF4-FFF2-40B4-BE49-F238E27FC236}">
                <a16:creationId xmlns:a16="http://schemas.microsoft.com/office/drawing/2014/main" id="{1FCEF19B-2507-4FCF-A99F-8F05523759D5}"/>
              </a:ext>
            </a:extLst>
          </p:cNvPr>
          <p:cNvSpPr>
            <a:spLocks noGrp="1" noChangeAspect="1"/>
          </p:cNvSpPr>
          <p:nvPr>
            <p:ph type="pic" sz="quarter" idx="24" hasCustomPrompt="1"/>
          </p:nvPr>
        </p:nvSpPr>
        <p:spPr>
          <a:xfrm>
            <a:off x="7039725" y="2826234"/>
            <a:ext cx="719831" cy="720000"/>
          </a:xfrm>
          <a:prstGeom prst="flowChartConnector">
            <a:avLst/>
          </a:prstGeom>
          <a:solidFill>
            <a:schemeClr val="bg1">
              <a:lumMod val="95000"/>
            </a:schemeClr>
          </a:solidFill>
        </p:spPr>
        <p:txBody>
          <a:bodyPr/>
          <a:lstStyle>
            <a:lvl1pPr marL="0" marR="0" indent="0" algn="ctr" defTabSz="914400" rtl="0" eaLnBrk="1" fontAlgn="auto" latinLnBrk="0" hangingPunct="1">
              <a:lnSpc>
                <a:spcPct val="122000"/>
              </a:lnSpc>
              <a:spcBef>
                <a:spcPts val="400"/>
              </a:spcBef>
              <a:spcAft>
                <a:spcPts val="0"/>
              </a:spcAft>
              <a:buClrTx/>
              <a:buSzTx/>
              <a:buFont typeface="Aktiv Grotesk Homburger" panose="020B0404020202020204" pitchFamily="34" charset="0"/>
              <a:buNone/>
              <a:tabLst/>
              <a:defRPr sz="700"/>
            </a:lvl1pPr>
          </a:lstStyle>
          <a:p>
            <a:pPr marL="0" marR="0" lvl="0" indent="0" algn="ctr" defTabSz="914400" rtl="0" eaLnBrk="1" fontAlgn="auto" latinLnBrk="0" hangingPunct="1">
              <a:lnSpc>
                <a:spcPct val="122000"/>
              </a:lnSpc>
              <a:spcBef>
                <a:spcPts val="400"/>
              </a:spcBef>
              <a:spcAft>
                <a:spcPts val="0"/>
              </a:spcAft>
              <a:buClrTx/>
              <a:buSzTx/>
              <a:buFont typeface="Aktiv Grotesk Homburger" panose="020B0404020202020204" pitchFamily="34" charset="0"/>
              <a:buNone/>
              <a:tabLst/>
              <a:defRPr/>
            </a:pPr>
            <a:r>
              <a:rPr lang="en-US" dirty="0"/>
              <a:t>Bild via Homburger-</a:t>
            </a:r>
            <a:r>
              <a:rPr lang="en-US" dirty="0" err="1"/>
              <a:t>Menü</a:t>
            </a:r>
            <a:r>
              <a:rPr lang="en-US" dirty="0"/>
              <a:t> </a:t>
            </a:r>
            <a:r>
              <a:rPr lang="en-US" dirty="0" err="1"/>
              <a:t>einfügen</a:t>
            </a:r>
            <a:endParaRPr lang="en-US" dirty="0"/>
          </a:p>
        </p:txBody>
      </p:sp>
      <p:sp>
        <p:nvSpPr>
          <p:cNvPr id="17" name="Bildplatzhalter 4">
            <a:extLst>
              <a:ext uri="{FF2B5EF4-FFF2-40B4-BE49-F238E27FC236}">
                <a16:creationId xmlns:a16="http://schemas.microsoft.com/office/drawing/2014/main" id="{685BB608-8DC7-4C38-982B-38A6F5F0B379}"/>
              </a:ext>
            </a:extLst>
          </p:cNvPr>
          <p:cNvSpPr>
            <a:spLocks noGrp="1" noChangeAspect="1"/>
          </p:cNvSpPr>
          <p:nvPr>
            <p:ph type="pic" sz="quarter" idx="25" hasCustomPrompt="1"/>
          </p:nvPr>
        </p:nvSpPr>
        <p:spPr>
          <a:xfrm>
            <a:off x="7039725" y="3667755"/>
            <a:ext cx="719831" cy="720000"/>
          </a:xfrm>
          <a:prstGeom prst="flowChartConnector">
            <a:avLst/>
          </a:prstGeom>
          <a:solidFill>
            <a:schemeClr val="bg1">
              <a:lumMod val="95000"/>
            </a:schemeClr>
          </a:solidFill>
        </p:spPr>
        <p:txBody>
          <a:bodyPr/>
          <a:lstStyle>
            <a:lvl1pPr marL="0" indent="0" algn="ctr">
              <a:buNone/>
              <a:defRPr sz="700"/>
            </a:lvl1pPr>
          </a:lstStyle>
          <a:p>
            <a:r>
              <a:rPr lang="en-US" dirty="0"/>
              <a:t>Bild via Homburger-</a:t>
            </a:r>
            <a:r>
              <a:rPr lang="en-US" dirty="0" err="1"/>
              <a:t>Menü</a:t>
            </a:r>
            <a:r>
              <a:rPr lang="en-US" dirty="0"/>
              <a:t> </a:t>
            </a:r>
            <a:r>
              <a:rPr lang="en-US" dirty="0" err="1"/>
              <a:t>einfügen</a:t>
            </a:r>
            <a:endParaRPr lang="en-US" dirty="0"/>
          </a:p>
        </p:txBody>
      </p:sp>
      <p:sp>
        <p:nvSpPr>
          <p:cNvPr id="25" name="Bildplatzhalter 4">
            <a:extLst>
              <a:ext uri="{FF2B5EF4-FFF2-40B4-BE49-F238E27FC236}">
                <a16:creationId xmlns:a16="http://schemas.microsoft.com/office/drawing/2014/main" id="{1AE126E2-4C77-4BE4-AD69-78373C1FE2EB}"/>
              </a:ext>
            </a:extLst>
          </p:cNvPr>
          <p:cNvSpPr>
            <a:spLocks noGrp="1" noChangeAspect="1"/>
          </p:cNvSpPr>
          <p:nvPr>
            <p:ph type="pic" sz="quarter" idx="26" hasCustomPrompt="1"/>
          </p:nvPr>
        </p:nvSpPr>
        <p:spPr>
          <a:xfrm>
            <a:off x="7039725" y="4509276"/>
            <a:ext cx="719831" cy="720000"/>
          </a:xfrm>
          <a:prstGeom prst="flowChartConnector">
            <a:avLst/>
          </a:prstGeom>
          <a:solidFill>
            <a:schemeClr val="bg1">
              <a:lumMod val="95000"/>
            </a:schemeClr>
          </a:solidFill>
        </p:spPr>
        <p:txBody>
          <a:bodyPr/>
          <a:lstStyle>
            <a:lvl1pPr marL="0" marR="0" indent="0" algn="ctr" defTabSz="914400" rtl="0" eaLnBrk="1" fontAlgn="auto" latinLnBrk="0" hangingPunct="1">
              <a:lnSpc>
                <a:spcPct val="122000"/>
              </a:lnSpc>
              <a:spcBef>
                <a:spcPts val="400"/>
              </a:spcBef>
              <a:spcAft>
                <a:spcPts val="0"/>
              </a:spcAft>
              <a:buClrTx/>
              <a:buSzTx/>
              <a:buFont typeface="Aktiv Grotesk Homburger" panose="020B0404020202020204" pitchFamily="34" charset="0"/>
              <a:buNone/>
              <a:tabLst/>
              <a:defRPr sz="700"/>
            </a:lvl1pPr>
          </a:lstStyle>
          <a:p>
            <a:pPr marL="0" marR="0" lvl="0" indent="0" algn="ctr" defTabSz="914400" rtl="0" eaLnBrk="1" fontAlgn="auto" latinLnBrk="0" hangingPunct="1">
              <a:lnSpc>
                <a:spcPct val="122000"/>
              </a:lnSpc>
              <a:spcBef>
                <a:spcPts val="400"/>
              </a:spcBef>
              <a:spcAft>
                <a:spcPts val="0"/>
              </a:spcAft>
              <a:buClrTx/>
              <a:buSzTx/>
              <a:buFont typeface="Aktiv Grotesk Homburger" panose="020B0404020202020204" pitchFamily="34" charset="0"/>
              <a:buNone/>
              <a:tabLst/>
              <a:defRPr/>
            </a:pPr>
            <a:r>
              <a:rPr lang="en-US" dirty="0"/>
              <a:t>Bild via Homburger-</a:t>
            </a:r>
            <a:r>
              <a:rPr lang="en-US" dirty="0" err="1"/>
              <a:t>Menü</a:t>
            </a:r>
            <a:r>
              <a:rPr lang="en-US" dirty="0"/>
              <a:t> </a:t>
            </a:r>
            <a:r>
              <a:rPr lang="en-US" dirty="0" err="1"/>
              <a:t>einfügen</a:t>
            </a:r>
            <a:endParaRPr lang="en-US" dirty="0"/>
          </a:p>
        </p:txBody>
      </p:sp>
      <p:sp>
        <p:nvSpPr>
          <p:cNvPr id="28" name="Text Placeholder 12">
            <a:extLst>
              <a:ext uri="{FF2B5EF4-FFF2-40B4-BE49-F238E27FC236}">
                <a16:creationId xmlns:a16="http://schemas.microsoft.com/office/drawing/2014/main" id="{2BF1E7D5-B1E2-4E07-85D5-94EA5E8C3285}"/>
              </a:ext>
            </a:extLst>
          </p:cNvPr>
          <p:cNvSpPr>
            <a:spLocks noGrp="1"/>
          </p:cNvSpPr>
          <p:nvPr>
            <p:ph type="body" sz="quarter" idx="27"/>
          </p:nvPr>
        </p:nvSpPr>
        <p:spPr>
          <a:xfrm>
            <a:off x="8008752" y="3704652"/>
            <a:ext cx="3559361" cy="792529"/>
          </a:xfrm>
        </p:spPr>
        <p:txBody>
          <a:bodyPr/>
          <a:lstStyle>
            <a:lvl1pPr marL="0" indent="0">
              <a:lnSpc>
                <a:spcPct val="122000"/>
              </a:lnSpc>
              <a:spcBef>
                <a:spcPts val="0"/>
              </a:spcBef>
              <a:buNone/>
              <a:defRPr sz="1200" b="0"/>
            </a:lvl1pPr>
          </a:lstStyle>
          <a:p>
            <a:pPr lvl="0"/>
            <a:r>
              <a:rPr lang="en-US" dirty="0" err="1"/>
              <a:t>Mastertextformat</a:t>
            </a:r>
            <a:r>
              <a:rPr lang="en-US" dirty="0"/>
              <a:t> </a:t>
            </a:r>
            <a:r>
              <a:rPr lang="en-US" dirty="0" err="1"/>
              <a:t>bearbeiten</a:t>
            </a:r>
            <a:endParaRPr lang="en-US" dirty="0"/>
          </a:p>
        </p:txBody>
      </p:sp>
      <p:sp>
        <p:nvSpPr>
          <p:cNvPr id="29" name="Text Placeholder 12">
            <a:extLst>
              <a:ext uri="{FF2B5EF4-FFF2-40B4-BE49-F238E27FC236}">
                <a16:creationId xmlns:a16="http://schemas.microsoft.com/office/drawing/2014/main" id="{E14B96F4-359B-46AA-824E-1A362A391131}"/>
              </a:ext>
            </a:extLst>
          </p:cNvPr>
          <p:cNvSpPr>
            <a:spLocks noGrp="1"/>
          </p:cNvSpPr>
          <p:nvPr>
            <p:ph type="body" sz="quarter" idx="28"/>
          </p:nvPr>
        </p:nvSpPr>
        <p:spPr>
          <a:xfrm>
            <a:off x="8008752" y="4557849"/>
            <a:ext cx="3559361" cy="792529"/>
          </a:xfrm>
        </p:spPr>
        <p:txBody>
          <a:bodyPr/>
          <a:lstStyle>
            <a:lvl1pPr marL="0" indent="0">
              <a:lnSpc>
                <a:spcPct val="122000"/>
              </a:lnSpc>
              <a:spcBef>
                <a:spcPts val="0"/>
              </a:spcBef>
              <a:buNone/>
              <a:defRPr sz="1200" b="0"/>
            </a:lvl1pPr>
          </a:lstStyle>
          <a:p>
            <a:pPr lvl="0"/>
            <a:r>
              <a:rPr lang="en-US" dirty="0" err="1"/>
              <a:t>Mastertextformat</a:t>
            </a:r>
            <a:r>
              <a:rPr lang="en-US" dirty="0"/>
              <a:t> </a:t>
            </a:r>
            <a:r>
              <a:rPr lang="en-US" dirty="0" err="1"/>
              <a:t>bearbeiten</a:t>
            </a:r>
            <a:endParaRPr lang="en-US" dirty="0"/>
          </a:p>
        </p:txBody>
      </p:sp>
      <p:sp>
        <p:nvSpPr>
          <p:cNvPr id="30" name="Content Placeholder 3">
            <a:extLst>
              <a:ext uri="{FF2B5EF4-FFF2-40B4-BE49-F238E27FC236}">
                <a16:creationId xmlns:a16="http://schemas.microsoft.com/office/drawing/2014/main" id="{42FEBE03-2955-46AD-A6CF-59353A8C6E97}"/>
              </a:ext>
            </a:extLst>
          </p:cNvPr>
          <p:cNvSpPr>
            <a:spLocks noGrp="1"/>
          </p:cNvSpPr>
          <p:nvPr>
            <p:ph sz="half" idx="29"/>
          </p:nvPr>
        </p:nvSpPr>
        <p:spPr>
          <a:xfrm>
            <a:off x="335360" y="1916113"/>
            <a:ext cx="3600053" cy="3313163"/>
          </a:xfrm>
        </p:spPr>
        <p:txBody>
          <a:bodyPr vert="horz" lIns="0" tIns="0" rIns="0" bIns="0" rtlCol="0">
            <a:noAutofit/>
          </a:bodyPr>
          <a:lstStyle>
            <a:lvl1pPr>
              <a:defRPr lang="de-CH" sz="1400"/>
            </a:lvl1pPr>
            <a:lvl2pPr>
              <a:defRPr lang="de-CH" sz="1400"/>
            </a:lvl2pPr>
            <a:lvl3pPr>
              <a:defRPr lang="de-CH" sz="1400"/>
            </a:lvl3pPr>
            <a:lvl4pPr>
              <a:defRPr lang="de-CH" sz="1400"/>
            </a:lvl4pPr>
            <a:lvl5pPr>
              <a:defRPr lang="de-CH" sz="1400" dirty="0"/>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2" name="TextBox 1">
            <a:extLst>
              <a:ext uri="{FF2B5EF4-FFF2-40B4-BE49-F238E27FC236}">
                <a16:creationId xmlns:a16="http://schemas.microsoft.com/office/drawing/2014/main" id="{DEA51CED-1838-4094-B6FB-602E9E4B88FD}"/>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1454396264"/>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7080FD44-7A34-42C2-B1DC-91EF99F90890}" type="datetimeFigureOut">
              <a:rPr lang="en-GB" smtClean="0"/>
              <a:t>12/09/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6BC0DEB-40E7-4E2B-AFA7-58970AFA776D}" type="slidenum">
              <a:rPr lang="en-GB" smtClean="0"/>
              <a:t>‹Nr.›</a:t>
            </a:fld>
            <a:endParaRPr lang="en-GB"/>
          </a:p>
        </p:txBody>
      </p:sp>
    </p:spTree>
    <p:extLst>
      <p:ext uri="{BB962C8B-B14F-4D97-AF65-F5344CB8AC3E}">
        <p14:creationId xmlns:p14="http://schemas.microsoft.com/office/powerpoint/2010/main" val="197149278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Fallübersicht" preserve="1" userDrawn="1">
  <p:cSld name="Fallübersicht">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003EA353-F64A-425E-88C2-CF325915D950}"/>
              </a:ext>
            </a:extLst>
          </p:cNvPr>
          <p:cNvSpPr>
            <a:spLocks noGrp="1"/>
          </p:cNvSpPr>
          <p:nvPr>
            <p:ph type="pic" sz="quarter" idx="20" hasCustomPrompt="1"/>
          </p:nvPr>
        </p:nvSpPr>
        <p:spPr>
          <a:xfrm>
            <a:off x="8832305" y="2357858"/>
            <a:ext cx="719829" cy="720000"/>
          </a:xfrm>
          <a:prstGeom prst="flowChartConnector">
            <a:avLst/>
          </a:prstGeom>
          <a:solidFill>
            <a:schemeClr val="bg1">
              <a:lumMod val="95000"/>
            </a:schemeClr>
          </a:solidFill>
        </p:spPr>
        <p:txBody>
          <a:bodyPr/>
          <a:lstStyle>
            <a:lvl1pPr marL="0" indent="0" algn="ctr">
              <a:buNone/>
              <a:defRPr sz="700"/>
            </a:lvl1pPr>
          </a:lstStyle>
          <a:p>
            <a:r>
              <a:rPr lang="en-US" dirty="0"/>
              <a:t>Bild via Homburger-</a:t>
            </a:r>
            <a:r>
              <a:rPr lang="en-US" dirty="0" err="1"/>
              <a:t>Menü</a:t>
            </a:r>
            <a:r>
              <a:rPr lang="en-US" dirty="0"/>
              <a:t> </a:t>
            </a:r>
            <a:r>
              <a:rPr lang="en-US" dirty="0" err="1"/>
              <a:t>einfügen</a:t>
            </a:r>
            <a:endParaRPr lang="en-US" dirty="0"/>
          </a:p>
        </p:txBody>
      </p:sp>
      <p:sp>
        <p:nvSpPr>
          <p:cNvPr id="19" name="Title 1">
            <a:extLst>
              <a:ext uri="{FF2B5EF4-FFF2-40B4-BE49-F238E27FC236}">
                <a16:creationId xmlns:a16="http://schemas.microsoft.com/office/drawing/2014/main" id="{9971AAFF-580F-4852-94F4-C6F21B6C563D}"/>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21" name="Subtitle 2">
            <a:extLst>
              <a:ext uri="{FF2B5EF4-FFF2-40B4-BE49-F238E27FC236}">
                <a16:creationId xmlns:a16="http://schemas.microsoft.com/office/drawing/2014/main" id="{4FAB923C-AA0B-4DA0-8F18-132D60F62669}"/>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22" name="Foliennummernplatzhalter 2">
            <a:extLst>
              <a:ext uri="{FF2B5EF4-FFF2-40B4-BE49-F238E27FC236}">
                <a16:creationId xmlns:a16="http://schemas.microsoft.com/office/drawing/2014/main" id="{0255E5FC-CDCB-42FC-A077-91F9146EF795}"/>
              </a:ext>
            </a:extLst>
          </p:cNvPr>
          <p:cNvSpPr>
            <a:spLocks noGrp="1"/>
          </p:cNvSpPr>
          <p:nvPr>
            <p:ph type="sldNum" sz="quarter" idx="16"/>
          </p:nvPr>
        </p:nvSpPr>
        <p:spPr>
          <a:xfrm>
            <a:off x="11424592" y="6453336"/>
            <a:ext cx="438944" cy="180000"/>
          </a:xfrm>
        </p:spPr>
        <p:txBody>
          <a:bodyPr/>
          <a:lstStyle>
            <a:lvl1pPr>
              <a:defRPr>
                <a:solidFill>
                  <a:schemeClr val="tx1"/>
                </a:solidFill>
              </a:defRPr>
            </a:lvl1pPr>
          </a:lstStyle>
          <a:p>
            <a:fld id="{1F26C06A-2A7E-467D-AF07-18EDAE4E96E8}" type="slidenum">
              <a:rPr lang="en-US" smtClean="0"/>
              <a:pPr/>
              <a:t>‹Nr.›</a:t>
            </a:fld>
            <a:endParaRPr lang="en-US" dirty="0"/>
          </a:p>
        </p:txBody>
      </p:sp>
      <p:sp>
        <p:nvSpPr>
          <p:cNvPr id="23" name="Datumsplatzhalter 3">
            <a:extLst>
              <a:ext uri="{FF2B5EF4-FFF2-40B4-BE49-F238E27FC236}">
                <a16:creationId xmlns:a16="http://schemas.microsoft.com/office/drawing/2014/main" id="{500921E9-9945-4F06-9221-D41452485AA6}"/>
              </a:ext>
            </a:extLst>
          </p:cNvPr>
          <p:cNvSpPr>
            <a:spLocks noGrp="1"/>
          </p:cNvSpPr>
          <p:nvPr>
            <p:ph type="dt" sz="half" idx="17"/>
          </p:nvPr>
        </p:nvSpPr>
        <p:spPr>
          <a:xfrm>
            <a:off x="335538" y="6487478"/>
            <a:ext cx="2880320" cy="133264"/>
          </a:xfrm>
        </p:spPr>
        <p:txBody>
          <a:bodyPr/>
          <a:lstStyle>
            <a:lvl1pPr>
              <a:defRPr>
                <a:solidFill>
                  <a:srgbClr val="969696"/>
                </a:solidFill>
              </a:defRPr>
            </a:lvl1pPr>
          </a:lstStyle>
          <a:p>
            <a:r>
              <a:rPr lang="en-US"/>
              <a:t>September 15-16, 2022</a:t>
            </a:r>
            <a:endParaRPr lang="en-US" dirty="0"/>
          </a:p>
        </p:txBody>
      </p:sp>
      <p:sp>
        <p:nvSpPr>
          <p:cNvPr id="35" name="Bildplatzhalter 4">
            <a:extLst>
              <a:ext uri="{FF2B5EF4-FFF2-40B4-BE49-F238E27FC236}">
                <a16:creationId xmlns:a16="http://schemas.microsoft.com/office/drawing/2014/main" id="{358506B2-73A8-4120-A32D-4583CEBFF258}"/>
              </a:ext>
            </a:extLst>
          </p:cNvPr>
          <p:cNvSpPr>
            <a:spLocks noGrp="1"/>
          </p:cNvSpPr>
          <p:nvPr>
            <p:ph type="pic" sz="quarter" idx="23" hasCustomPrompt="1"/>
          </p:nvPr>
        </p:nvSpPr>
        <p:spPr>
          <a:xfrm>
            <a:off x="8832305" y="3209938"/>
            <a:ext cx="719829" cy="720000"/>
          </a:xfrm>
          <a:prstGeom prst="flowChartConnector">
            <a:avLst/>
          </a:prstGeom>
          <a:solidFill>
            <a:schemeClr val="bg1">
              <a:lumMod val="95000"/>
            </a:schemeClr>
          </a:solidFill>
        </p:spPr>
        <p:txBody>
          <a:bodyPr/>
          <a:lstStyle>
            <a:lvl1pPr marL="0" indent="0" algn="ctr">
              <a:buNone/>
              <a:defRPr sz="700"/>
            </a:lvl1pPr>
          </a:lstStyle>
          <a:p>
            <a:r>
              <a:rPr lang="en-US" dirty="0"/>
              <a:t>Bild via Homburger-</a:t>
            </a:r>
            <a:r>
              <a:rPr lang="en-US" dirty="0" err="1"/>
              <a:t>Menü</a:t>
            </a:r>
            <a:r>
              <a:rPr lang="en-US" dirty="0"/>
              <a:t> </a:t>
            </a:r>
            <a:r>
              <a:rPr lang="en-US" dirty="0" err="1"/>
              <a:t>einfügen</a:t>
            </a:r>
            <a:endParaRPr lang="en-US" dirty="0"/>
          </a:p>
        </p:txBody>
      </p:sp>
      <p:sp>
        <p:nvSpPr>
          <p:cNvPr id="2" name="TextBox 1">
            <a:extLst>
              <a:ext uri="{FF2B5EF4-FFF2-40B4-BE49-F238E27FC236}">
                <a16:creationId xmlns:a16="http://schemas.microsoft.com/office/drawing/2014/main" id="{A3964FE7-F06D-4787-B911-B48EEEBC7776}"/>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
        <p:nvSpPr>
          <p:cNvPr id="4" name="Textplatzhalter 3">
            <a:extLst>
              <a:ext uri="{FF2B5EF4-FFF2-40B4-BE49-F238E27FC236}">
                <a16:creationId xmlns:a16="http://schemas.microsoft.com/office/drawing/2014/main" id="{62D925A4-D532-40E9-9DF0-C20FEEC7C3EE}"/>
              </a:ext>
            </a:extLst>
          </p:cNvPr>
          <p:cNvSpPr>
            <a:spLocks noGrp="1"/>
          </p:cNvSpPr>
          <p:nvPr>
            <p:ph type="body" sz="quarter" idx="24"/>
          </p:nvPr>
        </p:nvSpPr>
        <p:spPr>
          <a:xfrm>
            <a:off x="8832304" y="1916113"/>
            <a:ext cx="2735809" cy="210250"/>
          </a:xfrm>
        </p:spPr>
        <p:txBody>
          <a:bodyPr>
            <a:noAutofit/>
          </a:bodyPr>
          <a:lstStyle>
            <a:lvl1pPr marL="0" indent="0">
              <a:buNone/>
              <a:defRPr/>
            </a:lvl1pPr>
          </a:lstStyle>
          <a:p>
            <a:pPr lvl="0"/>
            <a:r>
              <a:rPr lang="en-US" dirty="0" err="1"/>
              <a:t>Mastertextformat</a:t>
            </a:r>
            <a:r>
              <a:rPr lang="en-US" dirty="0"/>
              <a:t> </a:t>
            </a:r>
            <a:r>
              <a:rPr lang="en-US" dirty="0" err="1"/>
              <a:t>bearbeiten</a:t>
            </a:r>
            <a:endParaRPr lang="en-US" dirty="0"/>
          </a:p>
        </p:txBody>
      </p:sp>
      <p:sp>
        <p:nvSpPr>
          <p:cNvPr id="13" name="Textplatzhalter 12">
            <a:extLst>
              <a:ext uri="{FF2B5EF4-FFF2-40B4-BE49-F238E27FC236}">
                <a16:creationId xmlns:a16="http://schemas.microsoft.com/office/drawing/2014/main" id="{B0C2B037-37BD-4F2D-9311-83B19BD430F3}"/>
              </a:ext>
            </a:extLst>
          </p:cNvPr>
          <p:cNvSpPr>
            <a:spLocks noGrp="1"/>
          </p:cNvSpPr>
          <p:nvPr>
            <p:ph type="body" sz="quarter" idx="26"/>
          </p:nvPr>
        </p:nvSpPr>
        <p:spPr>
          <a:xfrm>
            <a:off x="334963" y="1916113"/>
            <a:ext cx="2879725" cy="4024312"/>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24" name="Textplatzhalter 23">
            <a:extLst>
              <a:ext uri="{FF2B5EF4-FFF2-40B4-BE49-F238E27FC236}">
                <a16:creationId xmlns:a16="http://schemas.microsoft.com/office/drawing/2014/main" id="{0D356B86-2B6D-4A8C-812E-B83410F42777}"/>
              </a:ext>
            </a:extLst>
          </p:cNvPr>
          <p:cNvSpPr>
            <a:spLocks noGrp="1"/>
          </p:cNvSpPr>
          <p:nvPr>
            <p:ph type="body" sz="quarter" idx="27"/>
          </p:nvPr>
        </p:nvSpPr>
        <p:spPr>
          <a:xfrm>
            <a:off x="4151783" y="1916113"/>
            <a:ext cx="4248472"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4" name="Textplatzhalter 6">
            <a:extLst>
              <a:ext uri="{FF2B5EF4-FFF2-40B4-BE49-F238E27FC236}">
                <a16:creationId xmlns:a16="http://schemas.microsoft.com/office/drawing/2014/main" id="{82DD3F25-CDD7-4DC5-AAF7-BE87BFD79792}"/>
              </a:ext>
            </a:extLst>
          </p:cNvPr>
          <p:cNvSpPr>
            <a:spLocks noGrp="1"/>
          </p:cNvSpPr>
          <p:nvPr>
            <p:ph type="body" sz="quarter" idx="25"/>
          </p:nvPr>
        </p:nvSpPr>
        <p:spPr>
          <a:xfrm>
            <a:off x="9839473" y="2524715"/>
            <a:ext cx="1728640" cy="612000"/>
          </a:xfrm>
        </p:spPr>
        <p:txBody>
          <a:bodyPr>
            <a:noAutofit/>
          </a:bodyPr>
          <a:lstStyle>
            <a:lvl1pPr marL="0" indent="0">
              <a:spcBef>
                <a:spcPts val="0"/>
              </a:spcBef>
              <a:buNone/>
              <a:defRPr/>
            </a:lvl1pPr>
          </a:lstStyle>
          <a:p>
            <a:pPr lvl="0"/>
            <a:r>
              <a:rPr lang="en-US" dirty="0" err="1"/>
              <a:t>Mastertextformat</a:t>
            </a:r>
            <a:r>
              <a:rPr lang="en-US" dirty="0"/>
              <a:t> </a:t>
            </a:r>
            <a:r>
              <a:rPr lang="en-US" dirty="0" err="1"/>
              <a:t>bearbeiten</a:t>
            </a:r>
            <a:endParaRPr lang="en-US" dirty="0"/>
          </a:p>
        </p:txBody>
      </p:sp>
      <p:sp>
        <p:nvSpPr>
          <p:cNvPr id="15" name="Textplatzhalter 6">
            <a:extLst>
              <a:ext uri="{FF2B5EF4-FFF2-40B4-BE49-F238E27FC236}">
                <a16:creationId xmlns:a16="http://schemas.microsoft.com/office/drawing/2014/main" id="{136A2875-2468-4775-A3A5-042289658326}"/>
              </a:ext>
            </a:extLst>
          </p:cNvPr>
          <p:cNvSpPr>
            <a:spLocks noGrp="1"/>
          </p:cNvSpPr>
          <p:nvPr>
            <p:ph type="body" sz="quarter" idx="28"/>
          </p:nvPr>
        </p:nvSpPr>
        <p:spPr>
          <a:xfrm>
            <a:off x="9839473" y="3379834"/>
            <a:ext cx="1728640" cy="612000"/>
          </a:xfrm>
        </p:spPr>
        <p:txBody>
          <a:bodyPr>
            <a:noAutofit/>
          </a:bodyPr>
          <a:lstStyle>
            <a:lvl1pPr marL="0" indent="0">
              <a:spcBef>
                <a:spcPts val="0"/>
              </a:spcBef>
              <a:buNone/>
              <a:defRPr/>
            </a:lvl1pPr>
          </a:lstStyle>
          <a:p>
            <a:pPr lvl="0"/>
            <a:r>
              <a:rPr lang="en-US" dirty="0" err="1"/>
              <a:t>Mastertextformat</a:t>
            </a:r>
            <a:r>
              <a:rPr lang="en-US" dirty="0"/>
              <a:t> </a:t>
            </a:r>
            <a:r>
              <a:rPr lang="en-US" dirty="0" err="1"/>
              <a:t>bearbeiten</a:t>
            </a:r>
            <a:endParaRPr lang="en-US" dirty="0"/>
          </a:p>
        </p:txBody>
      </p:sp>
    </p:spTree>
    <p:extLst>
      <p:ext uri="{BB962C8B-B14F-4D97-AF65-F5344CB8AC3E}">
        <p14:creationId xmlns:p14="http://schemas.microsoft.com/office/powerpoint/2010/main" val="3968678917"/>
      </p:ext>
    </p:extLst>
  </p:cSld>
  <p:clrMapOvr>
    <a:masterClrMapping/>
  </p:clrMapOvr>
  <p:hf hdr="0"/>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Fallübersicht akzentuiert" preserve="1" userDrawn="1">
  <p:cSld name="Fallübersicht akzentuiert">
    <p:spTree>
      <p:nvGrpSpPr>
        <p:cNvPr id="1" name=""/>
        <p:cNvGrpSpPr/>
        <p:nvPr/>
      </p:nvGrpSpPr>
      <p:grpSpPr>
        <a:xfrm>
          <a:off x="0" y="0"/>
          <a:ext cx="0" cy="0"/>
          <a:chOff x="0" y="0"/>
          <a:chExt cx="0" cy="0"/>
        </a:xfrm>
      </p:grpSpPr>
      <p:sp>
        <p:nvSpPr>
          <p:cNvPr id="3" name="Rectangle 10">
            <a:extLst>
              <a:ext uri="{FF2B5EF4-FFF2-40B4-BE49-F238E27FC236}">
                <a16:creationId xmlns:a16="http://schemas.microsoft.com/office/drawing/2014/main" id="{62952DBC-34E3-4607-8AFB-03BBFF5B7B40}"/>
              </a:ext>
            </a:extLst>
          </p:cNvPr>
          <p:cNvSpPr/>
          <p:nvPr userDrawn="1"/>
        </p:nvSpPr>
        <p:spPr>
          <a:xfrm>
            <a:off x="-1" y="-429"/>
            <a:ext cx="352782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Bildplatzhalter 4">
            <a:extLst>
              <a:ext uri="{FF2B5EF4-FFF2-40B4-BE49-F238E27FC236}">
                <a16:creationId xmlns:a16="http://schemas.microsoft.com/office/drawing/2014/main" id="{003EA353-F64A-425E-88C2-CF325915D950}"/>
              </a:ext>
            </a:extLst>
          </p:cNvPr>
          <p:cNvSpPr>
            <a:spLocks noGrp="1"/>
          </p:cNvSpPr>
          <p:nvPr>
            <p:ph type="pic" sz="quarter" idx="20" hasCustomPrompt="1"/>
          </p:nvPr>
        </p:nvSpPr>
        <p:spPr>
          <a:xfrm>
            <a:off x="8832305" y="2357858"/>
            <a:ext cx="719829" cy="720000"/>
          </a:xfrm>
          <a:prstGeom prst="flowChartConnector">
            <a:avLst/>
          </a:prstGeom>
          <a:solidFill>
            <a:schemeClr val="bg1">
              <a:lumMod val="95000"/>
            </a:schemeClr>
          </a:solidFill>
        </p:spPr>
        <p:txBody>
          <a:bodyPr/>
          <a:lstStyle>
            <a:lvl1pPr marL="0" indent="0" algn="ctr">
              <a:buNone/>
              <a:defRPr sz="700"/>
            </a:lvl1pPr>
          </a:lstStyle>
          <a:p>
            <a:r>
              <a:rPr lang="en-US" dirty="0"/>
              <a:t>Bild via Homburger-</a:t>
            </a:r>
            <a:r>
              <a:rPr lang="en-US" dirty="0" err="1"/>
              <a:t>Menü</a:t>
            </a:r>
            <a:r>
              <a:rPr lang="en-US" dirty="0"/>
              <a:t> </a:t>
            </a:r>
            <a:r>
              <a:rPr lang="en-US" dirty="0" err="1"/>
              <a:t>einfügen</a:t>
            </a:r>
            <a:endParaRPr lang="en-US" dirty="0"/>
          </a:p>
        </p:txBody>
      </p:sp>
      <p:sp>
        <p:nvSpPr>
          <p:cNvPr id="19" name="Title 1">
            <a:extLst>
              <a:ext uri="{FF2B5EF4-FFF2-40B4-BE49-F238E27FC236}">
                <a16:creationId xmlns:a16="http://schemas.microsoft.com/office/drawing/2014/main" id="{9971AAFF-580F-4852-94F4-C6F21B6C563D}"/>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21" name="Subtitle 2">
            <a:extLst>
              <a:ext uri="{FF2B5EF4-FFF2-40B4-BE49-F238E27FC236}">
                <a16:creationId xmlns:a16="http://schemas.microsoft.com/office/drawing/2014/main" id="{4FAB923C-AA0B-4DA0-8F18-132D60F62669}"/>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22" name="Foliennummernplatzhalter 2">
            <a:extLst>
              <a:ext uri="{FF2B5EF4-FFF2-40B4-BE49-F238E27FC236}">
                <a16:creationId xmlns:a16="http://schemas.microsoft.com/office/drawing/2014/main" id="{0255E5FC-CDCB-42FC-A077-91F9146EF795}"/>
              </a:ext>
            </a:extLst>
          </p:cNvPr>
          <p:cNvSpPr>
            <a:spLocks noGrp="1"/>
          </p:cNvSpPr>
          <p:nvPr>
            <p:ph type="sldNum" sz="quarter" idx="16"/>
          </p:nvPr>
        </p:nvSpPr>
        <p:spPr>
          <a:xfrm>
            <a:off x="11424592" y="6453336"/>
            <a:ext cx="438944" cy="180000"/>
          </a:xfrm>
        </p:spPr>
        <p:txBody>
          <a:bodyPr/>
          <a:lstStyle>
            <a:lvl1pPr>
              <a:defRPr>
                <a:solidFill>
                  <a:schemeClr val="tx1"/>
                </a:solidFill>
              </a:defRPr>
            </a:lvl1pPr>
          </a:lstStyle>
          <a:p>
            <a:fld id="{AB963B77-0C61-47DA-B1D6-DCF869298A89}" type="slidenum">
              <a:rPr lang="en-US" smtClean="0"/>
              <a:pPr/>
              <a:t>‹Nr.›</a:t>
            </a:fld>
            <a:endParaRPr lang="en-US" dirty="0"/>
          </a:p>
        </p:txBody>
      </p:sp>
      <p:sp>
        <p:nvSpPr>
          <p:cNvPr id="23" name="Datumsplatzhalter 3">
            <a:extLst>
              <a:ext uri="{FF2B5EF4-FFF2-40B4-BE49-F238E27FC236}">
                <a16:creationId xmlns:a16="http://schemas.microsoft.com/office/drawing/2014/main" id="{500921E9-9945-4F06-9221-D41452485AA6}"/>
              </a:ext>
            </a:extLst>
          </p:cNvPr>
          <p:cNvSpPr>
            <a:spLocks noGrp="1"/>
          </p:cNvSpPr>
          <p:nvPr>
            <p:ph type="dt" sz="half" idx="17"/>
          </p:nvPr>
        </p:nvSpPr>
        <p:spPr>
          <a:xfrm>
            <a:off x="335538" y="6487478"/>
            <a:ext cx="2880320" cy="133264"/>
          </a:xfrm>
        </p:spPr>
        <p:txBody>
          <a:bodyPr/>
          <a:lstStyle>
            <a:lvl1pPr>
              <a:defRPr>
                <a:solidFill>
                  <a:srgbClr val="000000"/>
                </a:solidFill>
              </a:defRPr>
            </a:lvl1pPr>
          </a:lstStyle>
          <a:p>
            <a:r>
              <a:rPr lang="en-US"/>
              <a:t>September 15-16, 2022</a:t>
            </a:r>
            <a:endParaRPr lang="en-US" dirty="0"/>
          </a:p>
        </p:txBody>
      </p:sp>
      <p:sp>
        <p:nvSpPr>
          <p:cNvPr id="35" name="Bildplatzhalter 4">
            <a:extLst>
              <a:ext uri="{FF2B5EF4-FFF2-40B4-BE49-F238E27FC236}">
                <a16:creationId xmlns:a16="http://schemas.microsoft.com/office/drawing/2014/main" id="{358506B2-73A8-4120-A32D-4583CEBFF258}"/>
              </a:ext>
            </a:extLst>
          </p:cNvPr>
          <p:cNvSpPr>
            <a:spLocks noGrp="1"/>
          </p:cNvSpPr>
          <p:nvPr>
            <p:ph type="pic" sz="quarter" idx="23" hasCustomPrompt="1"/>
          </p:nvPr>
        </p:nvSpPr>
        <p:spPr>
          <a:xfrm>
            <a:off x="8832305" y="3209938"/>
            <a:ext cx="719829" cy="720000"/>
          </a:xfrm>
          <a:prstGeom prst="flowChartConnector">
            <a:avLst/>
          </a:prstGeom>
          <a:solidFill>
            <a:schemeClr val="bg1">
              <a:lumMod val="95000"/>
            </a:schemeClr>
          </a:solidFill>
        </p:spPr>
        <p:txBody>
          <a:bodyPr/>
          <a:lstStyle>
            <a:lvl1pPr marL="0" indent="0" algn="ctr">
              <a:buNone/>
              <a:defRPr sz="700"/>
            </a:lvl1pPr>
          </a:lstStyle>
          <a:p>
            <a:r>
              <a:rPr lang="en-US" dirty="0"/>
              <a:t>Bild via Homburger-</a:t>
            </a:r>
            <a:r>
              <a:rPr lang="en-US" dirty="0" err="1"/>
              <a:t>Menü</a:t>
            </a:r>
            <a:r>
              <a:rPr lang="en-US" dirty="0"/>
              <a:t> </a:t>
            </a:r>
            <a:r>
              <a:rPr lang="en-US" dirty="0" err="1"/>
              <a:t>einfügen</a:t>
            </a:r>
            <a:endParaRPr lang="en-US" dirty="0"/>
          </a:p>
        </p:txBody>
      </p:sp>
      <p:sp>
        <p:nvSpPr>
          <p:cNvPr id="2" name="TextBox 1">
            <a:extLst>
              <a:ext uri="{FF2B5EF4-FFF2-40B4-BE49-F238E27FC236}">
                <a16:creationId xmlns:a16="http://schemas.microsoft.com/office/drawing/2014/main" id="{A3964FE7-F06D-4787-B911-B48EEEBC7776}"/>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000000"/>
              </a:solidFill>
            </a:endParaRPr>
          </a:p>
        </p:txBody>
      </p:sp>
      <p:sp>
        <p:nvSpPr>
          <p:cNvPr id="4" name="Textplatzhalter 3">
            <a:extLst>
              <a:ext uri="{FF2B5EF4-FFF2-40B4-BE49-F238E27FC236}">
                <a16:creationId xmlns:a16="http://schemas.microsoft.com/office/drawing/2014/main" id="{62D925A4-D532-40E9-9DF0-C20FEEC7C3EE}"/>
              </a:ext>
            </a:extLst>
          </p:cNvPr>
          <p:cNvSpPr>
            <a:spLocks noGrp="1"/>
          </p:cNvSpPr>
          <p:nvPr>
            <p:ph type="body" sz="quarter" idx="24"/>
          </p:nvPr>
        </p:nvSpPr>
        <p:spPr>
          <a:xfrm>
            <a:off x="8832304" y="1916113"/>
            <a:ext cx="2735809" cy="210250"/>
          </a:xfrm>
        </p:spPr>
        <p:txBody>
          <a:bodyPr>
            <a:noAutofit/>
          </a:bodyPr>
          <a:lstStyle>
            <a:lvl1pPr marL="0" indent="0">
              <a:buNone/>
              <a:defRPr/>
            </a:lvl1pPr>
          </a:lstStyle>
          <a:p>
            <a:pPr lvl="0"/>
            <a:r>
              <a:rPr lang="en-US" dirty="0" err="1"/>
              <a:t>Mastertextformat</a:t>
            </a:r>
            <a:r>
              <a:rPr lang="en-US" dirty="0"/>
              <a:t> </a:t>
            </a:r>
            <a:r>
              <a:rPr lang="en-US" dirty="0" err="1"/>
              <a:t>bearbeiten</a:t>
            </a:r>
            <a:endParaRPr lang="en-US" dirty="0"/>
          </a:p>
        </p:txBody>
      </p:sp>
      <p:sp>
        <p:nvSpPr>
          <p:cNvPr id="7" name="Textplatzhalter 6">
            <a:extLst>
              <a:ext uri="{FF2B5EF4-FFF2-40B4-BE49-F238E27FC236}">
                <a16:creationId xmlns:a16="http://schemas.microsoft.com/office/drawing/2014/main" id="{F60A0F0A-F5F4-417D-8223-948A386B9355}"/>
              </a:ext>
            </a:extLst>
          </p:cNvPr>
          <p:cNvSpPr>
            <a:spLocks noGrp="1"/>
          </p:cNvSpPr>
          <p:nvPr>
            <p:ph type="body" sz="quarter" idx="25"/>
          </p:nvPr>
        </p:nvSpPr>
        <p:spPr>
          <a:xfrm>
            <a:off x="9839473" y="2524715"/>
            <a:ext cx="1728640" cy="612000"/>
          </a:xfrm>
        </p:spPr>
        <p:txBody>
          <a:bodyPr>
            <a:noAutofit/>
          </a:bodyPr>
          <a:lstStyle>
            <a:lvl1pPr marL="0" indent="0">
              <a:spcBef>
                <a:spcPts val="0"/>
              </a:spcBef>
              <a:buNone/>
              <a:defRPr/>
            </a:lvl1pPr>
          </a:lstStyle>
          <a:p>
            <a:pPr lvl="0"/>
            <a:r>
              <a:rPr lang="en-US" dirty="0" err="1"/>
              <a:t>Mastertextformat</a:t>
            </a:r>
            <a:r>
              <a:rPr lang="en-US" dirty="0"/>
              <a:t> </a:t>
            </a:r>
            <a:r>
              <a:rPr lang="en-US" dirty="0" err="1"/>
              <a:t>bearbeiten</a:t>
            </a:r>
            <a:endParaRPr lang="en-US" dirty="0"/>
          </a:p>
        </p:txBody>
      </p:sp>
      <p:sp>
        <p:nvSpPr>
          <p:cNvPr id="8" name="Textplatzhalter 7">
            <a:extLst>
              <a:ext uri="{FF2B5EF4-FFF2-40B4-BE49-F238E27FC236}">
                <a16:creationId xmlns:a16="http://schemas.microsoft.com/office/drawing/2014/main" id="{E8C4181B-DC16-48E0-A61E-B99102B74C84}"/>
              </a:ext>
            </a:extLst>
          </p:cNvPr>
          <p:cNvSpPr>
            <a:spLocks noGrp="1"/>
          </p:cNvSpPr>
          <p:nvPr>
            <p:ph type="body" sz="quarter" idx="26"/>
          </p:nvPr>
        </p:nvSpPr>
        <p:spPr>
          <a:xfrm>
            <a:off x="334963" y="1916113"/>
            <a:ext cx="2879725" cy="4024312"/>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0" name="Textplatzhalter 9">
            <a:extLst>
              <a:ext uri="{FF2B5EF4-FFF2-40B4-BE49-F238E27FC236}">
                <a16:creationId xmlns:a16="http://schemas.microsoft.com/office/drawing/2014/main" id="{7DFEDB94-C694-45DD-A35F-9B364192D0B4}"/>
              </a:ext>
            </a:extLst>
          </p:cNvPr>
          <p:cNvSpPr>
            <a:spLocks noGrp="1"/>
          </p:cNvSpPr>
          <p:nvPr>
            <p:ph type="body" sz="quarter" idx="27"/>
          </p:nvPr>
        </p:nvSpPr>
        <p:spPr>
          <a:xfrm>
            <a:off x="4151784" y="1916113"/>
            <a:ext cx="4248472"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6" name="Textplatzhalter 6">
            <a:extLst>
              <a:ext uri="{FF2B5EF4-FFF2-40B4-BE49-F238E27FC236}">
                <a16:creationId xmlns:a16="http://schemas.microsoft.com/office/drawing/2014/main" id="{B92AEE72-20CE-41D9-9BE9-C47C6DECCFEF}"/>
              </a:ext>
            </a:extLst>
          </p:cNvPr>
          <p:cNvSpPr>
            <a:spLocks noGrp="1"/>
          </p:cNvSpPr>
          <p:nvPr>
            <p:ph type="body" sz="quarter" idx="28"/>
          </p:nvPr>
        </p:nvSpPr>
        <p:spPr>
          <a:xfrm>
            <a:off x="9839473" y="3379834"/>
            <a:ext cx="1728640" cy="612000"/>
          </a:xfrm>
        </p:spPr>
        <p:txBody>
          <a:bodyPr>
            <a:noAutofit/>
          </a:bodyPr>
          <a:lstStyle>
            <a:lvl1pPr marL="0" indent="0">
              <a:spcBef>
                <a:spcPts val="0"/>
              </a:spcBef>
              <a:buNone/>
              <a:defRPr/>
            </a:lvl1pPr>
          </a:lstStyle>
          <a:p>
            <a:pPr lvl="0"/>
            <a:r>
              <a:rPr lang="en-US" dirty="0" err="1"/>
              <a:t>Mastertextformat</a:t>
            </a:r>
            <a:r>
              <a:rPr lang="en-US" dirty="0"/>
              <a:t> </a:t>
            </a:r>
            <a:r>
              <a:rPr lang="en-US" dirty="0" err="1"/>
              <a:t>bearbeiten</a:t>
            </a:r>
            <a:endParaRPr lang="en-US" dirty="0"/>
          </a:p>
        </p:txBody>
      </p:sp>
    </p:spTree>
    <p:extLst>
      <p:ext uri="{BB962C8B-B14F-4D97-AF65-F5344CB8AC3E}">
        <p14:creationId xmlns:p14="http://schemas.microsoft.com/office/powerpoint/2010/main" val="1690003933"/>
      </p:ext>
    </p:extLst>
  </p:cSld>
  <p:clrMapOvr>
    <a:masterClrMapping/>
  </p:clrMapOvr>
  <p:hf hdr="0"/>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Budget" preserve="1" userDrawn="1">
  <p:cSld name="Budg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p>
            <a:fld id="{DEBD53B1-9BAD-4F82-873B-81315784AB32}"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47" name="Content Placeholder 2">
            <a:extLst>
              <a:ext uri="{FF2B5EF4-FFF2-40B4-BE49-F238E27FC236}">
                <a16:creationId xmlns:a16="http://schemas.microsoft.com/office/drawing/2014/main" id="{672B8403-8945-42E5-9654-4124CAE32054}"/>
              </a:ext>
            </a:extLst>
          </p:cNvPr>
          <p:cNvSpPr>
            <a:spLocks noGrp="1"/>
          </p:cNvSpPr>
          <p:nvPr>
            <p:ph sz="half" idx="1" hasCustomPrompt="1"/>
          </p:nvPr>
        </p:nvSpPr>
        <p:spPr>
          <a:xfrm>
            <a:off x="335361" y="1916113"/>
            <a:ext cx="2592288" cy="3385095"/>
          </a:xfrm>
        </p:spPr>
        <p:txBody>
          <a:bodyPr/>
          <a:lstStyle/>
          <a:p>
            <a:pPr lvl="0"/>
            <a:r>
              <a:rPr lang="en-US" dirty="0" err="1"/>
              <a:t>Erklärungstext</a:t>
            </a:r>
            <a:r>
              <a:rPr lang="en-US" dirty="0"/>
              <a: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Content Placeholder 2">
            <a:extLst>
              <a:ext uri="{FF2B5EF4-FFF2-40B4-BE49-F238E27FC236}">
                <a16:creationId xmlns:a16="http://schemas.microsoft.com/office/drawing/2014/main" id="{287DB55D-C302-4BB5-A51E-590A0EC3D6F1}"/>
              </a:ext>
            </a:extLst>
          </p:cNvPr>
          <p:cNvSpPr>
            <a:spLocks noGrp="1"/>
          </p:cNvSpPr>
          <p:nvPr>
            <p:ph sz="half" idx="17" hasCustomPrompt="1"/>
          </p:nvPr>
        </p:nvSpPr>
        <p:spPr>
          <a:xfrm>
            <a:off x="3224062" y="1927226"/>
            <a:ext cx="2583905" cy="3385095"/>
          </a:xfrm>
        </p:spPr>
        <p:txBody>
          <a:bodyPr/>
          <a:lstStyle/>
          <a:p>
            <a:pPr lvl="0"/>
            <a:r>
              <a:rPr lang="en-US" dirty="0" err="1"/>
              <a:t>Erklärungstext</a:t>
            </a:r>
            <a:r>
              <a:rPr lang="en-US" dirty="0"/>
              <a:t> </a:t>
            </a:r>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9" name="Content Placeholder 2">
            <a:extLst>
              <a:ext uri="{FF2B5EF4-FFF2-40B4-BE49-F238E27FC236}">
                <a16:creationId xmlns:a16="http://schemas.microsoft.com/office/drawing/2014/main" id="{52953F4A-40A0-41FF-9BF6-5665649ECF8A}"/>
              </a:ext>
            </a:extLst>
          </p:cNvPr>
          <p:cNvSpPr>
            <a:spLocks noGrp="1"/>
          </p:cNvSpPr>
          <p:nvPr>
            <p:ph sz="half" idx="18" hasCustomPrompt="1"/>
          </p:nvPr>
        </p:nvSpPr>
        <p:spPr>
          <a:xfrm>
            <a:off x="6091200" y="1927226"/>
            <a:ext cx="2575458" cy="3385095"/>
          </a:xfrm>
        </p:spPr>
        <p:txBody>
          <a:bodyPr/>
          <a:lstStyle/>
          <a:p>
            <a:pPr lvl="0"/>
            <a:r>
              <a:rPr lang="en-US" dirty="0" err="1"/>
              <a:t>Erklärungstext</a:t>
            </a:r>
            <a:r>
              <a:rPr lang="en-US" dirty="0"/>
              <a:t> </a:t>
            </a:r>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50" name="Content Placeholder 2">
            <a:extLst>
              <a:ext uri="{FF2B5EF4-FFF2-40B4-BE49-F238E27FC236}">
                <a16:creationId xmlns:a16="http://schemas.microsoft.com/office/drawing/2014/main" id="{A8DFCD68-A1D8-4AF7-ADB0-BAB623DABF85}"/>
              </a:ext>
            </a:extLst>
          </p:cNvPr>
          <p:cNvSpPr>
            <a:spLocks noGrp="1"/>
          </p:cNvSpPr>
          <p:nvPr>
            <p:ph sz="half" idx="19" hasCustomPrompt="1"/>
          </p:nvPr>
        </p:nvSpPr>
        <p:spPr>
          <a:xfrm>
            <a:off x="8978400" y="1938339"/>
            <a:ext cx="2575458" cy="3385095"/>
          </a:xfrm>
        </p:spPr>
        <p:txBody>
          <a:bodyPr/>
          <a:lstStyle/>
          <a:p>
            <a:pPr lvl="0"/>
            <a:r>
              <a:rPr lang="en-US" dirty="0" err="1"/>
              <a:t>Erklärungstext</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55" name="Textplatzhalter 7">
            <a:extLst>
              <a:ext uri="{FF2B5EF4-FFF2-40B4-BE49-F238E27FC236}">
                <a16:creationId xmlns:a16="http://schemas.microsoft.com/office/drawing/2014/main" id="{CF7FCA7D-0EA3-448F-A4C2-A1662069AE97}"/>
              </a:ext>
            </a:extLst>
          </p:cNvPr>
          <p:cNvSpPr>
            <a:spLocks noGrp="1"/>
          </p:cNvSpPr>
          <p:nvPr>
            <p:ph type="body" sz="quarter" idx="21" hasCustomPrompt="1"/>
          </p:nvPr>
        </p:nvSpPr>
        <p:spPr>
          <a:xfrm>
            <a:off x="335649" y="5734094"/>
            <a:ext cx="2592000" cy="287194"/>
          </a:xfrm>
        </p:spPr>
        <p:txBody>
          <a:bodyPr lIns="0" bIns="36000" anchor="b" anchorCtr="0"/>
          <a:lstStyle>
            <a:lvl1pPr marL="0" indent="0">
              <a:lnSpc>
                <a:spcPct val="100000"/>
              </a:lnSpc>
              <a:spcBef>
                <a:spcPts val="0"/>
              </a:spcBef>
              <a:buNone/>
              <a:defRPr lang="de-DE" sz="15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Betrag</a:t>
            </a:r>
            <a:endParaRPr lang="en-US" dirty="0"/>
          </a:p>
        </p:txBody>
      </p:sp>
      <p:sp>
        <p:nvSpPr>
          <p:cNvPr id="56" name="Textplatzhalter 7">
            <a:extLst>
              <a:ext uri="{FF2B5EF4-FFF2-40B4-BE49-F238E27FC236}">
                <a16:creationId xmlns:a16="http://schemas.microsoft.com/office/drawing/2014/main" id="{E50CC3EE-519A-452F-95FA-3633D53310FD}"/>
              </a:ext>
            </a:extLst>
          </p:cNvPr>
          <p:cNvSpPr>
            <a:spLocks noGrp="1"/>
          </p:cNvSpPr>
          <p:nvPr>
            <p:ph type="body" sz="quarter" idx="22" hasCustomPrompt="1"/>
          </p:nvPr>
        </p:nvSpPr>
        <p:spPr>
          <a:xfrm>
            <a:off x="3205064" y="5734094"/>
            <a:ext cx="2592000" cy="287194"/>
          </a:xfrm>
        </p:spPr>
        <p:txBody>
          <a:bodyPr lIns="0" bIns="36000" anchor="b" anchorCtr="0"/>
          <a:lstStyle>
            <a:lvl1pPr marL="0" indent="0">
              <a:lnSpc>
                <a:spcPct val="100000"/>
              </a:lnSpc>
              <a:spcBef>
                <a:spcPts val="0"/>
              </a:spcBef>
              <a:buNone/>
              <a:defRPr lang="de-DE" sz="15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Betrag</a:t>
            </a:r>
            <a:endParaRPr lang="en-US" dirty="0"/>
          </a:p>
        </p:txBody>
      </p:sp>
      <p:sp>
        <p:nvSpPr>
          <p:cNvPr id="57" name="Textplatzhalter 7">
            <a:extLst>
              <a:ext uri="{FF2B5EF4-FFF2-40B4-BE49-F238E27FC236}">
                <a16:creationId xmlns:a16="http://schemas.microsoft.com/office/drawing/2014/main" id="{571C24E7-9094-4FFE-9357-D2274140022A}"/>
              </a:ext>
            </a:extLst>
          </p:cNvPr>
          <p:cNvSpPr>
            <a:spLocks noGrp="1"/>
          </p:cNvSpPr>
          <p:nvPr>
            <p:ph type="body" sz="quarter" idx="23" hasCustomPrompt="1"/>
          </p:nvPr>
        </p:nvSpPr>
        <p:spPr>
          <a:xfrm>
            <a:off x="6091200" y="5734094"/>
            <a:ext cx="2592000" cy="287194"/>
          </a:xfrm>
        </p:spPr>
        <p:txBody>
          <a:bodyPr lIns="0" bIns="36000" anchor="b" anchorCtr="0"/>
          <a:lstStyle>
            <a:lvl1pPr marL="0" indent="0">
              <a:lnSpc>
                <a:spcPct val="100000"/>
              </a:lnSpc>
              <a:spcBef>
                <a:spcPts val="0"/>
              </a:spcBef>
              <a:buNone/>
              <a:defRPr lang="de-DE" sz="15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Betrag</a:t>
            </a:r>
            <a:endParaRPr lang="en-US" dirty="0"/>
          </a:p>
        </p:txBody>
      </p:sp>
      <p:sp>
        <p:nvSpPr>
          <p:cNvPr id="58" name="Textplatzhalter 7">
            <a:extLst>
              <a:ext uri="{FF2B5EF4-FFF2-40B4-BE49-F238E27FC236}">
                <a16:creationId xmlns:a16="http://schemas.microsoft.com/office/drawing/2014/main" id="{36A13C3F-7AEC-4B2B-91F1-812742FB1BF4}"/>
              </a:ext>
            </a:extLst>
          </p:cNvPr>
          <p:cNvSpPr>
            <a:spLocks noGrp="1"/>
          </p:cNvSpPr>
          <p:nvPr>
            <p:ph type="body" sz="quarter" idx="24" hasCustomPrompt="1"/>
          </p:nvPr>
        </p:nvSpPr>
        <p:spPr>
          <a:xfrm>
            <a:off x="8960615" y="5734094"/>
            <a:ext cx="2592000" cy="287194"/>
          </a:xfrm>
        </p:spPr>
        <p:txBody>
          <a:bodyPr lIns="0" bIns="36000" anchor="b" anchorCtr="0"/>
          <a:lstStyle>
            <a:lvl1pPr marL="0" indent="0">
              <a:lnSpc>
                <a:spcPct val="100000"/>
              </a:lnSpc>
              <a:spcBef>
                <a:spcPts val="0"/>
              </a:spcBef>
              <a:buNone/>
              <a:defRPr lang="de-DE" sz="1500" kern="1200" dirty="0" smtClean="0">
                <a:solidFill>
                  <a:schemeClr val="tx2"/>
                </a:solidFill>
                <a:latin typeface="+mn-lt"/>
                <a:ea typeface="+mn-ea"/>
                <a:cs typeface="+mn-cs"/>
              </a:defRPr>
            </a:lvl1pPr>
            <a:lvl2pPr>
              <a:defRPr lang="de-DE" sz="1100" kern="1200" dirty="0" smtClean="0">
                <a:solidFill>
                  <a:schemeClr val="tx2"/>
                </a:solidFill>
                <a:latin typeface="+mn-lt"/>
                <a:ea typeface="+mn-ea"/>
                <a:cs typeface="+mn-cs"/>
              </a:defRPr>
            </a:lvl2pPr>
            <a:lvl3pPr>
              <a:defRPr lang="de-DE" sz="1100" kern="1200" dirty="0" smtClean="0">
                <a:solidFill>
                  <a:schemeClr val="tx2"/>
                </a:solidFill>
                <a:latin typeface="+mn-lt"/>
                <a:ea typeface="+mn-ea"/>
                <a:cs typeface="+mn-cs"/>
              </a:defRPr>
            </a:lvl3pPr>
            <a:lvl4pPr>
              <a:defRPr lang="de-DE" sz="1100" kern="1200" dirty="0" smtClean="0">
                <a:solidFill>
                  <a:schemeClr val="tx2"/>
                </a:solidFill>
                <a:latin typeface="+mn-lt"/>
                <a:ea typeface="+mn-ea"/>
                <a:cs typeface="+mn-cs"/>
              </a:defRPr>
            </a:lvl4pPr>
          </a:lstStyle>
          <a:p>
            <a:pPr lvl="0"/>
            <a:r>
              <a:rPr lang="en-US" dirty="0" err="1"/>
              <a:t>Betrag</a:t>
            </a:r>
            <a:endParaRPr lang="en-US" dirty="0"/>
          </a:p>
        </p:txBody>
      </p:sp>
      <p:sp>
        <p:nvSpPr>
          <p:cNvPr id="59" name="Text Placeholder 10">
            <a:extLst>
              <a:ext uri="{FF2B5EF4-FFF2-40B4-BE49-F238E27FC236}">
                <a16:creationId xmlns:a16="http://schemas.microsoft.com/office/drawing/2014/main" id="{6A565926-1107-4E86-A3C6-EFDC06554FEE}"/>
              </a:ext>
            </a:extLst>
          </p:cNvPr>
          <p:cNvSpPr>
            <a:spLocks noGrp="1"/>
          </p:cNvSpPr>
          <p:nvPr>
            <p:ph type="body" sz="quarter" idx="25" hasCustomPrompt="1"/>
          </p:nvPr>
        </p:nvSpPr>
        <p:spPr>
          <a:xfrm>
            <a:off x="334964" y="1125539"/>
            <a:ext cx="2605866" cy="812800"/>
          </a:xfrm>
        </p:spPr>
        <p:txBody>
          <a:bodyPr/>
          <a:lstStyle>
            <a:lvl1pPr marL="0" indent="0">
              <a:lnSpc>
                <a:spcPct val="100000"/>
              </a:lnSpc>
              <a:buNone/>
              <a:defRPr sz="2000"/>
            </a:lvl1pPr>
          </a:lstStyle>
          <a:p>
            <a:pPr lvl="0"/>
            <a:r>
              <a:rPr lang="en-US" dirty="0" err="1"/>
              <a:t>Budgetposten</a:t>
            </a:r>
            <a:r>
              <a:rPr lang="en-US" dirty="0"/>
              <a:t> auf </a:t>
            </a:r>
            <a:r>
              <a:rPr lang="en-US" dirty="0" err="1"/>
              <a:t>zwei</a:t>
            </a:r>
            <a:r>
              <a:rPr lang="en-US" dirty="0"/>
              <a:t> </a:t>
            </a:r>
            <a:r>
              <a:rPr lang="en-US" dirty="0" err="1"/>
              <a:t>Zeilen</a:t>
            </a:r>
            <a:endParaRPr lang="en-US" dirty="0"/>
          </a:p>
        </p:txBody>
      </p:sp>
      <p:sp>
        <p:nvSpPr>
          <p:cNvPr id="60" name="Text Placeholder 10">
            <a:extLst>
              <a:ext uri="{FF2B5EF4-FFF2-40B4-BE49-F238E27FC236}">
                <a16:creationId xmlns:a16="http://schemas.microsoft.com/office/drawing/2014/main" id="{76F97CF9-B41A-4AD4-97DF-C5EC58C875C5}"/>
              </a:ext>
            </a:extLst>
          </p:cNvPr>
          <p:cNvSpPr>
            <a:spLocks noGrp="1"/>
          </p:cNvSpPr>
          <p:nvPr>
            <p:ph type="body" sz="quarter" idx="26" hasCustomPrompt="1"/>
          </p:nvPr>
        </p:nvSpPr>
        <p:spPr>
          <a:xfrm>
            <a:off x="3224062" y="1125539"/>
            <a:ext cx="2605866" cy="812800"/>
          </a:xfrm>
        </p:spPr>
        <p:txBody>
          <a:bodyPr/>
          <a:lstStyle>
            <a:lvl1pPr marL="0" indent="0">
              <a:lnSpc>
                <a:spcPct val="100000"/>
              </a:lnSpc>
              <a:buNone/>
              <a:defRPr sz="2000"/>
            </a:lvl1pPr>
          </a:lstStyle>
          <a:p>
            <a:pPr lvl="0"/>
            <a:r>
              <a:rPr lang="en-US" dirty="0" err="1"/>
              <a:t>Budgetposten</a:t>
            </a:r>
            <a:r>
              <a:rPr lang="en-US" dirty="0"/>
              <a:t> auf </a:t>
            </a:r>
            <a:r>
              <a:rPr lang="en-US" dirty="0" err="1"/>
              <a:t>zwei</a:t>
            </a:r>
            <a:r>
              <a:rPr lang="en-US" dirty="0"/>
              <a:t> </a:t>
            </a:r>
            <a:r>
              <a:rPr lang="en-US" dirty="0" err="1"/>
              <a:t>Zeilen</a:t>
            </a:r>
            <a:endParaRPr lang="en-US" dirty="0"/>
          </a:p>
        </p:txBody>
      </p:sp>
      <p:sp>
        <p:nvSpPr>
          <p:cNvPr id="61" name="Text Placeholder 10">
            <a:extLst>
              <a:ext uri="{FF2B5EF4-FFF2-40B4-BE49-F238E27FC236}">
                <a16:creationId xmlns:a16="http://schemas.microsoft.com/office/drawing/2014/main" id="{C4E3783D-CFF8-410D-919F-2583D8D62741}"/>
              </a:ext>
            </a:extLst>
          </p:cNvPr>
          <p:cNvSpPr>
            <a:spLocks noGrp="1"/>
          </p:cNvSpPr>
          <p:nvPr>
            <p:ph type="body" sz="quarter" idx="27" hasCustomPrompt="1"/>
          </p:nvPr>
        </p:nvSpPr>
        <p:spPr>
          <a:xfrm>
            <a:off x="6091200" y="1125539"/>
            <a:ext cx="2605866" cy="812800"/>
          </a:xfrm>
        </p:spPr>
        <p:txBody>
          <a:bodyPr/>
          <a:lstStyle>
            <a:lvl1pPr marL="0" indent="0">
              <a:lnSpc>
                <a:spcPct val="100000"/>
              </a:lnSpc>
              <a:buNone/>
              <a:defRPr sz="2000"/>
            </a:lvl1pPr>
          </a:lstStyle>
          <a:p>
            <a:pPr lvl="0"/>
            <a:r>
              <a:rPr lang="en-US" dirty="0" err="1"/>
              <a:t>Budgetposten</a:t>
            </a:r>
            <a:r>
              <a:rPr lang="en-US" dirty="0"/>
              <a:t> auf </a:t>
            </a:r>
            <a:r>
              <a:rPr lang="en-US" dirty="0" err="1"/>
              <a:t>zwei</a:t>
            </a:r>
            <a:r>
              <a:rPr lang="en-US" dirty="0"/>
              <a:t> </a:t>
            </a:r>
            <a:r>
              <a:rPr lang="en-US" dirty="0" err="1"/>
              <a:t>Zeilen</a:t>
            </a:r>
            <a:endParaRPr lang="en-US" dirty="0"/>
          </a:p>
        </p:txBody>
      </p:sp>
      <p:sp>
        <p:nvSpPr>
          <p:cNvPr id="62" name="Text Placeholder 10">
            <a:extLst>
              <a:ext uri="{FF2B5EF4-FFF2-40B4-BE49-F238E27FC236}">
                <a16:creationId xmlns:a16="http://schemas.microsoft.com/office/drawing/2014/main" id="{20E5083F-5C17-40DC-B968-ECE350F16A86}"/>
              </a:ext>
            </a:extLst>
          </p:cNvPr>
          <p:cNvSpPr>
            <a:spLocks noGrp="1"/>
          </p:cNvSpPr>
          <p:nvPr>
            <p:ph type="body" sz="quarter" idx="28" hasCustomPrompt="1"/>
          </p:nvPr>
        </p:nvSpPr>
        <p:spPr>
          <a:xfrm>
            <a:off x="8978400" y="1125539"/>
            <a:ext cx="2605866" cy="812800"/>
          </a:xfrm>
        </p:spPr>
        <p:txBody>
          <a:bodyPr/>
          <a:lstStyle>
            <a:lvl1pPr marL="0" indent="0">
              <a:lnSpc>
                <a:spcPct val="100000"/>
              </a:lnSpc>
              <a:buNone/>
              <a:defRPr sz="2000"/>
            </a:lvl1pPr>
          </a:lstStyle>
          <a:p>
            <a:pPr lvl="0"/>
            <a:r>
              <a:rPr lang="en-US" dirty="0" err="1"/>
              <a:t>Budgetposten</a:t>
            </a:r>
            <a:r>
              <a:rPr lang="en-US" dirty="0"/>
              <a:t> auf </a:t>
            </a:r>
            <a:r>
              <a:rPr lang="en-US" dirty="0" err="1"/>
              <a:t>zwei</a:t>
            </a:r>
            <a:r>
              <a:rPr lang="en-US" dirty="0"/>
              <a:t> </a:t>
            </a:r>
            <a:r>
              <a:rPr lang="en-US" dirty="0" err="1"/>
              <a:t>Zeilen</a:t>
            </a:r>
            <a:endParaRPr lang="en-US" dirty="0"/>
          </a:p>
        </p:txBody>
      </p:sp>
      <p:cxnSp>
        <p:nvCxnSpPr>
          <p:cNvPr id="11" name="Gerader Verbinder 10">
            <a:extLst>
              <a:ext uri="{FF2B5EF4-FFF2-40B4-BE49-F238E27FC236}">
                <a16:creationId xmlns:a16="http://schemas.microsoft.com/office/drawing/2014/main" id="{85B31CDD-B57D-4C54-80E2-733181F90FC5}"/>
              </a:ext>
            </a:extLst>
          </p:cNvPr>
          <p:cNvCxnSpPr>
            <a:cxnSpLocks/>
          </p:cNvCxnSpPr>
          <p:nvPr userDrawn="1"/>
        </p:nvCxnSpPr>
        <p:spPr>
          <a:xfrm>
            <a:off x="2940830" y="1125539"/>
            <a:ext cx="0" cy="4824411"/>
          </a:xfrm>
          <a:prstGeom prst="line">
            <a:avLst/>
          </a:prstGeom>
          <a:ln w="12700">
            <a:solidFill>
              <a:schemeClr val="tx2"/>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9FB0EED7-0300-45DC-938C-E454B79FA564}"/>
              </a:ext>
            </a:extLst>
          </p:cNvPr>
          <p:cNvCxnSpPr>
            <a:cxnSpLocks/>
          </p:cNvCxnSpPr>
          <p:nvPr userDrawn="1"/>
        </p:nvCxnSpPr>
        <p:spPr>
          <a:xfrm>
            <a:off x="5829928" y="1125539"/>
            <a:ext cx="0" cy="4824411"/>
          </a:xfrm>
          <a:prstGeom prst="line">
            <a:avLst/>
          </a:prstGeom>
          <a:ln w="12700">
            <a:solidFill>
              <a:schemeClr val="tx2"/>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AF31A4D6-673D-45F7-93BB-0E4D9A9FCB10}"/>
              </a:ext>
            </a:extLst>
          </p:cNvPr>
          <p:cNvCxnSpPr>
            <a:cxnSpLocks/>
          </p:cNvCxnSpPr>
          <p:nvPr userDrawn="1"/>
        </p:nvCxnSpPr>
        <p:spPr>
          <a:xfrm>
            <a:off x="8697066" y="1125539"/>
            <a:ext cx="0" cy="4824411"/>
          </a:xfrm>
          <a:prstGeom prst="line">
            <a:avLst/>
          </a:prstGeom>
          <a:ln w="12700">
            <a:solidFill>
              <a:schemeClr val="tx2"/>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7E0FCA-C55C-4639-81E0-CA348AD5F2A2}"/>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1897225586"/>
      </p:ext>
    </p:extLst>
  </p:cSld>
  <p:clrMapOvr>
    <a:masterClrMapping/>
  </p:clrMapOvr>
  <p:hf hdr="0"/>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Track Record" preserve="1" userDrawn="1">
  <p:cSld name="Track Reco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DF859-768A-48F0-83FB-CE8248663677}"/>
              </a:ext>
            </a:extLst>
          </p:cNvPr>
          <p:cNvSpPr>
            <a:spLocks noGrp="1"/>
          </p:cNvSpPr>
          <p:nvPr>
            <p:ph type="title" hasCustomPrompt="1"/>
          </p:nvPr>
        </p:nvSpPr>
        <p:spPr>
          <a:xfrm>
            <a:off x="335359" y="518746"/>
            <a:ext cx="9360000" cy="461982"/>
          </a:xfrm>
        </p:spPr>
        <p:txBody>
          <a:bodyPr/>
          <a:lstStyle>
            <a:lvl1pPr>
              <a:defRPr/>
            </a:lvl1pPr>
          </a:lstStyle>
          <a:p>
            <a:r>
              <a:rPr lang="en-US" dirty="0" err="1"/>
              <a:t>Folientitel</a:t>
            </a:r>
            <a:endParaRPr lang="en-US" dirty="0"/>
          </a:p>
        </p:txBody>
      </p:sp>
      <p:sp>
        <p:nvSpPr>
          <p:cNvPr id="10" name="Subtitle 2">
            <a:extLst>
              <a:ext uri="{FF2B5EF4-FFF2-40B4-BE49-F238E27FC236}">
                <a16:creationId xmlns:a16="http://schemas.microsoft.com/office/drawing/2014/main" id="{11AEB945-7E6B-4EE5-94D7-FC75C7A62FA9}"/>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4" name="Foliennummernplatzhalter 3">
            <a:extLst>
              <a:ext uri="{FF2B5EF4-FFF2-40B4-BE49-F238E27FC236}">
                <a16:creationId xmlns:a16="http://schemas.microsoft.com/office/drawing/2014/main" id="{6DC8A4F6-CB4B-4107-81B2-2C81BC3CB29C}"/>
              </a:ext>
            </a:extLst>
          </p:cNvPr>
          <p:cNvSpPr>
            <a:spLocks noGrp="1"/>
          </p:cNvSpPr>
          <p:nvPr>
            <p:ph type="sldNum" sz="quarter" idx="14"/>
          </p:nvPr>
        </p:nvSpPr>
        <p:spPr/>
        <p:txBody>
          <a:bodyPr/>
          <a:lstStyle/>
          <a:p>
            <a:fld id="{015C12F7-A299-4640-B703-7BDBDE12419D}" type="slidenum">
              <a:rPr lang="en-US" smtClean="0"/>
              <a:pPr/>
              <a:t>‹Nr.›</a:t>
            </a:fld>
            <a:endParaRPr lang="en-US" dirty="0"/>
          </a:p>
        </p:txBody>
      </p:sp>
      <p:sp>
        <p:nvSpPr>
          <p:cNvPr id="6" name="Datumsplatzhalter 5">
            <a:extLst>
              <a:ext uri="{FF2B5EF4-FFF2-40B4-BE49-F238E27FC236}">
                <a16:creationId xmlns:a16="http://schemas.microsoft.com/office/drawing/2014/main" id="{BE3E6952-FA04-4CC9-AA77-54C8249EDEF9}"/>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8" name="Text Placeholder 7">
            <a:extLst>
              <a:ext uri="{FF2B5EF4-FFF2-40B4-BE49-F238E27FC236}">
                <a16:creationId xmlns:a16="http://schemas.microsoft.com/office/drawing/2014/main" id="{CDA58696-610D-44D4-B7F8-14AADA4AADDB}"/>
              </a:ext>
            </a:extLst>
          </p:cNvPr>
          <p:cNvSpPr>
            <a:spLocks noGrp="1"/>
          </p:cNvSpPr>
          <p:nvPr>
            <p:ph type="body" sz="quarter" idx="17"/>
          </p:nvPr>
        </p:nvSpPr>
        <p:spPr>
          <a:xfrm>
            <a:off x="334963" y="1916112"/>
            <a:ext cx="10080000"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3" name="TextBox 2">
            <a:extLst>
              <a:ext uri="{FF2B5EF4-FFF2-40B4-BE49-F238E27FC236}">
                <a16:creationId xmlns:a16="http://schemas.microsoft.com/office/drawing/2014/main" id="{E890D530-9330-4352-90E5-3A0E814585C9}"/>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1023931488"/>
      </p:ext>
    </p:extLst>
  </p:cSld>
  <p:clrMapOvr>
    <a:masterClrMapping/>
  </p:clrMapOvr>
  <p:hf hdr="0"/>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el und Inhalt" preserve="1" userDrawn="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DF859-768A-48F0-83FB-CE8248663677}"/>
              </a:ext>
            </a:extLst>
          </p:cNvPr>
          <p:cNvSpPr>
            <a:spLocks noGrp="1"/>
          </p:cNvSpPr>
          <p:nvPr>
            <p:ph type="title" hasCustomPrompt="1"/>
          </p:nvPr>
        </p:nvSpPr>
        <p:spPr>
          <a:xfrm>
            <a:off x="335359" y="518746"/>
            <a:ext cx="9360000" cy="461982"/>
          </a:xfrm>
        </p:spPr>
        <p:txBody>
          <a:bodyPr/>
          <a:lstStyle>
            <a:lvl1pPr>
              <a:defRPr/>
            </a:lvl1pPr>
          </a:lstStyle>
          <a:p>
            <a:r>
              <a:rPr lang="en-US" dirty="0" err="1"/>
              <a:t>Folientitel</a:t>
            </a:r>
            <a:endParaRPr lang="en-US" dirty="0"/>
          </a:p>
        </p:txBody>
      </p:sp>
      <p:sp>
        <p:nvSpPr>
          <p:cNvPr id="3" name="Content Placeholder 2">
            <a:extLst>
              <a:ext uri="{FF2B5EF4-FFF2-40B4-BE49-F238E27FC236}">
                <a16:creationId xmlns:a16="http://schemas.microsoft.com/office/drawing/2014/main" id="{237B23D8-1BD4-444C-840A-AE91DB2417C4}"/>
              </a:ext>
            </a:extLst>
          </p:cNvPr>
          <p:cNvSpPr>
            <a:spLocks noGrp="1"/>
          </p:cNvSpPr>
          <p:nvPr>
            <p:ph idx="1"/>
          </p:nvPr>
        </p:nvSpPr>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10" name="Subtitle 2">
            <a:extLst>
              <a:ext uri="{FF2B5EF4-FFF2-40B4-BE49-F238E27FC236}">
                <a16:creationId xmlns:a16="http://schemas.microsoft.com/office/drawing/2014/main" id="{11AEB945-7E6B-4EE5-94D7-FC75C7A62FA9}"/>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4" name="Foliennummernplatzhalter 3">
            <a:extLst>
              <a:ext uri="{FF2B5EF4-FFF2-40B4-BE49-F238E27FC236}">
                <a16:creationId xmlns:a16="http://schemas.microsoft.com/office/drawing/2014/main" id="{6DC8A4F6-CB4B-4107-81B2-2C81BC3CB29C}"/>
              </a:ext>
            </a:extLst>
          </p:cNvPr>
          <p:cNvSpPr>
            <a:spLocks noGrp="1"/>
          </p:cNvSpPr>
          <p:nvPr>
            <p:ph type="sldNum" sz="quarter" idx="14"/>
          </p:nvPr>
        </p:nvSpPr>
        <p:spPr/>
        <p:txBody>
          <a:bodyPr/>
          <a:lstStyle/>
          <a:p>
            <a:fld id="{A2818D1E-61EB-47CF-8EAB-76F81A7609BD}" type="slidenum">
              <a:rPr lang="en-US" smtClean="0"/>
              <a:pPr/>
              <a:t>‹Nr.›</a:t>
            </a:fld>
            <a:endParaRPr lang="en-US" dirty="0"/>
          </a:p>
        </p:txBody>
      </p:sp>
      <p:sp>
        <p:nvSpPr>
          <p:cNvPr id="6" name="Datumsplatzhalter 5">
            <a:extLst>
              <a:ext uri="{FF2B5EF4-FFF2-40B4-BE49-F238E27FC236}">
                <a16:creationId xmlns:a16="http://schemas.microsoft.com/office/drawing/2014/main" id="{BE3E6952-FA04-4CC9-AA77-54C8249EDEF9}"/>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5" name="TextBox 4">
            <a:extLst>
              <a:ext uri="{FF2B5EF4-FFF2-40B4-BE49-F238E27FC236}">
                <a16:creationId xmlns:a16="http://schemas.microsoft.com/office/drawing/2014/main" id="{9CA444E3-E145-4C4C-A4A9-C8CF9FA72FF7}"/>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409344660"/>
      </p:ext>
    </p:extLst>
  </p:cSld>
  <p:clrMapOvr>
    <a:masterClrMapping/>
  </p:clrMapOvr>
  <p:hf hdr="0"/>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Nur Titel"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p>
            <a:fld id="{EFD6637B-1B6C-497B-AE34-C057F1F53B15}"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4" name="TextBox 3">
            <a:extLst>
              <a:ext uri="{FF2B5EF4-FFF2-40B4-BE49-F238E27FC236}">
                <a16:creationId xmlns:a16="http://schemas.microsoft.com/office/drawing/2014/main" id="{ECF725F8-33AD-4F6F-BE7C-B44355ABCABA}"/>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52576496"/>
      </p:ext>
    </p:extLst>
  </p:cSld>
  <p:clrMapOvr>
    <a:masterClrMapping/>
  </p:clrMapOvr>
  <p:hf hdr="0"/>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matchingName="Nur Titel akzentuiert" preserve="1" userDrawn="1">
  <p:cSld name="Nur Titel akzentuier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lvl1pPr>
              <a:defRPr>
                <a:solidFill>
                  <a:srgbClr val="000000"/>
                </a:solidFill>
              </a:defRPr>
            </a:lvl1pPr>
          </a:lstStyle>
          <a:p>
            <a:fld id="{9FD7E0E7-CCF5-429E-9FE7-9FFB9D123608}"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lvl1pPr>
              <a:defRPr>
                <a:solidFill>
                  <a:srgbClr val="000000"/>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ECF725F8-33AD-4F6F-BE7C-B44355ABCABA}"/>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000000"/>
              </a:solidFill>
            </a:endParaRPr>
          </a:p>
        </p:txBody>
      </p:sp>
      <p:sp>
        <p:nvSpPr>
          <p:cNvPr id="13" name="Grafik 4">
            <a:extLst>
              <a:ext uri="{FF2B5EF4-FFF2-40B4-BE49-F238E27FC236}">
                <a16:creationId xmlns:a16="http://schemas.microsoft.com/office/drawing/2014/main" id="{203A8A28-DD17-4C81-A808-7F5B5E47B86C}"/>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1005485917"/>
      </p:ext>
    </p:extLst>
  </p:cSld>
  <p:clrMapOvr>
    <a:masterClrMapping/>
  </p:clrMapOvr>
  <p:hf hdr="0"/>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matchingName="Nur Titel grün" preserve="1" userDrawn="1">
  <p:cSld name="Nur Titel grün">
    <p:bg>
      <p:bgPr>
        <a:solidFill>
          <a:srgbClr val="28E6A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lvl1pPr>
              <a:defRPr>
                <a:solidFill>
                  <a:srgbClr val="000000"/>
                </a:solidFill>
              </a:defRPr>
            </a:lvl1pPr>
          </a:lstStyle>
          <a:p>
            <a:fld id="{1BB98E4B-11E0-44EE-AF5A-A560F2FCA7B0}"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lvl1pPr>
              <a:defRPr>
                <a:solidFill>
                  <a:srgbClr val="000000"/>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ECF725F8-33AD-4F6F-BE7C-B44355ABCABA}"/>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000000"/>
              </a:solidFill>
            </a:endParaRPr>
          </a:p>
        </p:txBody>
      </p:sp>
      <p:sp>
        <p:nvSpPr>
          <p:cNvPr id="13" name="Grafik 4">
            <a:extLst>
              <a:ext uri="{FF2B5EF4-FFF2-40B4-BE49-F238E27FC236}">
                <a16:creationId xmlns:a16="http://schemas.microsoft.com/office/drawing/2014/main" id="{203A8A28-DD17-4C81-A808-7F5B5E47B86C}"/>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1031353592"/>
      </p:ext>
    </p:extLst>
  </p:cSld>
  <p:clrMapOvr>
    <a:masterClrMapping/>
  </p:clrMapOvr>
  <p:hf hdr="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matchingName="Nur Titel rot" preserve="1" userDrawn="1">
  <p:cSld name="Nur Titel rot">
    <p:bg>
      <p:bgPr>
        <a:solidFill>
          <a:srgbClr val="FF738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lvl1pPr>
              <a:defRPr>
                <a:solidFill>
                  <a:srgbClr val="000000"/>
                </a:solidFill>
              </a:defRPr>
            </a:lvl1pPr>
          </a:lstStyle>
          <a:p>
            <a:fld id="{9250037A-7715-48B5-973D-17FD5D2A8366}"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lvl1pPr>
              <a:defRPr>
                <a:solidFill>
                  <a:srgbClr val="000000"/>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ECF725F8-33AD-4F6F-BE7C-B44355ABCABA}"/>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000000"/>
              </a:solidFill>
            </a:endParaRPr>
          </a:p>
        </p:txBody>
      </p:sp>
      <p:sp>
        <p:nvSpPr>
          <p:cNvPr id="13" name="Grafik 4">
            <a:extLst>
              <a:ext uri="{FF2B5EF4-FFF2-40B4-BE49-F238E27FC236}">
                <a16:creationId xmlns:a16="http://schemas.microsoft.com/office/drawing/2014/main" id="{203A8A28-DD17-4C81-A808-7F5B5E47B86C}"/>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4208537901"/>
      </p:ext>
    </p:extLst>
  </p:cSld>
  <p:clrMapOvr>
    <a:masterClrMapping/>
  </p:clrMapOvr>
  <p:hf hdr="0"/>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matchingName="Nur Titel blau" preserve="1" userDrawn="1">
  <p:cSld name="Nur Titel blau">
    <p:bg>
      <p:bgPr>
        <a:solidFill>
          <a:srgbClr val="46CF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lvl1pPr>
              <a:defRPr>
                <a:solidFill>
                  <a:srgbClr val="000000"/>
                </a:solidFill>
              </a:defRPr>
            </a:lvl1pPr>
          </a:lstStyle>
          <a:p>
            <a:fld id="{EA3939C3-4694-4D9C-929B-1158E9410481}"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lvl1pPr>
              <a:defRPr>
                <a:solidFill>
                  <a:srgbClr val="000000"/>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ECF725F8-33AD-4F6F-BE7C-B44355ABCABA}"/>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000000"/>
              </a:solidFill>
            </a:endParaRPr>
          </a:p>
        </p:txBody>
      </p:sp>
      <p:sp>
        <p:nvSpPr>
          <p:cNvPr id="13" name="Grafik 4">
            <a:extLst>
              <a:ext uri="{FF2B5EF4-FFF2-40B4-BE49-F238E27FC236}">
                <a16:creationId xmlns:a16="http://schemas.microsoft.com/office/drawing/2014/main" id="{203A8A28-DD17-4C81-A808-7F5B5E47B86C}"/>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41567972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7080FD44-7A34-42C2-B1DC-91EF99F90890}" type="datetimeFigureOut">
              <a:rPr lang="en-GB" smtClean="0"/>
              <a:t>12/09/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6BC0DEB-40E7-4E2B-AFA7-58970AFA776D}" type="slidenum">
              <a:rPr lang="en-GB" smtClean="0"/>
              <a:t>‹Nr.›</a:t>
            </a:fld>
            <a:endParaRPr lang="en-GB"/>
          </a:p>
        </p:txBody>
      </p:sp>
    </p:spTree>
    <p:extLst>
      <p:ext uri="{BB962C8B-B14F-4D97-AF65-F5344CB8AC3E}">
        <p14:creationId xmlns:p14="http://schemas.microsoft.com/office/powerpoint/2010/main" val="39407224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matchingName="Nur Titel violett" preserve="1" userDrawn="1">
  <p:cSld name="Nur Titel violett">
    <p:bg>
      <p:bgPr>
        <a:solidFill>
          <a:srgbClr val="9664E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8037-78B6-4041-8AEF-7554C37F4B88}"/>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7" name="Subtitle 2">
            <a:extLst>
              <a:ext uri="{FF2B5EF4-FFF2-40B4-BE49-F238E27FC236}">
                <a16:creationId xmlns:a16="http://schemas.microsoft.com/office/drawing/2014/main" id="{8423DEA3-42E8-4382-85D4-715FFD31D2F6}"/>
              </a:ext>
            </a:extLst>
          </p:cNvPr>
          <p:cNvSpPr>
            <a:spLocks noGrp="1"/>
          </p:cNvSpPr>
          <p:nvPr>
            <p:ph type="subTitle" idx="13" hasCustomPrompt="1"/>
          </p:nvPr>
        </p:nvSpPr>
        <p:spPr>
          <a:xfrm>
            <a:off x="334963"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3" name="Foliennummernplatzhalter 2">
            <a:extLst>
              <a:ext uri="{FF2B5EF4-FFF2-40B4-BE49-F238E27FC236}">
                <a16:creationId xmlns:a16="http://schemas.microsoft.com/office/drawing/2014/main" id="{BA31231D-86E2-4E4F-BCC9-E557337E4E8F}"/>
              </a:ext>
            </a:extLst>
          </p:cNvPr>
          <p:cNvSpPr>
            <a:spLocks noGrp="1"/>
          </p:cNvSpPr>
          <p:nvPr>
            <p:ph type="sldNum" sz="quarter" idx="14"/>
          </p:nvPr>
        </p:nvSpPr>
        <p:spPr/>
        <p:txBody>
          <a:bodyPr/>
          <a:lstStyle>
            <a:lvl1pPr>
              <a:defRPr>
                <a:solidFill>
                  <a:srgbClr val="000000"/>
                </a:solidFill>
              </a:defRPr>
            </a:lvl1pPr>
          </a:lstStyle>
          <a:p>
            <a:fld id="{84F2640E-5168-4472-BED8-335034B470C3}" type="slidenum">
              <a:rPr lang="en-US" smtClean="0"/>
              <a:pPr/>
              <a:t>‹Nr.›</a:t>
            </a:fld>
            <a:endParaRPr lang="en-US" dirty="0"/>
          </a:p>
        </p:txBody>
      </p:sp>
      <p:sp>
        <p:nvSpPr>
          <p:cNvPr id="5" name="Datumsplatzhalter 4">
            <a:extLst>
              <a:ext uri="{FF2B5EF4-FFF2-40B4-BE49-F238E27FC236}">
                <a16:creationId xmlns:a16="http://schemas.microsoft.com/office/drawing/2014/main" id="{07095CED-8632-45D2-A504-FECA26A3E0FC}"/>
              </a:ext>
            </a:extLst>
          </p:cNvPr>
          <p:cNvSpPr>
            <a:spLocks noGrp="1"/>
          </p:cNvSpPr>
          <p:nvPr>
            <p:ph type="dt" sz="half" idx="15"/>
          </p:nvPr>
        </p:nvSpPr>
        <p:spPr>
          <a:xfrm>
            <a:off x="335538" y="6487478"/>
            <a:ext cx="2880320" cy="133264"/>
          </a:xfrm>
        </p:spPr>
        <p:txBody>
          <a:bodyPr/>
          <a:lstStyle>
            <a:lvl1pPr>
              <a:defRPr>
                <a:solidFill>
                  <a:srgbClr val="000000"/>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ECF725F8-33AD-4F6F-BE7C-B44355ABCABA}"/>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000000"/>
              </a:solidFill>
            </a:endParaRPr>
          </a:p>
        </p:txBody>
      </p:sp>
      <p:sp>
        <p:nvSpPr>
          <p:cNvPr id="13" name="Grafik 4">
            <a:extLst>
              <a:ext uri="{FF2B5EF4-FFF2-40B4-BE49-F238E27FC236}">
                <a16:creationId xmlns:a16="http://schemas.microsoft.com/office/drawing/2014/main" id="{203A8A28-DD17-4C81-A808-7F5B5E47B86C}"/>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2589894830"/>
      </p:ext>
    </p:extLst>
  </p:cSld>
  <p:clrMapOvr>
    <a:masterClrMapping/>
  </p:clrMapOvr>
  <p:hf hdr="0"/>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Leer" preserve="1" userDrawn="1">
  <p:cSld name="Leer">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51E132BD-FF38-4B86-A630-04C2D8FE6B50}"/>
              </a:ext>
            </a:extLst>
          </p:cNvPr>
          <p:cNvSpPr>
            <a:spLocks noGrp="1"/>
          </p:cNvSpPr>
          <p:nvPr>
            <p:ph type="sldNum" sz="quarter" idx="12"/>
          </p:nvPr>
        </p:nvSpPr>
        <p:spPr/>
        <p:txBody>
          <a:bodyPr/>
          <a:lstStyle/>
          <a:p>
            <a:fld id="{B251F278-185D-4038-A5B2-B950B3410817}" type="slidenum">
              <a:rPr lang="en-US" smtClean="0"/>
              <a:pPr/>
              <a:t>‹Nr.›</a:t>
            </a:fld>
            <a:endParaRPr lang="en-US" dirty="0"/>
          </a:p>
        </p:txBody>
      </p:sp>
      <p:sp>
        <p:nvSpPr>
          <p:cNvPr id="4" name="Datumsplatzhalter 3">
            <a:extLst>
              <a:ext uri="{FF2B5EF4-FFF2-40B4-BE49-F238E27FC236}">
                <a16:creationId xmlns:a16="http://schemas.microsoft.com/office/drawing/2014/main" id="{32DE1780-2DD2-4A82-BB14-28401D8C5172}"/>
              </a:ext>
            </a:extLst>
          </p:cNvPr>
          <p:cNvSpPr>
            <a:spLocks noGrp="1"/>
          </p:cNvSpPr>
          <p:nvPr>
            <p:ph type="dt" sz="half" idx="13"/>
          </p:nvPr>
        </p:nvSpPr>
        <p:spPr>
          <a:xfrm>
            <a:off x="335538" y="6487478"/>
            <a:ext cx="2880320" cy="133264"/>
          </a:xfrm>
        </p:spPr>
        <p:txBody>
          <a:bodyPr/>
          <a:lstStyle/>
          <a:p>
            <a:r>
              <a:rPr lang="en-US"/>
              <a:t>September 15-16, 2022</a:t>
            </a:r>
            <a:endParaRPr lang="en-US" dirty="0"/>
          </a:p>
        </p:txBody>
      </p:sp>
      <p:sp>
        <p:nvSpPr>
          <p:cNvPr id="3" name="TextBox 2">
            <a:extLst>
              <a:ext uri="{FF2B5EF4-FFF2-40B4-BE49-F238E27FC236}">
                <a16:creationId xmlns:a16="http://schemas.microsoft.com/office/drawing/2014/main" id="{7D89546B-1B59-43D2-8D6F-37E09AFDD6C2}"/>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2254228310"/>
      </p:ext>
    </p:extLst>
  </p:cSld>
  <p:clrMapOvr>
    <a:masterClrMapping/>
  </p:clrMapOvr>
  <p:hf hdr="0"/>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Schlusswort weiss" preserve="1" userDrawn="1">
  <p:cSld name="Schlusswort weiss">
    <p:bg>
      <p:bgPr>
        <a:solidFill>
          <a:srgbClr val="FFFFFF"/>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2" y="260648"/>
            <a:ext cx="9361487" cy="5689301"/>
          </a:xfrm>
        </p:spPr>
        <p:txBody>
          <a:bodyPr/>
          <a:lstStyle>
            <a:lvl1pPr marL="0" indent="0">
              <a:lnSpc>
                <a:spcPct val="100000"/>
              </a:lnSpc>
              <a:spcBef>
                <a:spcPts val="300"/>
              </a:spcBef>
              <a:buFont typeface="+mj-lt"/>
              <a:buNone/>
              <a:defRPr sz="3000">
                <a:solidFill>
                  <a:schemeClr val="tx2"/>
                </a:solidFill>
              </a:defRPr>
            </a:lvl1pPr>
          </a:lstStyle>
          <a:p>
            <a:pPr lvl="0"/>
            <a:r>
              <a:rPr lang="en-US" dirty="0" err="1"/>
              <a:t>Schlusswort</a:t>
            </a:r>
            <a:r>
              <a:rPr lang="en-US" dirty="0"/>
              <a:t> / Dank </a:t>
            </a:r>
            <a:br>
              <a:rPr lang="en-US" dirty="0"/>
            </a:br>
            <a:r>
              <a:rPr lang="en-US" dirty="0"/>
              <a:t>auf </a:t>
            </a:r>
            <a:r>
              <a:rPr lang="en-US" dirty="0" err="1"/>
              <a:t>mehreren</a:t>
            </a:r>
            <a:r>
              <a:rPr lang="en-US" dirty="0"/>
              <a:t> </a:t>
            </a:r>
            <a:r>
              <a:rPr lang="en-US" dirty="0" err="1"/>
              <a:t>Zeilen</a:t>
            </a:r>
            <a:br>
              <a:rPr lang="en-US" dirty="0"/>
            </a:br>
            <a:endParaRPr lang="en-US" dirty="0"/>
          </a:p>
        </p:txBody>
      </p:sp>
      <p:sp>
        <p:nvSpPr>
          <p:cNvPr id="2" name="Datumsplatzhalter 1">
            <a:extLst>
              <a:ext uri="{FF2B5EF4-FFF2-40B4-BE49-F238E27FC236}">
                <a16:creationId xmlns:a16="http://schemas.microsoft.com/office/drawing/2014/main" id="{E4C65D6E-0322-42E5-AE69-74EF0F771AB7}"/>
              </a:ext>
            </a:extLst>
          </p:cNvPr>
          <p:cNvSpPr>
            <a:spLocks noGrp="1"/>
          </p:cNvSpPr>
          <p:nvPr>
            <p:ph type="dt" sz="half" idx="16"/>
          </p:nvPr>
        </p:nvSpPr>
        <p:spPr>
          <a:xfrm>
            <a:off x="335538" y="6487478"/>
            <a:ext cx="2880320" cy="133264"/>
          </a:xfrm>
        </p:spPr>
        <p:txBody>
          <a:bodyPr/>
          <a:lstStyle>
            <a:lvl1pPr>
              <a:defRPr>
                <a:solidFill>
                  <a:srgbClr val="969696"/>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980AE77B-8094-44F5-97F4-0A72ECC52687}"/>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
        <p:nvSpPr>
          <p:cNvPr id="5" name="Foliennummernplatzhalter 4">
            <a:extLst>
              <a:ext uri="{FF2B5EF4-FFF2-40B4-BE49-F238E27FC236}">
                <a16:creationId xmlns:a16="http://schemas.microsoft.com/office/drawing/2014/main" id="{990DB12B-8D4D-4C81-9EA7-E701613D0AB2}"/>
              </a:ext>
            </a:extLst>
          </p:cNvPr>
          <p:cNvSpPr>
            <a:spLocks noGrp="1"/>
          </p:cNvSpPr>
          <p:nvPr>
            <p:ph type="sldNum" sz="quarter" idx="17"/>
          </p:nvPr>
        </p:nvSpPr>
        <p:spPr/>
        <p:txBody>
          <a:bodyPr/>
          <a:lstStyle/>
          <a:p>
            <a:fld id="{347FF020-C000-4203-B0E3-20DCAAC4C278}" type="slidenum">
              <a:rPr lang="en-US" smtClean="0"/>
              <a:pPr/>
              <a:t>‹Nr.›</a:t>
            </a:fld>
            <a:endParaRPr lang="en-US" dirty="0"/>
          </a:p>
        </p:txBody>
      </p:sp>
    </p:spTree>
    <p:extLst>
      <p:ext uri="{BB962C8B-B14F-4D97-AF65-F5344CB8AC3E}">
        <p14:creationId xmlns:p14="http://schemas.microsoft.com/office/powerpoint/2010/main" val="2709168200"/>
      </p:ext>
    </p:extLst>
  </p:cSld>
  <p:clrMapOvr>
    <a:masterClrMapping/>
  </p:clrMapOvr>
  <p:hf hdr="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matchingName="Schlusswort akzentuiert" preserve="1" userDrawn="1">
  <p:cSld name="Schlusswort akzentuier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2" y="260648"/>
            <a:ext cx="9361487" cy="5689301"/>
          </a:xfrm>
        </p:spPr>
        <p:txBody>
          <a:bodyPr/>
          <a:lstStyle>
            <a:lvl1pPr marL="0" indent="0">
              <a:lnSpc>
                <a:spcPct val="100000"/>
              </a:lnSpc>
              <a:spcBef>
                <a:spcPts val="300"/>
              </a:spcBef>
              <a:buFont typeface="+mj-lt"/>
              <a:buNone/>
              <a:defRPr sz="3000"/>
            </a:lvl1pPr>
          </a:lstStyle>
          <a:p>
            <a:pPr lvl="0"/>
            <a:r>
              <a:rPr lang="en-US" dirty="0" err="1"/>
              <a:t>Schlusswort</a:t>
            </a:r>
            <a:r>
              <a:rPr lang="en-US" dirty="0"/>
              <a:t> / Dank</a:t>
            </a:r>
            <a:br>
              <a:rPr lang="en-US" dirty="0"/>
            </a:br>
            <a:r>
              <a:rPr lang="en-US" dirty="0"/>
              <a:t>auf </a:t>
            </a:r>
            <a:r>
              <a:rPr lang="en-US" dirty="0" err="1"/>
              <a:t>mehreren</a:t>
            </a:r>
            <a:r>
              <a:rPr lang="en-US" dirty="0"/>
              <a:t> </a:t>
            </a:r>
            <a:r>
              <a:rPr lang="en-US" dirty="0" err="1"/>
              <a:t>Zeilen</a:t>
            </a:r>
            <a:endParaRPr lang="en-US" dirty="0"/>
          </a:p>
        </p:txBody>
      </p:sp>
      <p:sp>
        <p:nvSpPr>
          <p:cNvPr id="3" name="Foliennummernplatzhalter 2">
            <a:extLst>
              <a:ext uri="{FF2B5EF4-FFF2-40B4-BE49-F238E27FC236}">
                <a16:creationId xmlns:a16="http://schemas.microsoft.com/office/drawing/2014/main" id="{934CC874-8A4D-4D34-997E-5FD2AC5F2953}"/>
              </a:ext>
            </a:extLst>
          </p:cNvPr>
          <p:cNvSpPr>
            <a:spLocks noGrp="1"/>
          </p:cNvSpPr>
          <p:nvPr>
            <p:ph type="sldNum" sz="quarter" idx="15"/>
          </p:nvPr>
        </p:nvSpPr>
        <p:spPr/>
        <p:txBody>
          <a:bodyPr/>
          <a:lstStyle>
            <a:lvl1pPr>
              <a:defRPr>
                <a:solidFill>
                  <a:schemeClr val="tx1"/>
                </a:solidFill>
              </a:defRPr>
            </a:lvl1pPr>
          </a:lstStyle>
          <a:p>
            <a:fld id="{7F63712D-072E-478A-8592-03060ED20450}" type="slidenum">
              <a:rPr lang="en-US" smtClean="0"/>
              <a:pPr/>
              <a:t>‹Nr.›</a:t>
            </a:fld>
            <a:endParaRPr lang="en-US" dirty="0"/>
          </a:p>
        </p:txBody>
      </p:sp>
      <p:sp>
        <p:nvSpPr>
          <p:cNvPr id="2" name="Datumsplatzhalter 1">
            <a:extLst>
              <a:ext uri="{FF2B5EF4-FFF2-40B4-BE49-F238E27FC236}">
                <a16:creationId xmlns:a16="http://schemas.microsoft.com/office/drawing/2014/main" id="{E4C65D6E-0322-42E5-AE69-74EF0F771AB7}"/>
              </a:ext>
            </a:extLst>
          </p:cNvPr>
          <p:cNvSpPr>
            <a:spLocks noGrp="1"/>
          </p:cNvSpPr>
          <p:nvPr>
            <p:ph type="dt" sz="half" idx="16"/>
          </p:nvPr>
        </p:nvSpPr>
        <p:spPr>
          <a:xfrm>
            <a:off x="335538" y="6487478"/>
            <a:ext cx="2880320" cy="133264"/>
          </a:xfrm>
        </p:spPr>
        <p:txBody>
          <a:bodyPr/>
          <a:lstStyle>
            <a:lvl1pPr>
              <a:defRPr>
                <a:solidFill>
                  <a:schemeClr val="tx1"/>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980AE77B-8094-44F5-97F4-0A72ECC52687}"/>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tx1"/>
              </a:solidFill>
            </a:endParaRPr>
          </a:p>
        </p:txBody>
      </p:sp>
      <p:sp>
        <p:nvSpPr>
          <p:cNvPr id="6" name="Grafik 4">
            <a:extLst>
              <a:ext uri="{FF2B5EF4-FFF2-40B4-BE49-F238E27FC236}">
                <a16:creationId xmlns:a16="http://schemas.microsoft.com/office/drawing/2014/main" id="{EAD8F12F-9322-46F7-83E9-51C0935FEA7D}"/>
              </a:ext>
            </a:extLst>
          </p:cNvPr>
          <p:cNvSpPr/>
          <p:nvPr userDrawn="1">
            <p:custDataLst>
              <p:tags r:id="rId3"/>
            </p:custDataLst>
          </p:nvPr>
        </p:nvSpPr>
        <p:spPr>
          <a:xfrm rot="16200000">
            <a:off x="11362470" y="712833"/>
            <a:ext cx="877892" cy="157328"/>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tx1"/>
          </a:solidFill>
          <a:ln w="1569" cap="flat">
            <a:noFill/>
            <a:prstDash val="solid"/>
            <a:miter/>
          </a:ln>
        </p:spPr>
        <p:txBody>
          <a:bodyPr rtlCol="0" anchor="ctr"/>
          <a:lstStyle/>
          <a:p>
            <a:endParaRPr lang="en-US" dirty="0"/>
          </a:p>
        </p:txBody>
      </p:sp>
    </p:spTree>
    <p:extLst>
      <p:ext uri="{BB962C8B-B14F-4D97-AF65-F5344CB8AC3E}">
        <p14:creationId xmlns:p14="http://schemas.microsoft.com/office/powerpoint/2010/main" val="2811270455"/>
      </p:ext>
    </p:extLst>
  </p:cSld>
  <p:clrMapOvr>
    <a:masterClrMapping/>
  </p:clrMapOvr>
  <p:hf hdr="0"/>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Schlussfolie" preserve="1" userDrawn="1">
  <p:cSld name="Schlussfolie">
    <p:bg>
      <p:bgPr>
        <a:solidFill>
          <a:srgbClr val="FFFFFF"/>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CEDA8EF-7D97-4B76-B5D7-F991A982A3CD}"/>
              </a:ext>
            </a:extLst>
          </p:cNvPr>
          <p:cNvSpPr>
            <a:spLocks noGrp="1"/>
          </p:cNvSpPr>
          <p:nvPr>
            <p:ph type="body" sz="quarter" idx="14" hasCustomPrompt="1"/>
          </p:nvPr>
        </p:nvSpPr>
        <p:spPr>
          <a:xfrm>
            <a:off x="334962" y="1667042"/>
            <a:ext cx="3600000" cy="169277"/>
          </a:xfrm>
        </p:spPr>
        <p:txBody>
          <a:bodyPr wrap="none">
            <a:noAutofit/>
          </a:bodyPr>
          <a:lstStyle>
            <a:lvl1pPr marL="0" indent="0">
              <a:lnSpc>
                <a:spcPct val="122000"/>
              </a:lnSpc>
              <a:spcBef>
                <a:spcPts val="0"/>
              </a:spcBef>
              <a:buFont typeface="+mj-lt"/>
              <a:buNone/>
              <a:defRPr sz="1100">
                <a:solidFill>
                  <a:schemeClr val="tx2"/>
                </a:solidFill>
              </a:defRPr>
            </a:lvl1pPr>
          </a:lstStyle>
          <a:p>
            <a:pPr lvl="0"/>
            <a:r>
              <a:rPr lang="en-US" dirty="0"/>
              <a:t>Text </a:t>
            </a:r>
            <a:r>
              <a:rPr lang="en-US" dirty="0" err="1"/>
              <a:t>hinzufügen</a:t>
            </a:r>
            <a:r>
              <a:rPr lang="en-US" dirty="0"/>
              <a:t>, </a:t>
            </a:r>
            <a:r>
              <a:rPr lang="en-US" dirty="0" err="1"/>
              <a:t>z.B.</a:t>
            </a:r>
            <a:r>
              <a:rPr lang="en-US" dirty="0"/>
              <a:t> «</a:t>
            </a:r>
            <a:r>
              <a:rPr lang="en-US" dirty="0" err="1"/>
              <a:t>Vorbereitet</a:t>
            </a:r>
            <a:r>
              <a:rPr lang="en-US" dirty="0"/>
              <a:t> </a:t>
            </a:r>
            <a:r>
              <a:rPr lang="en-US" dirty="0" err="1"/>
              <a:t>für</a:t>
            </a:r>
            <a:r>
              <a:rPr lang="en-US" dirty="0"/>
              <a:t>»</a:t>
            </a:r>
          </a:p>
        </p:txBody>
      </p:sp>
      <p:sp>
        <p:nvSpPr>
          <p:cNvPr id="8" name="Text Placeholder 10">
            <a:extLst>
              <a:ext uri="{FF2B5EF4-FFF2-40B4-BE49-F238E27FC236}">
                <a16:creationId xmlns:a16="http://schemas.microsoft.com/office/drawing/2014/main" id="{AE159A9E-B59E-4E45-8FD8-1A551BEB2087}"/>
              </a:ext>
            </a:extLst>
          </p:cNvPr>
          <p:cNvSpPr>
            <a:spLocks noGrp="1"/>
          </p:cNvSpPr>
          <p:nvPr>
            <p:ph type="body" sz="quarter" idx="17" hasCustomPrompt="1"/>
          </p:nvPr>
        </p:nvSpPr>
        <p:spPr>
          <a:xfrm>
            <a:off x="334962" y="1853365"/>
            <a:ext cx="5761038" cy="286674"/>
          </a:xfrm>
        </p:spPr>
        <p:txBody>
          <a:bodyPr wrap="square">
            <a:noAutofit/>
          </a:bodyPr>
          <a:lstStyle>
            <a:lvl1pPr marL="0" indent="0">
              <a:lnSpc>
                <a:spcPct val="122000"/>
              </a:lnSpc>
              <a:spcBef>
                <a:spcPts val="0"/>
              </a:spcBef>
              <a:buFont typeface="+mj-lt"/>
              <a:buNone/>
              <a:defRPr sz="2000">
                <a:solidFill>
                  <a:srgbClr val="000000"/>
                </a:solidFill>
              </a:defRPr>
            </a:lvl1pPr>
          </a:lstStyle>
          <a:p>
            <a:pPr lvl="0"/>
            <a:r>
              <a:rPr lang="en-US" dirty="0" err="1"/>
              <a:t>Klient</a:t>
            </a:r>
            <a:r>
              <a:rPr lang="en-US" dirty="0"/>
              <a:t>, </a:t>
            </a:r>
            <a:r>
              <a:rPr lang="en-US" dirty="0" err="1"/>
              <a:t>Namen</a:t>
            </a:r>
            <a:endParaRPr lang="en-US" dirty="0"/>
          </a:p>
        </p:txBody>
      </p:sp>
      <p:sp>
        <p:nvSpPr>
          <p:cNvPr id="9" name="Text Placeholder 10">
            <a:extLst>
              <a:ext uri="{FF2B5EF4-FFF2-40B4-BE49-F238E27FC236}">
                <a16:creationId xmlns:a16="http://schemas.microsoft.com/office/drawing/2014/main" id="{7BE3CC73-8E68-4C14-863B-B410D30384F7}"/>
              </a:ext>
            </a:extLst>
          </p:cNvPr>
          <p:cNvSpPr>
            <a:spLocks noGrp="1"/>
          </p:cNvSpPr>
          <p:nvPr>
            <p:ph type="body" sz="quarter" idx="18" hasCustomPrompt="1"/>
          </p:nvPr>
        </p:nvSpPr>
        <p:spPr>
          <a:xfrm>
            <a:off x="334962" y="6197768"/>
            <a:ext cx="1512566" cy="435568"/>
          </a:xfrm>
        </p:spPr>
        <p:txBody>
          <a:bodyPr wrap="square" anchor="b">
            <a:spAutoFit/>
          </a:bodyPr>
          <a:lstStyle>
            <a:lvl1pPr marL="0" indent="0">
              <a:lnSpc>
                <a:spcPct val="122000"/>
              </a:lnSpc>
              <a:spcBef>
                <a:spcPts val="0"/>
              </a:spcBef>
              <a:buFont typeface="+mj-lt"/>
              <a:buNone/>
              <a:defRPr sz="1200">
                <a:solidFill>
                  <a:srgbClr val="000000"/>
                </a:solidFill>
              </a:defRPr>
            </a:lvl1pPr>
          </a:lstStyle>
          <a:p>
            <a:pPr lvl="0"/>
            <a:r>
              <a:rPr lang="en-US" dirty="0" err="1"/>
              <a:t>Absender</a:t>
            </a:r>
            <a:r>
              <a:rPr lang="en-US" dirty="0"/>
              <a:t> der </a:t>
            </a:r>
            <a:br>
              <a:rPr lang="en-US" dirty="0"/>
            </a:br>
            <a:r>
              <a:rPr lang="en-US" dirty="0" err="1"/>
              <a:t>Firma</a:t>
            </a:r>
            <a:endParaRPr lang="en-US" dirty="0"/>
          </a:p>
        </p:txBody>
      </p:sp>
      <p:sp>
        <p:nvSpPr>
          <p:cNvPr id="12" name="Text Placeholder 10">
            <a:extLst>
              <a:ext uri="{FF2B5EF4-FFF2-40B4-BE49-F238E27FC236}">
                <a16:creationId xmlns:a16="http://schemas.microsoft.com/office/drawing/2014/main" id="{620B5110-7F0F-4C93-9135-46DA6F2375B8}"/>
              </a:ext>
            </a:extLst>
          </p:cNvPr>
          <p:cNvSpPr>
            <a:spLocks noGrp="1"/>
          </p:cNvSpPr>
          <p:nvPr>
            <p:ph type="body" sz="quarter" idx="20" hasCustomPrompt="1"/>
          </p:nvPr>
        </p:nvSpPr>
        <p:spPr>
          <a:xfrm>
            <a:off x="1991544" y="6197768"/>
            <a:ext cx="2808312" cy="435568"/>
          </a:xfrm>
        </p:spPr>
        <p:txBody>
          <a:bodyPr wrap="square" anchor="b">
            <a:spAutoFit/>
          </a:bodyPr>
          <a:lstStyle>
            <a:lvl1pPr marL="0" indent="0">
              <a:lnSpc>
                <a:spcPct val="122000"/>
              </a:lnSpc>
              <a:spcBef>
                <a:spcPts val="0"/>
              </a:spcBef>
              <a:buFont typeface="+mj-lt"/>
              <a:buNone/>
              <a:tabLst>
                <a:tab pos="162000" algn="l"/>
              </a:tabLst>
              <a:defRPr sz="1200">
                <a:solidFill>
                  <a:schemeClr val="tx2"/>
                </a:solidFill>
              </a:defRPr>
            </a:lvl1pPr>
          </a:lstStyle>
          <a:p>
            <a:pPr lvl="0"/>
            <a:r>
              <a:rPr lang="en-US" dirty="0" err="1"/>
              <a:t>Absender</a:t>
            </a:r>
            <a:r>
              <a:rPr lang="en-US" dirty="0"/>
              <a:t> der </a:t>
            </a:r>
            <a:br>
              <a:rPr lang="en-US" dirty="0"/>
            </a:br>
            <a:r>
              <a:rPr lang="en-US" dirty="0" err="1"/>
              <a:t>ersten</a:t>
            </a:r>
            <a:r>
              <a:rPr lang="en-US" dirty="0"/>
              <a:t> Person</a:t>
            </a:r>
          </a:p>
        </p:txBody>
      </p:sp>
      <p:sp>
        <p:nvSpPr>
          <p:cNvPr id="13" name="Text Placeholder 10">
            <a:extLst>
              <a:ext uri="{FF2B5EF4-FFF2-40B4-BE49-F238E27FC236}">
                <a16:creationId xmlns:a16="http://schemas.microsoft.com/office/drawing/2014/main" id="{C373683B-A445-4DF2-8779-0A42D5511482}"/>
              </a:ext>
            </a:extLst>
          </p:cNvPr>
          <p:cNvSpPr>
            <a:spLocks noGrp="1"/>
          </p:cNvSpPr>
          <p:nvPr>
            <p:ph type="body" sz="quarter" idx="21" hasCustomPrompt="1"/>
          </p:nvPr>
        </p:nvSpPr>
        <p:spPr>
          <a:xfrm>
            <a:off x="5137486" y="6197768"/>
            <a:ext cx="2808312" cy="435568"/>
          </a:xfrm>
        </p:spPr>
        <p:txBody>
          <a:bodyPr wrap="square" anchor="b">
            <a:spAutoFit/>
          </a:bodyPr>
          <a:lstStyle>
            <a:lvl1pPr marL="0" indent="0">
              <a:lnSpc>
                <a:spcPct val="122000"/>
              </a:lnSpc>
              <a:spcBef>
                <a:spcPts val="0"/>
              </a:spcBef>
              <a:buFont typeface="+mj-lt"/>
              <a:buNone/>
              <a:tabLst>
                <a:tab pos="162000" algn="l"/>
              </a:tabLst>
              <a:defRPr sz="1200">
                <a:solidFill>
                  <a:schemeClr val="tx2"/>
                </a:solidFill>
              </a:defRPr>
            </a:lvl1pPr>
          </a:lstStyle>
          <a:p>
            <a:pPr lvl="0"/>
            <a:r>
              <a:rPr lang="en-US" dirty="0" err="1"/>
              <a:t>Absender</a:t>
            </a:r>
            <a:r>
              <a:rPr lang="en-US" dirty="0"/>
              <a:t> der </a:t>
            </a:r>
            <a:br>
              <a:rPr lang="en-US" dirty="0"/>
            </a:br>
            <a:r>
              <a:rPr lang="en-US" dirty="0" err="1"/>
              <a:t>zweiten</a:t>
            </a:r>
            <a:r>
              <a:rPr lang="en-US" dirty="0"/>
              <a:t> Person</a:t>
            </a:r>
          </a:p>
        </p:txBody>
      </p:sp>
    </p:spTree>
    <p:extLst>
      <p:ext uri="{BB962C8B-B14F-4D97-AF65-F5344CB8AC3E}">
        <p14:creationId xmlns:p14="http://schemas.microsoft.com/office/powerpoint/2010/main" val="3849537663"/>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6"/>
          <p:cNvSpPr>
            <a:spLocks noGrp="1"/>
          </p:cNvSpPr>
          <p:nvPr>
            <p:ph type="dt" sz="half" idx="10"/>
          </p:nvPr>
        </p:nvSpPr>
        <p:spPr/>
        <p:txBody>
          <a:bodyPr/>
          <a:lstStyle/>
          <a:p>
            <a:fld id="{AD835AB6-8D10-4E5A-977F-7D4B7D4AF794}" type="datetimeFigureOut">
              <a:rPr lang="es-ES" smtClean="0"/>
              <a:t>12/09/2022</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EECB6B12-1379-4355-A2A8-8B4045CB6C24}" type="slidenum">
              <a:rPr lang="es-ES" smtClean="0"/>
              <a:t>‹Nr.›</a:t>
            </a:fld>
            <a:endParaRPr lang="es-ES"/>
          </a:p>
        </p:txBody>
      </p:sp>
    </p:spTree>
    <p:extLst>
      <p:ext uri="{BB962C8B-B14F-4D97-AF65-F5344CB8AC3E}">
        <p14:creationId xmlns:p14="http://schemas.microsoft.com/office/powerpoint/2010/main" val="250688479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9CD59-AB3D-B63E-C67D-B377287C5D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B386410-A7FC-F7EA-8715-A8C1CCE48E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3322A3D-86AB-2212-3CFF-B7746E4E413C}"/>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5" name="Footer Placeholder 4">
            <a:extLst>
              <a:ext uri="{FF2B5EF4-FFF2-40B4-BE49-F238E27FC236}">
                <a16:creationId xmlns:a16="http://schemas.microsoft.com/office/drawing/2014/main" id="{C8ED7EC2-012E-0D79-3DF3-93DEE989EA2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625F1AE-ED66-B769-058B-77F4EC53645D}"/>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4081191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C108A-0589-5593-BC9C-EB36347163B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DA9DAE3-5948-5BF3-371D-2A49A0E707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C7EC45-7BF9-456E-7684-02E1F19241A2}"/>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5" name="Footer Placeholder 4">
            <a:extLst>
              <a:ext uri="{FF2B5EF4-FFF2-40B4-BE49-F238E27FC236}">
                <a16:creationId xmlns:a16="http://schemas.microsoft.com/office/drawing/2014/main" id="{1BE41387-7812-BC2B-87A4-36D43C5273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3E9584D-1C98-162E-8B67-610E0EB529A4}"/>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260984578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731B2-04FB-B348-F8AD-F99B1A9383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8CF355D-23E5-FFD1-7EBF-5C73A2DF5A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E0FE796-881B-5DD1-F3E7-C0A4FCA6EBC5}"/>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5" name="Footer Placeholder 4">
            <a:extLst>
              <a:ext uri="{FF2B5EF4-FFF2-40B4-BE49-F238E27FC236}">
                <a16:creationId xmlns:a16="http://schemas.microsoft.com/office/drawing/2014/main" id="{1B6E91D4-5E8A-A43A-CB13-313803E07CA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D21E8F5-6D2E-7C49-9EC5-6DAF3EF2540E}"/>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4548269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A2586-CB53-CE15-2E0B-36BF68179DD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898DDB5-D112-BA0F-6AB2-4F1CECF7D57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7524CEF-A828-EBC8-8144-8CA2F928B10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31B30A4-A2E0-D9DA-45A4-B015E50A9ADC}"/>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6" name="Footer Placeholder 5">
            <a:extLst>
              <a:ext uri="{FF2B5EF4-FFF2-40B4-BE49-F238E27FC236}">
                <a16:creationId xmlns:a16="http://schemas.microsoft.com/office/drawing/2014/main" id="{6EB10116-371E-03C2-E73E-89ECBD31EA2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BE443F1-405D-FE6F-4EC3-3C391A9AB989}"/>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3449636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547E2-872F-0E92-6174-C4D9DBDA940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B2033BC-E3EE-3ECA-BD2B-326F43EBDF22}"/>
              </a:ext>
            </a:extLst>
          </p:cNvPr>
          <p:cNvSpPr>
            <a:spLocks noGrp="1"/>
          </p:cNvSpPr>
          <p:nvPr>
            <p:ph type="dt" sz="half" idx="10"/>
          </p:nvPr>
        </p:nvSpPr>
        <p:spPr/>
        <p:txBody>
          <a:bodyPr/>
          <a:lstStyle/>
          <a:p>
            <a:endParaRPr lang="de-AT"/>
          </a:p>
        </p:txBody>
      </p:sp>
      <p:sp>
        <p:nvSpPr>
          <p:cNvPr id="4" name="Slide Number Placeholder 3">
            <a:extLst>
              <a:ext uri="{FF2B5EF4-FFF2-40B4-BE49-F238E27FC236}">
                <a16:creationId xmlns:a16="http://schemas.microsoft.com/office/drawing/2014/main" id="{7E7FFC63-0FF1-8EEF-7DF0-BD1B9D2FF200}"/>
              </a:ext>
            </a:extLst>
          </p:cNvPr>
          <p:cNvSpPr>
            <a:spLocks noGrp="1"/>
          </p:cNvSpPr>
          <p:nvPr>
            <p:ph type="sldNum" sz="quarter" idx="11"/>
          </p:nvPr>
        </p:nvSpPr>
        <p:spPr/>
        <p:txBody>
          <a:bodyPr/>
          <a:lstStyle/>
          <a:p>
            <a:fld id="{B459E51B-A277-4897-9DDF-ABA4750400EB}" type="slidenum">
              <a:rPr lang="en-GB" smtClean="0"/>
              <a:pPr/>
              <a:t>‹Nr.›</a:t>
            </a:fld>
            <a:endParaRPr lang="en-GB" dirty="0"/>
          </a:p>
        </p:txBody>
      </p:sp>
    </p:spTree>
    <p:extLst>
      <p:ext uri="{BB962C8B-B14F-4D97-AF65-F5344CB8AC3E}">
        <p14:creationId xmlns:p14="http://schemas.microsoft.com/office/powerpoint/2010/main" val="351864407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72016-53F0-618A-921E-F23D2410D98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9CE837D-898F-966F-5201-58BF33FC143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D3D7A2-AC0E-8E81-9846-2A8FB6A667D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B5D3ADA-0ECE-ED21-7C38-712BE65A30D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92ADF8-9F49-BE3B-DEBF-B86354235CB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931E6ED-12AC-C446-74D7-010EF78311C6}"/>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8" name="Footer Placeholder 7">
            <a:extLst>
              <a:ext uri="{FF2B5EF4-FFF2-40B4-BE49-F238E27FC236}">
                <a16:creationId xmlns:a16="http://schemas.microsoft.com/office/drawing/2014/main" id="{CD084559-A172-505B-76DF-18F443B643D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D893463-E7C2-1064-0D2F-4AFD146953D6}"/>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371345165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8DD24-0A67-4D1F-EF32-B2C5760408F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C3A24E3-8810-E9F1-BBDF-290FD4971C23}"/>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4" name="Footer Placeholder 3">
            <a:extLst>
              <a:ext uri="{FF2B5EF4-FFF2-40B4-BE49-F238E27FC236}">
                <a16:creationId xmlns:a16="http://schemas.microsoft.com/office/drawing/2014/main" id="{4852CDB6-20D7-F20D-098A-F8B135E5C01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268D3C8-2F8B-AACB-159B-BFCB8588F438}"/>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14969315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CFFA20-CFBD-0DC5-8127-FAA1633FCB36}"/>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3" name="Footer Placeholder 2">
            <a:extLst>
              <a:ext uri="{FF2B5EF4-FFF2-40B4-BE49-F238E27FC236}">
                <a16:creationId xmlns:a16="http://schemas.microsoft.com/office/drawing/2014/main" id="{6D1BC5E5-D64C-F6A9-3B73-C95AB98A5F1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DF71B8F-B10E-907C-7A3C-5DC9D4B81A50}"/>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16115973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58BB0-4F67-AE29-26D9-3DA228FDAE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F8D0ED1-29AA-156D-8511-5F3FBDFCD0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3E9153D-D601-BC36-FDA8-45122CAF7A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CFCFF7-26C8-FDEE-4AC6-88A988812637}"/>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6" name="Footer Placeholder 5">
            <a:extLst>
              <a:ext uri="{FF2B5EF4-FFF2-40B4-BE49-F238E27FC236}">
                <a16:creationId xmlns:a16="http://schemas.microsoft.com/office/drawing/2014/main" id="{B638D084-3C61-2144-BA35-A5DC1F82A7F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147F2F2-4498-A690-76B8-B11FF6D48415}"/>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219807877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40621-0554-4826-5930-736174FA96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6D6EFAA-5963-9E23-19ED-80409A6788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7063074-108C-6080-0203-56DEB89B90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4945EF-87E3-338B-7A6E-D6B4A5BF5232}"/>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6" name="Footer Placeholder 5">
            <a:extLst>
              <a:ext uri="{FF2B5EF4-FFF2-40B4-BE49-F238E27FC236}">
                <a16:creationId xmlns:a16="http://schemas.microsoft.com/office/drawing/2014/main" id="{4F38CC1E-0B91-45D2-11D6-33E02FD03A6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74EC274-201D-3856-F1EA-36489F9FD579}"/>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318322303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3C086-1AEE-8AEF-2808-AD4E8CA3C53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705316-8D72-4F63-9554-E542C5416B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E8EA4AA-5F60-5D78-D498-11DE24721D99}"/>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5" name="Footer Placeholder 4">
            <a:extLst>
              <a:ext uri="{FF2B5EF4-FFF2-40B4-BE49-F238E27FC236}">
                <a16:creationId xmlns:a16="http://schemas.microsoft.com/office/drawing/2014/main" id="{F6779C77-FA67-E8B9-F953-18347BD7D2E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96D894B-BB8F-01A3-9774-6DA6339F2EAA}"/>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194005105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E4DB54-9D20-4503-FC3C-D5A7F1063D5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093E86C-09D2-3D7B-6589-F1FE962CE78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B40B45C-5C66-A055-1B3F-F0844AF1F9C2}"/>
              </a:ext>
            </a:extLst>
          </p:cNvPr>
          <p:cNvSpPr>
            <a:spLocks noGrp="1"/>
          </p:cNvSpPr>
          <p:nvPr>
            <p:ph type="dt" sz="half" idx="10"/>
          </p:nvPr>
        </p:nvSpPr>
        <p:spPr/>
        <p:txBody>
          <a:bodyPr/>
          <a:lstStyle/>
          <a:p>
            <a:fld id="{70E29C98-9AA5-4E05-A580-6E3E082C82D5}" type="datetimeFigureOut">
              <a:rPr lang="en-GB" smtClean="0"/>
              <a:t>12/09/2022</a:t>
            </a:fld>
            <a:endParaRPr lang="en-GB"/>
          </a:p>
        </p:txBody>
      </p:sp>
      <p:sp>
        <p:nvSpPr>
          <p:cNvPr id="5" name="Footer Placeholder 4">
            <a:extLst>
              <a:ext uri="{FF2B5EF4-FFF2-40B4-BE49-F238E27FC236}">
                <a16:creationId xmlns:a16="http://schemas.microsoft.com/office/drawing/2014/main" id="{55B30AA8-3DAA-AC7A-AC67-A9AF6E752E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49DF260-663D-45E3-D230-8134D9DB611B}"/>
              </a:ext>
            </a:extLst>
          </p:cNvPr>
          <p:cNvSpPr>
            <a:spLocks noGrp="1"/>
          </p:cNvSpPr>
          <p:nvPr>
            <p:ph type="sldNum" sz="quarter" idx="12"/>
          </p:nvPr>
        </p:nvSpPr>
        <p:spPr/>
        <p:txBody>
          <a:bodyPr/>
          <a:lstStyle/>
          <a:p>
            <a:fld id="{D8FCE466-D2D1-4716-A6AC-FC366F0CAFC8}" type="slidenum">
              <a:rPr lang="en-GB" smtClean="0"/>
              <a:t>‹Nr.›</a:t>
            </a:fld>
            <a:endParaRPr lang="en-GB"/>
          </a:p>
        </p:txBody>
      </p:sp>
    </p:spTree>
    <p:extLst>
      <p:ext uri="{BB962C8B-B14F-4D97-AF65-F5344CB8AC3E}">
        <p14:creationId xmlns:p14="http://schemas.microsoft.com/office/powerpoint/2010/main" val="23534672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in one columm">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838200" y="252413"/>
            <a:ext cx="10980000" cy="510706"/>
          </a:xfrm>
        </p:spPr>
        <p:txBody>
          <a:bodyPr>
            <a:noAutofit/>
          </a:bodyPr>
          <a:lstStyle>
            <a:lvl1pPr>
              <a:lnSpc>
                <a:spcPct val="100000"/>
              </a:lnSpc>
              <a:defRPr sz="2800">
                <a:latin typeface="Cambria" panose="02040503050406030204" pitchFamily="18" charset="0"/>
                <a:ea typeface="Cambria" panose="02040503050406030204" pitchFamily="18" charset="0"/>
              </a:defRPr>
            </a:lvl1pPr>
          </a:lstStyle>
          <a:p>
            <a:r>
              <a:rPr lang="en-GB" noProof="0" dirty="0"/>
              <a:t>[Title]</a:t>
            </a:r>
          </a:p>
        </p:txBody>
      </p:sp>
      <p:sp>
        <p:nvSpPr>
          <p:cNvPr id="7" name="Rectángulo 6"/>
          <p:cNvSpPr/>
          <p:nvPr userDrawn="1"/>
        </p:nvSpPr>
        <p:spPr>
          <a:xfrm>
            <a:off x="0" y="252413"/>
            <a:ext cx="568171" cy="1022349"/>
          </a:xfrm>
          <a:prstGeom prst="rect">
            <a:avLst/>
          </a:prstGeom>
          <a:solidFill>
            <a:srgbClr val="757A6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8" name="Content Placeholder 7"/>
          <p:cNvSpPr>
            <a:spLocks noGrp="1"/>
          </p:cNvSpPr>
          <p:nvPr>
            <p:ph sz="quarter" idx="10" hasCustomPrompt="1"/>
          </p:nvPr>
        </p:nvSpPr>
        <p:spPr>
          <a:xfrm>
            <a:off x="838200" y="763588"/>
            <a:ext cx="10980738" cy="511175"/>
          </a:xfrm>
        </p:spPr>
        <p:txBody>
          <a:bodyPr/>
          <a:lstStyle>
            <a:lvl1pPr marL="0" indent="0">
              <a:buNone/>
              <a:defRPr sz="2200">
                <a:solidFill>
                  <a:srgbClr val="757A61"/>
                </a:solidFill>
                <a:latin typeface="Cambria" panose="02040503050406030204" pitchFamily="18" charset="0"/>
                <a:ea typeface="Cambria" panose="02040503050406030204" pitchFamily="18" charset="0"/>
              </a:defRPr>
            </a:lvl1pPr>
          </a:lstStyle>
          <a:p>
            <a:pPr lvl="0"/>
            <a:r>
              <a:rPr lang="en-GB" noProof="0" dirty="0"/>
              <a:t>[Sub-title]</a:t>
            </a:r>
          </a:p>
        </p:txBody>
      </p:sp>
      <p:sp>
        <p:nvSpPr>
          <p:cNvPr id="6" name="Slide Number Placeholder 5"/>
          <p:cNvSpPr>
            <a:spLocks noGrp="1"/>
          </p:cNvSpPr>
          <p:nvPr>
            <p:ph type="sldNum" sz="quarter" idx="4"/>
          </p:nvPr>
        </p:nvSpPr>
        <p:spPr>
          <a:xfrm>
            <a:off x="11818200" y="6492875"/>
            <a:ext cx="373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78D92B-ACD7-4067-B1D3-621DA3CC4D96}" type="slidenum">
              <a:rPr lang="es-ES" smtClean="0"/>
              <a:pPr/>
              <a:t>‹Nr.›</a:t>
            </a:fld>
            <a:endParaRPr lang="es-ES" dirty="0"/>
          </a:p>
        </p:txBody>
      </p:sp>
      <p:sp>
        <p:nvSpPr>
          <p:cNvPr id="11" name="Content Placeholder 2">
            <a:extLst>
              <a:ext uri="{FF2B5EF4-FFF2-40B4-BE49-F238E27FC236}">
                <a16:creationId xmlns:a16="http://schemas.microsoft.com/office/drawing/2014/main" id="{8011BE15-6192-4D47-AD1F-F4647A66BD66}"/>
              </a:ext>
            </a:extLst>
          </p:cNvPr>
          <p:cNvSpPr>
            <a:spLocks noGrp="1"/>
          </p:cNvSpPr>
          <p:nvPr>
            <p:ph sz="half" idx="1"/>
          </p:nvPr>
        </p:nvSpPr>
        <p:spPr>
          <a:xfrm>
            <a:off x="856176" y="1600200"/>
            <a:ext cx="10962024" cy="4525963"/>
          </a:xfrm>
        </p:spPr>
        <p:txBody>
          <a:bodyPr/>
          <a:lstStyle>
            <a:lvl1pPr>
              <a:defRPr sz="1600">
                <a:latin typeface="Cambria" panose="02040503050406030204" pitchFamily="18" charset="0"/>
                <a:ea typeface="Cambria" panose="02040503050406030204" pitchFamily="18" charset="0"/>
              </a:defRPr>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p:txBody>
      </p:sp>
      <p:pic>
        <p:nvPicPr>
          <p:cNvPr id="12" name="Picture 11" descr="Logo&#10;&#10;Description automatically generated">
            <a:extLst>
              <a:ext uri="{FF2B5EF4-FFF2-40B4-BE49-F238E27FC236}">
                <a16:creationId xmlns:a16="http://schemas.microsoft.com/office/drawing/2014/main" id="{688005D9-B4A2-41E0-B5BC-36BD3D65C2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06225" y="136619"/>
            <a:ext cx="1212344" cy="520513"/>
          </a:xfrm>
          <a:prstGeom prst="rect">
            <a:avLst/>
          </a:prstGeom>
        </p:spPr>
      </p:pic>
    </p:spTree>
    <p:extLst>
      <p:ext uri="{BB962C8B-B14F-4D97-AF65-F5344CB8AC3E}">
        <p14:creationId xmlns:p14="http://schemas.microsoft.com/office/powerpoint/2010/main" val="202811449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542E0-954C-7648-41ED-3CE22260D3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B918B9E-7E67-776A-B84A-0C67C29C69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7B5452D-2EC1-4501-FB36-84300E7FBB49}"/>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5" name="Footer Placeholder 4">
            <a:extLst>
              <a:ext uri="{FF2B5EF4-FFF2-40B4-BE49-F238E27FC236}">
                <a16:creationId xmlns:a16="http://schemas.microsoft.com/office/drawing/2014/main" id="{B9235D86-5FB6-4F29-5070-0E360FF4EAC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8EA6618-A7B3-918F-266D-FA3E571F31DF}"/>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45170718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E0690-39F2-BB42-E0FB-D62C1613F01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72A771A-57D9-B829-E3A3-6BD03E959B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253972D-6CB6-A033-A342-DA4A55068D46}"/>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5" name="Footer Placeholder 4">
            <a:extLst>
              <a:ext uri="{FF2B5EF4-FFF2-40B4-BE49-F238E27FC236}">
                <a16:creationId xmlns:a16="http://schemas.microsoft.com/office/drawing/2014/main" id="{A6D9AED2-EE86-9438-0125-F9A1A292071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6C505F2-1347-684B-1238-30F203C6A7D9}"/>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12019553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FF2A2-F90A-917B-8762-719F6F1055C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BCCD264-66C2-D5AB-E100-F376E95168DA}"/>
              </a:ext>
            </a:extLst>
          </p:cNvPr>
          <p:cNvSpPr>
            <a:spLocks noGrp="1"/>
          </p:cNvSpPr>
          <p:nvPr>
            <p:ph type="dt" sz="half" idx="10"/>
          </p:nvPr>
        </p:nvSpPr>
        <p:spPr/>
        <p:txBody>
          <a:bodyPr/>
          <a:lstStyle/>
          <a:p>
            <a:endParaRPr lang="de-AT"/>
          </a:p>
        </p:txBody>
      </p:sp>
      <p:sp>
        <p:nvSpPr>
          <p:cNvPr id="4" name="Slide Number Placeholder 3">
            <a:extLst>
              <a:ext uri="{FF2B5EF4-FFF2-40B4-BE49-F238E27FC236}">
                <a16:creationId xmlns:a16="http://schemas.microsoft.com/office/drawing/2014/main" id="{6F3A8F4B-8E38-AB84-86EE-9010C534BD51}"/>
              </a:ext>
            </a:extLst>
          </p:cNvPr>
          <p:cNvSpPr>
            <a:spLocks noGrp="1"/>
          </p:cNvSpPr>
          <p:nvPr>
            <p:ph type="sldNum" sz="quarter" idx="11"/>
          </p:nvPr>
        </p:nvSpPr>
        <p:spPr/>
        <p:txBody>
          <a:bodyPr/>
          <a:lstStyle/>
          <a:p>
            <a:fld id="{B459E51B-A277-4897-9DDF-ABA4750400EB}" type="slidenum">
              <a:rPr lang="en-GB" smtClean="0"/>
              <a:pPr/>
              <a:t>‹Nr.›</a:t>
            </a:fld>
            <a:endParaRPr lang="en-GB" dirty="0"/>
          </a:p>
        </p:txBody>
      </p:sp>
    </p:spTree>
    <p:extLst>
      <p:ext uri="{BB962C8B-B14F-4D97-AF65-F5344CB8AC3E}">
        <p14:creationId xmlns:p14="http://schemas.microsoft.com/office/powerpoint/2010/main" val="3277818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D4F0D-9F80-0566-DA87-7548714E2B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E75F8D7-2BEB-778A-BF00-144CCB0142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484682-3EE7-147C-153C-C4FA772C903E}"/>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5" name="Footer Placeholder 4">
            <a:extLst>
              <a:ext uri="{FF2B5EF4-FFF2-40B4-BE49-F238E27FC236}">
                <a16:creationId xmlns:a16="http://schemas.microsoft.com/office/drawing/2014/main" id="{86273A90-DF4A-C2B8-B740-C6D3E622F2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67DDB6E-51A0-11CE-B3C0-0048CC413965}"/>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1236051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CC380-40CA-D742-D74C-F402EC6BBF5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34406AD-5B5D-B47C-0DB3-9836276CB8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1BFEE78-4798-CFFC-BE70-CDD7CB99D19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83EF84C-DF23-2E5F-BA61-0E85B7A2E1D5}"/>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6" name="Footer Placeholder 5">
            <a:extLst>
              <a:ext uri="{FF2B5EF4-FFF2-40B4-BE49-F238E27FC236}">
                <a16:creationId xmlns:a16="http://schemas.microsoft.com/office/drawing/2014/main" id="{3D8D3E6D-3A62-1EEE-9A9A-9CEDF7697C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13FAE38-1ADF-412C-14A3-799553FEE7D7}"/>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186477432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E9697-66E9-76D2-A2F3-A3B52DBA48F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713641-3FCB-0B12-4C1D-D7206B2186A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51ADFFE-594E-2B54-52A8-014071A5FD0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98CE8A5-8E8C-FD33-205F-7DA9FE6793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717552-30B0-6F17-99BB-54011E1487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BFA388F-D6E6-D53C-CB52-6A16CED4C0BE}"/>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8" name="Footer Placeholder 7">
            <a:extLst>
              <a:ext uri="{FF2B5EF4-FFF2-40B4-BE49-F238E27FC236}">
                <a16:creationId xmlns:a16="http://schemas.microsoft.com/office/drawing/2014/main" id="{2A9EA184-8C80-352A-A5D2-EAAFDB84F8F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DF60942-BF9A-4DD8-AAF7-7C6AA38E60CD}"/>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163794071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1C949-6D96-B757-4C80-C17A16A3026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C6DB217-982E-F27F-2870-38C20EE8A34A}"/>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4" name="Footer Placeholder 3">
            <a:extLst>
              <a:ext uri="{FF2B5EF4-FFF2-40B4-BE49-F238E27FC236}">
                <a16:creationId xmlns:a16="http://schemas.microsoft.com/office/drawing/2014/main" id="{23EA1563-1DFC-35E0-B9D4-A8B760C3EB6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7FD94EF-3D94-6514-8033-FC1A8C6EE3AF}"/>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32976917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F8F13B-6461-2D8D-AD33-7FFB0FA23F03}"/>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3" name="Footer Placeholder 2">
            <a:extLst>
              <a:ext uri="{FF2B5EF4-FFF2-40B4-BE49-F238E27FC236}">
                <a16:creationId xmlns:a16="http://schemas.microsoft.com/office/drawing/2014/main" id="{11C091F6-B1C7-AB97-2713-E3D18786356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7FE1C18-A1F5-C154-5EA8-2F3C7CF5F2C8}"/>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45891542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8DAE2-0E45-2694-B1A8-9B3EE366880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4A39A0B-7200-D117-7CBD-FD72628EED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8C6D3B4-8C32-F79A-66C8-9913C71A92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3CA1214-0F00-A71F-25B0-0FC6ADD5B316}"/>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6" name="Footer Placeholder 5">
            <a:extLst>
              <a:ext uri="{FF2B5EF4-FFF2-40B4-BE49-F238E27FC236}">
                <a16:creationId xmlns:a16="http://schemas.microsoft.com/office/drawing/2014/main" id="{8CEFDA27-247E-2875-22C8-B0D5F007FC3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AC4687-A7E6-70F2-054D-97B3870C890C}"/>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15417365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CCD66-5C6C-69C8-F85B-3DF42DF63E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D725FFF-E8FA-F5A8-943A-E399E93274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2092D5F-0C2C-1AB0-AEC4-D1BC7D3711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DD702A-520B-14B9-F95C-C127A7BE032F}"/>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6" name="Footer Placeholder 5">
            <a:extLst>
              <a:ext uri="{FF2B5EF4-FFF2-40B4-BE49-F238E27FC236}">
                <a16:creationId xmlns:a16="http://schemas.microsoft.com/office/drawing/2014/main" id="{1D6C9F11-359E-6021-C18A-5BD37CCCC88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81BDB34-C177-0573-78BC-65FE3ACE9A47}"/>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45943488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AA4D0-9442-C5F3-3209-9CF3DC0EB38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A5D0A0F-8B9D-5CA8-D8B3-1B085900C6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905552A-1271-2628-3981-87C37124A7FF}"/>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5" name="Footer Placeholder 4">
            <a:extLst>
              <a:ext uri="{FF2B5EF4-FFF2-40B4-BE49-F238E27FC236}">
                <a16:creationId xmlns:a16="http://schemas.microsoft.com/office/drawing/2014/main" id="{99AAB38D-8E68-6BEA-A72C-E964240F04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62095BA-379C-BE43-C68E-D10F067D3813}"/>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121315154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465DE76-38F6-A79E-F286-65147C5DB1E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1AEB4A2-5352-2338-19FE-44E5AE3492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F402421-F446-63B4-B735-AD70DB50EE57}"/>
              </a:ext>
            </a:extLst>
          </p:cNvPr>
          <p:cNvSpPr>
            <a:spLocks noGrp="1"/>
          </p:cNvSpPr>
          <p:nvPr>
            <p:ph type="dt" sz="half" idx="10"/>
          </p:nvPr>
        </p:nvSpPr>
        <p:spPr/>
        <p:txBody>
          <a:bodyPr/>
          <a:lstStyle/>
          <a:p>
            <a:fld id="{A69D0AA0-5A24-4446-84A3-0BBCEBA22B41}" type="datetimeFigureOut">
              <a:rPr lang="en-GB" smtClean="0"/>
              <a:t>12/09/2022</a:t>
            </a:fld>
            <a:endParaRPr lang="en-GB"/>
          </a:p>
        </p:txBody>
      </p:sp>
      <p:sp>
        <p:nvSpPr>
          <p:cNvPr id="5" name="Footer Placeholder 4">
            <a:extLst>
              <a:ext uri="{FF2B5EF4-FFF2-40B4-BE49-F238E27FC236}">
                <a16:creationId xmlns:a16="http://schemas.microsoft.com/office/drawing/2014/main" id="{859DFC9B-ECDC-48E1-9760-54BDEFE06E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597DA66-D47B-69AE-2377-34A586102F4E}"/>
              </a:ext>
            </a:extLst>
          </p:cNvPr>
          <p:cNvSpPr>
            <a:spLocks noGrp="1"/>
          </p:cNvSpPr>
          <p:nvPr>
            <p:ph type="sldNum" sz="quarter" idx="12"/>
          </p:nvPr>
        </p:nvSpPr>
        <p:spPr/>
        <p:txBody>
          <a:bodyPr/>
          <a:lstStyle/>
          <a:p>
            <a:fld id="{D5F235EC-9DA7-48F4-BFF0-B4B321516531}" type="slidenum">
              <a:rPr lang="en-GB" smtClean="0"/>
              <a:t>‹Nr.›</a:t>
            </a:fld>
            <a:endParaRPr lang="en-GB"/>
          </a:p>
        </p:txBody>
      </p:sp>
    </p:spTree>
    <p:extLst>
      <p:ext uri="{BB962C8B-B14F-4D97-AF65-F5344CB8AC3E}">
        <p14:creationId xmlns:p14="http://schemas.microsoft.com/office/powerpoint/2010/main" val="248740232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363" y="1484784"/>
            <a:ext cx="5568619" cy="4824536"/>
          </a:xfrm>
        </p:spPr>
        <p:txBody>
          <a:bodyPr>
            <a:normAutofit/>
          </a:bodyPr>
          <a:lstStyle>
            <a:lvl1pPr marL="177800" indent="-177800">
              <a:defRPr sz="1100">
                <a:latin typeface="Corbel" panose="020B0503020204020204" pitchFamily="34" charset="0"/>
              </a:defRPr>
            </a:lvl1pPr>
            <a:lvl2pPr>
              <a:defRPr sz="1100">
                <a:latin typeface="Corbel" panose="020B0503020204020204" pitchFamily="34" charset="0"/>
              </a:defRPr>
            </a:lvl2pPr>
            <a:lvl3pPr>
              <a:defRPr sz="1100">
                <a:latin typeface="Corbel" panose="020B0503020204020204" pitchFamily="34" charset="0"/>
              </a:defRPr>
            </a:lvl3pPr>
            <a:lvl4pPr>
              <a:defRPr sz="1100">
                <a:latin typeface="Corbel" panose="020B0503020204020204" pitchFamily="34" charset="0"/>
              </a:defRPr>
            </a:lvl4pPr>
            <a:lvl5pPr>
              <a:defRPr sz="1100">
                <a:latin typeface="Corbel" panose="020B05030202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1083072" y="6608292"/>
            <a:ext cx="3860800" cy="133076"/>
          </a:xfrm>
          <a:prstGeom prst="rect">
            <a:avLst/>
          </a:prstGeom>
        </p:spPr>
        <p:txBody>
          <a:bodyPr/>
          <a:lstStyle>
            <a:lvl1pPr>
              <a:defRPr sz="800">
                <a:solidFill>
                  <a:schemeClr val="tx1"/>
                </a:solidFill>
                <a:latin typeface="Corbel" panose="020B0503020204020204" pitchFamily="34" charset="0"/>
              </a:defRPr>
            </a:lvl1pPr>
          </a:lstStyle>
          <a:p>
            <a:r>
              <a:rPr lang="en-US" dirty="0">
                <a:solidFill>
                  <a:prstClr val="black"/>
                </a:solidFill>
              </a:rPr>
              <a:t>|  Portuguese tax regime</a:t>
            </a:r>
          </a:p>
        </p:txBody>
      </p:sp>
      <p:sp>
        <p:nvSpPr>
          <p:cNvPr id="6" name="Slide Number Placeholder 5"/>
          <p:cNvSpPr>
            <a:spLocks noGrp="1"/>
          </p:cNvSpPr>
          <p:nvPr>
            <p:ph type="sldNum" sz="quarter" idx="12"/>
          </p:nvPr>
        </p:nvSpPr>
        <p:spPr>
          <a:xfrm>
            <a:off x="911424" y="6597370"/>
            <a:ext cx="576064" cy="144015"/>
          </a:xfrm>
          <a:prstGeom prst="rect">
            <a:avLst/>
          </a:prstGeom>
        </p:spPr>
        <p:txBody>
          <a:bodyPr/>
          <a:lstStyle/>
          <a:p>
            <a:fld id="{2AA9BCBE-35C4-443F-90D8-B279A86DB938}" type="slidenum">
              <a:rPr lang="en-US" smtClean="0">
                <a:solidFill>
                  <a:prstClr val="black"/>
                </a:solidFill>
              </a:rPr>
              <a:pPr/>
              <a:t>‹Nr.›</a:t>
            </a:fld>
            <a:endParaRPr lang="en-US" dirty="0">
              <a:solidFill>
                <a:prstClr val="black"/>
              </a:solidFill>
            </a:endParaRPr>
          </a:p>
        </p:txBody>
      </p:sp>
      <p:sp>
        <p:nvSpPr>
          <p:cNvPr id="8" name="Title 1"/>
          <p:cNvSpPr>
            <a:spLocks noGrp="1"/>
          </p:cNvSpPr>
          <p:nvPr>
            <p:ph type="ctrTitle" hasCustomPrompt="1"/>
          </p:nvPr>
        </p:nvSpPr>
        <p:spPr>
          <a:xfrm>
            <a:off x="384046" y="260666"/>
            <a:ext cx="12048661" cy="576063"/>
          </a:xfrm>
          <a:prstGeom prst="rect">
            <a:avLst/>
          </a:prstGeom>
        </p:spPr>
        <p:txBody>
          <a:bodyPr anchor="b">
            <a:noAutofit/>
          </a:bodyPr>
          <a:lstStyle>
            <a:lvl1pPr algn="l">
              <a:lnSpc>
                <a:spcPct val="100000"/>
              </a:lnSpc>
              <a:defRPr lang="es-ES" sz="2800" kern="1200" baseline="0" dirty="0">
                <a:solidFill>
                  <a:srgbClr val="004438"/>
                </a:solidFill>
                <a:latin typeface="Bebas Neue Bold" panose="020B0606020202050201" pitchFamily="34" charset="0"/>
                <a:ea typeface="ＭＳ Ｐゴシック" pitchFamily="-111" charset="-128"/>
                <a:cs typeface="+mn-cs"/>
              </a:defRPr>
            </a:lvl1pPr>
          </a:lstStyle>
          <a:p>
            <a:r>
              <a:rPr lang="es-ES" dirty="0"/>
              <a:t>CLICK TO ADD</a:t>
            </a:r>
          </a:p>
        </p:txBody>
      </p:sp>
      <p:sp>
        <p:nvSpPr>
          <p:cNvPr id="9" name="Text Placeholder 6"/>
          <p:cNvSpPr>
            <a:spLocks noGrp="1"/>
          </p:cNvSpPr>
          <p:nvPr>
            <p:ph type="body" sz="quarter" idx="14" hasCustomPrompt="1"/>
          </p:nvPr>
        </p:nvSpPr>
        <p:spPr>
          <a:xfrm>
            <a:off x="384638" y="692699"/>
            <a:ext cx="12048066" cy="360363"/>
          </a:xfrm>
        </p:spPr>
        <p:txBody>
          <a:bodyPr>
            <a:noAutofit/>
          </a:bodyPr>
          <a:lstStyle>
            <a:lvl1pPr marL="0" indent="0" algn="l">
              <a:buNone/>
              <a:defRPr sz="2000" baseline="0">
                <a:solidFill>
                  <a:srgbClr val="DF750A"/>
                </a:solidFill>
                <a:latin typeface="Bebas Neue Bold" panose="020B0606020202050201" pitchFamily="34" charset="0"/>
              </a:defRPr>
            </a:lvl1pPr>
          </a:lstStyle>
          <a:p>
            <a:pPr lvl="0"/>
            <a:r>
              <a:rPr lang="en-US" dirty="0"/>
              <a:t>Click to add</a:t>
            </a:r>
          </a:p>
        </p:txBody>
      </p:sp>
      <p:sp>
        <p:nvSpPr>
          <p:cNvPr id="12" name="Table Placeholder 11"/>
          <p:cNvSpPr>
            <a:spLocks noGrp="1"/>
          </p:cNvSpPr>
          <p:nvPr>
            <p:ph type="tbl" sz="quarter" idx="15"/>
          </p:nvPr>
        </p:nvSpPr>
        <p:spPr>
          <a:xfrm>
            <a:off x="8592277" y="332656"/>
            <a:ext cx="3266016" cy="792088"/>
          </a:xfrm>
        </p:spPr>
        <p:txBody>
          <a:bodyPr>
            <a:normAutofit/>
          </a:bodyPr>
          <a:lstStyle>
            <a:lvl1pPr>
              <a:defRPr sz="700">
                <a:latin typeface="Corbel" panose="020B0503020204020204" pitchFamily="34" charset="0"/>
              </a:defRPr>
            </a:lvl1pPr>
          </a:lstStyle>
          <a:p>
            <a:endParaRPr lang="en-US" dirty="0"/>
          </a:p>
        </p:txBody>
      </p:sp>
      <p:sp>
        <p:nvSpPr>
          <p:cNvPr id="13" name="Content Placeholder 2"/>
          <p:cNvSpPr>
            <a:spLocks noGrp="1"/>
          </p:cNvSpPr>
          <p:nvPr>
            <p:ph idx="16"/>
          </p:nvPr>
        </p:nvSpPr>
        <p:spPr>
          <a:xfrm>
            <a:off x="6384032" y="1484784"/>
            <a:ext cx="5472608" cy="4824536"/>
          </a:xfrm>
        </p:spPr>
        <p:txBody>
          <a:bodyPr/>
          <a:lstStyle>
            <a:lvl1pPr marL="177800" indent="-177800">
              <a:defRPr lang="en-US" sz="1100" kern="1200" dirty="0" smtClean="0">
                <a:solidFill>
                  <a:schemeClr val="tx1"/>
                </a:solidFill>
                <a:latin typeface="Corbel" panose="020B0503020204020204" pitchFamily="34" charset="0"/>
                <a:ea typeface="+mn-ea"/>
                <a:cs typeface="+mn-cs"/>
              </a:defRPr>
            </a:lvl1pPr>
            <a:lvl2pPr marL="177800" indent="279400">
              <a:defRPr lang="en-US" sz="1100" kern="1200" dirty="0" smtClean="0">
                <a:solidFill>
                  <a:schemeClr val="tx1"/>
                </a:solidFill>
                <a:latin typeface="Corbel" panose="020B0503020204020204" pitchFamily="34" charset="0"/>
                <a:ea typeface="+mn-ea"/>
                <a:cs typeface="+mn-cs"/>
              </a:defRPr>
            </a:lvl2pPr>
            <a:lvl3pPr>
              <a:defRPr lang="en-US" sz="1100" kern="1200" dirty="0" smtClean="0">
                <a:solidFill>
                  <a:schemeClr val="tx1"/>
                </a:solidFill>
                <a:latin typeface="Corbel" panose="020B0503020204020204" pitchFamily="34" charset="0"/>
                <a:ea typeface="+mn-ea"/>
                <a:cs typeface="+mn-cs"/>
              </a:defRPr>
            </a:lvl3pPr>
            <a:lvl4pPr>
              <a:defRPr lang="en-US" sz="1100" kern="1200" dirty="0" smtClean="0">
                <a:solidFill>
                  <a:schemeClr val="tx1"/>
                </a:solidFill>
                <a:latin typeface="Corbel" panose="020B0503020204020204" pitchFamily="34" charset="0"/>
                <a:ea typeface="+mn-ea"/>
                <a:cs typeface="+mn-cs"/>
              </a:defRPr>
            </a:lvl4pPr>
            <a:lvl5pPr>
              <a:defRPr lang="en-US" sz="1100" kern="1200" dirty="0">
                <a:solidFill>
                  <a:schemeClr val="tx1"/>
                </a:solidFill>
                <a:latin typeface="Corbel" panose="020B0503020204020204"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ángulo 6">
            <a:extLst>
              <a:ext uri="{FF2B5EF4-FFF2-40B4-BE49-F238E27FC236}">
                <a16:creationId xmlns:a16="http://schemas.microsoft.com/office/drawing/2014/main" id="{7CC8AF34-F9FF-47AB-9D9B-5BCACB0149B3}"/>
              </a:ext>
            </a:extLst>
          </p:cNvPr>
          <p:cNvSpPr/>
          <p:nvPr userDrawn="1"/>
        </p:nvSpPr>
        <p:spPr>
          <a:xfrm>
            <a:off x="0" y="252413"/>
            <a:ext cx="568171" cy="1022349"/>
          </a:xfrm>
          <a:prstGeom prst="rect">
            <a:avLst/>
          </a:prstGeom>
          <a:solidFill>
            <a:srgbClr val="757A6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11" name="Picture 10" descr="Logo&#10;&#10;Description automatically generated">
            <a:extLst>
              <a:ext uri="{FF2B5EF4-FFF2-40B4-BE49-F238E27FC236}">
                <a16:creationId xmlns:a16="http://schemas.microsoft.com/office/drawing/2014/main" id="{B42584AA-E418-46CC-8A14-7D44D32C0F6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45951" y="235980"/>
            <a:ext cx="1212344" cy="520513"/>
          </a:xfrm>
          <a:prstGeom prst="rect">
            <a:avLst/>
          </a:prstGeom>
        </p:spPr>
      </p:pic>
    </p:spTree>
    <p:extLst>
      <p:ext uri="{BB962C8B-B14F-4D97-AF65-F5344CB8AC3E}">
        <p14:creationId xmlns:p14="http://schemas.microsoft.com/office/powerpoint/2010/main" val="18857540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out Quot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306E6CC-4600-45BD-846C-2B0E10A6A0F8}"/>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Background">
            <a:extLst>
              <a:ext uri="{FF2B5EF4-FFF2-40B4-BE49-F238E27FC236}">
                <a16:creationId xmlns:a16="http://schemas.microsoft.com/office/drawing/2014/main" id="{DE738E3E-C495-4BD5-BF5A-F3BE65D8C639}"/>
              </a:ext>
            </a:extLst>
          </p:cNvPr>
          <p:cNvSpPr/>
          <p:nvPr userDrawn="1"/>
        </p:nvSpPr>
        <p:spPr>
          <a:xfrm>
            <a:off x="0" y="-67929"/>
            <a:ext cx="12192000" cy="617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7" name="No Name">
            <a:extLst>
              <a:ext uri="{FF2B5EF4-FFF2-40B4-BE49-F238E27FC236}">
                <a16:creationId xmlns:a16="http://schemas.microsoft.com/office/drawing/2014/main" id="{ACE00587-C523-46BC-9C31-8FADB1E4472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46574" y="1420265"/>
            <a:ext cx="5026687" cy="3195815"/>
          </a:xfrm>
          <a:prstGeom prst="rect">
            <a:avLst/>
          </a:prstGeom>
        </p:spPr>
      </p:pic>
      <p:sp>
        <p:nvSpPr>
          <p:cNvPr id="9" name="QuoteSource" descr="PitchPerfect|Testimonials|QuoteSource">
            <a:extLst>
              <a:ext uri="{FF2B5EF4-FFF2-40B4-BE49-F238E27FC236}">
                <a16:creationId xmlns:a16="http://schemas.microsoft.com/office/drawing/2014/main" id="{86161087-A860-49B7-A24E-AF5960746CA0}"/>
              </a:ext>
            </a:extLst>
          </p:cNvPr>
          <p:cNvSpPr>
            <a:spLocks noGrp="1"/>
          </p:cNvSpPr>
          <p:nvPr>
            <p:ph type="body" sz="quarter" idx="13"/>
          </p:nvPr>
        </p:nvSpPr>
        <p:spPr>
          <a:xfrm>
            <a:off x="1666768" y="3094370"/>
            <a:ext cx="8129954" cy="1918806"/>
          </a:xfrm>
          <a:prstGeom prst="rect">
            <a:avLst/>
          </a:prstGeom>
        </p:spPr>
        <p:txBody>
          <a:bodyPr>
            <a:normAutofit/>
          </a:bodyPr>
          <a:lstStyle>
            <a:lvl1pPr algn="l">
              <a:lnSpc>
                <a:spcPct val="110000"/>
              </a:lnSpc>
              <a:defRPr sz="2400" b="0">
                <a:solidFill>
                  <a:schemeClr val="tx1"/>
                </a:solidFill>
                <a:latin typeface="+mn-lt"/>
              </a:defRPr>
            </a:lvl1pPr>
            <a:lvl2pPr algn="l">
              <a:defRPr sz="1400" b="1">
                <a:solidFill>
                  <a:srgbClr val="000000"/>
                </a:solidFill>
                <a:latin typeface="+mj-lt"/>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8512187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out Quote x 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306E6CC-4600-45BD-846C-2B0E10A6A0F8}"/>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Background">
            <a:extLst>
              <a:ext uri="{FF2B5EF4-FFF2-40B4-BE49-F238E27FC236}">
                <a16:creationId xmlns:a16="http://schemas.microsoft.com/office/drawing/2014/main" id="{DE738E3E-C495-4BD5-BF5A-F3BE65D8C639}"/>
              </a:ext>
            </a:extLst>
          </p:cNvPr>
          <p:cNvSpPr/>
          <p:nvPr userDrawn="1"/>
        </p:nvSpPr>
        <p:spPr>
          <a:xfrm>
            <a:off x="0" y="-67929"/>
            <a:ext cx="12192000" cy="617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7" name="No Name">
            <a:extLst>
              <a:ext uri="{FF2B5EF4-FFF2-40B4-BE49-F238E27FC236}">
                <a16:creationId xmlns:a16="http://schemas.microsoft.com/office/drawing/2014/main" id="{ACE00587-C523-46BC-9C31-8FADB1E4472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46574" y="377201"/>
            <a:ext cx="5026687" cy="3195815"/>
          </a:xfrm>
          <a:prstGeom prst="rect">
            <a:avLst/>
          </a:prstGeom>
        </p:spPr>
      </p:pic>
      <p:sp>
        <p:nvSpPr>
          <p:cNvPr id="9" name="QuoteSource" descr="PitchPerfect|Testimonials|QuoteSource">
            <a:extLst>
              <a:ext uri="{FF2B5EF4-FFF2-40B4-BE49-F238E27FC236}">
                <a16:creationId xmlns:a16="http://schemas.microsoft.com/office/drawing/2014/main" id="{86161087-A860-49B7-A24E-AF5960746CA0}"/>
              </a:ext>
            </a:extLst>
          </p:cNvPr>
          <p:cNvSpPr>
            <a:spLocks noGrp="1"/>
          </p:cNvSpPr>
          <p:nvPr>
            <p:ph type="body" sz="quarter" idx="13"/>
          </p:nvPr>
        </p:nvSpPr>
        <p:spPr>
          <a:xfrm>
            <a:off x="1666768" y="2197968"/>
            <a:ext cx="8129954" cy="1371600"/>
          </a:xfrm>
          <a:prstGeom prst="rect">
            <a:avLst/>
          </a:prstGeom>
        </p:spPr>
        <p:txBody>
          <a:bodyPr>
            <a:normAutofit/>
          </a:bodyPr>
          <a:lstStyle>
            <a:lvl1pPr algn="l">
              <a:defRPr sz="1600" b="0">
                <a:solidFill>
                  <a:schemeClr val="tx1"/>
                </a:solidFill>
                <a:latin typeface="+mn-lt"/>
              </a:defRPr>
            </a:lvl1pPr>
            <a:lvl2pPr algn="l">
              <a:defRPr sz="1200" b="1">
                <a:solidFill>
                  <a:srgbClr val="000000"/>
                </a:solidFill>
                <a:latin typeface="+mj-lt"/>
              </a:defRPr>
            </a:lvl2pPr>
          </a:lstStyle>
          <a:p>
            <a:pPr lvl="0"/>
            <a:r>
              <a:rPr lang="en-US"/>
              <a:t>Edit Master text styles</a:t>
            </a:r>
          </a:p>
          <a:p>
            <a:pPr lvl="1"/>
            <a:r>
              <a:rPr lang="en-US"/>
              <a:t>Second level</a:t>
            </a:r>
          </a:p>
        </p:txBody>
      </p:sp>
      <p:sp>
        <p:nvSpPr>
          <p:cNvPr id="8" name="QuoteSource_1" descr="PitchPerfect|Testimonials|QuoteSource_1">
            <a:extLst>
              <a:ext uri="{FF2B5EF4-FFF2-40B4-BE49-F238E27FC236}">
                <a16:creationId xmlns:a16="http://schemas.microsoft.com/office/drawing/2014/main" id="{04F76E58-C299-473D-8231-82C2FE3AEECF}"/>
              </a:ext>
            </a:extLst>
          </p:cNvPr>
          <p:cNvSpPr>
            <a:spLocks noGrp="1"/>
          </p:cNvSpPr>
          <p:nvPr>
            <p:ph type="body" sz="quarter" idx="14"/>
          </p:nvPr>
        </p:nvSpPr>
        <p:spPr>
          <a:xfrm>
            <a:off x="1671280" y="3569568"/>
            <a:ext cx="8129954" cy="1371600"/>
          </a:xfrm>
          <a:prstGeom prst="rect">
            <a:avLst/>
          </a:prstGeom>
        </p:spPr>
        <p:txBody>
          <a:bodyPr>
            <a:normAutofit/>
          </a:bodyPr>
          <a:lstStyle>
            <a:lvl1pPr algn="l">
              <a:defRPr sz="1600" b="0">
                <a:solidFill>
                  <a:schemeClr val="tx1"/>
                </a:solidFill>
                <a:latin typeface="+mn-lt"/>
              </a:defRPr>
            </a:lvl1pPr>
            <a:lvl2pPr algn="l">
              <a:defRPr sz="1200" b="1">
                <a:solidFill>
                  <a:srgbClr val="000000"/>
                </a:solidFill>
                <a:latin typeface="+mj-lt"/>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015259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_white">
    <p:bg>
      <p:bgPr>
        <a:solidFill>
          <a:schemeClr val="bg1"/>
        </a:solidFill>
        <a:effectLst/>
      </p:bgPr>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6C2B568A-0147-42B3-9F7A-A5D8C9D99F6D}"/>
              </a:ext>
            </a:extLst>
          </p:cNvPr>
          <p:cNvSpPr>
            <a:spLocks noGrp="1"/>
          </p:cNvSpPr>
          <p:nvPr>
            <p:ph type="dt" sz="half" idx="10"/>
            <p:custDataLst>
              <p:tags r:id="rId1"/>
            </p:custDataLst>
          </p:nvPr>
        </p:nvSpPr>
        <p:spPr/>
        <p:txBody>
          <a:bodyPr/>
          <a:lstStyle>
            <a:lvl1pPr>
              <a:defRPr lang="en-GB" dirty="0"/>
            </a:lvl1pPr>
          </a:lstStyle>
          <a:p>
            <a:endParaRPr lang="de-AT"/>
          </a:p>
        </p:txBody>
      </p:sp>
      <p:sp>
        <p:nvSpPr>
          <p:cNvPr id="6" name="Foliennummernplatzhalter 5">
            <a:extLst>
              <a:ext uri="{FF2B5EF4-FFF2-40B4-BE49-F238E27FC236}">
                <a16:creationId xmlns:a16="http://schemas.microsoft.com/office/drawing/2014/main" id="{C2BCD42F-6371-4FD7-AFEC-F5CF851D7985}"/>
              </a:ext>
            </a:extLst>
          </p:cNvPr>
          <p:cNvSpPr>
            <a:spLocks noGrp="1"/>
          </p:cNvSpPr>
          <p:nvPr>
            <p:ph type="sldNum" sz="quarter" idx="12"/>
            <p:custDataLst>
              <p:tags r:id="rId2"/>
            </p:custDataLst>
          </p:nvPr>
        </p:nvSpPr>
        <p:spPr/>
        <p:txBody>
          <a:bodyPr/>
          <a:lstStyle/>
          <a:p>
            <a:fld id="{B459E51B-A277-4897-9DDF-ABA4750400EB}" type="slidenum">
              <a:rPr lang="en-GB" smtClean="0"/>
              <a:t>‹Nr.›</a:t>
            </a:fld>
            <a:endParaRPr lang="en-GB" dirty="0"/>
          </a:p>
        </p:txBody>
      </p:sp>
      <p:sp>
        <p:nvSpPr>
          <p:cNvPr id="10" name="Text Placeholder 9">
            <a:extLst>
              <a:ext uri="{FF2B5EF4-FFF2-40B4-BE49-F238E27FC236}">
                <a16:creationId xmlns:a16="http://schemas.microsoft.com/office/drawing/2014/main" id="{1A2082F7-6D8D-40F4-A3CA-E50976CC1F5A}"/>
              </a:ext>
            </a:extLst>
          </p:cNvPr>
          <p:cNvSpPr>
            <a:spLocks noGrp="1"/>
          </p:cNvSpPr>
          <p:nvPr>
            <p:ph type="body" sz="quarter" idx="13" hasCustomPrompt="1"/>
            <p:custDataLst>
              <p:tags r:id="rId3"/>
            </p:custDataLst>
          </p:nvPr>
        </p:nvSpPr>
        <p:spPr>
          <a:xfrm>
            <a:off x="461639" y="895350"/>
            <a:ext cx="9853612" cy="400050"/>
          </a:xfrm>
        </p:spPr>
        <p:txBody>
          <a:bodyPr>
            <a:noAutofit/>
          </a:bodyPr>
          <a:lstStyle>
            <a:lvl1pPr marL="0" indent="0">
              <a:buNone/>
              <a:defRPr sz="2000">
                <a:latin typeface="Georgia" panose="02040502050405020303" pitchFamily="18" charset="0"/>
              </a:defRPr>
            </a:lvl1pPr>
            <a:lvl2pPr marL="266693" indent="0">
              <a:buFont typeface="Arial" panose="020B0604020202020204" pitchFamily="34" charset="0"/>
              <a:buNone/>
              <a:defRPr sz="2400">
                <a:latin typeface="Georgia" panose="02040502050405020303" pitchFamily="18" charset="0"/>
              </a:defRPr>
            </a:lvl2pPr>
            <a:lvl3pPr marL="541325" indent="0">
              <a:buFont typeface="Arial" panose="020B0604020202020204" pitchFamily="34" charset="0"/>
              <a:buNone/>
              <a:defRPr sz="2400">
                <a:latin typeface="Georgia" panose="02040502050405020303" pitchFamily="18" charset="0"/>
              </a:defRPr>
            </a:lvl3pPr>
            <a:lvl4pPr marL="808018" indent="0">
              <a:buFont typeface="Arial" panose="020B0604020202020204" pitchFamily="34" charset="0"/>
              <a:buNone/>
              <a:defRPr sz="2400">
                <a:latin typeface="Georgia" panose="02040502050405020303" pitchFamily="18" charset="0"/>
              </a:defRPr>
            </a:lvl4pPr>
            <a:lvl5pPr marL="1074710" indent="0">
              <a:buFont typeface="Arial" panose="020B0604020202020204" pitchFamily="34" charset="0"/>
              <a:buNone/>
              <a:defRPr sz="2400">
                <a:latin typeface="Georgia" panose="02040502050405020303" pitchFamily="18" charset="0"/>
              </a:defRPr>
            </a:lvl5pPr>
          </a:lstStyle>
          <a:p>
            <a:pPr lvl="0"/>
            <a:r>
              <a:rPr lang="en-GB" dirty="0"/>
              <a:t>Subtitle (optional)</a:t>
            </a:r>
          </a:p>
        </p:txBody>
      </p:sp>
      <p:sp>
        <p:nvSpPr>
          <p:cNvPr id="2" name="Title 1">
            <a:extLst>
              <a:ext uri="{FF2B5EF4-FFF2-40B4-BE49-F238E27FC236}">
                <a16:creationId xmlns:a16="http://schemas.microsoft.com/office/drawing/2014/main" id="{B9FBF93C-9D51-4CB5-B6F3-6BDEBB9709EE}"/>
              </a:ext>
            </a:extLst>
          </p:cNvPr>
          <p:cNvSpPr>
            <a:spLocks noGrp="1"/>
          </p:cNvSpPr>
          <p:nvPr>
            <p:ph type="title"/>
            <p:custDataLst>
              <p:tags r:id="rId4"/>
            </p:custDataLst>
          </p:nvPr>
        </p:nvSpPr>
        <p:spPr/>
        <p:txBody>
          <a:bodyPr/>
          <a:lstStyle/>
          <a:p>
            <a:r>
              <a:rPr lang="en-US"/>
              <a:t>Click to edit Master title style</a:t>
            </a:r>
            <a:endParaRPr lang="en-GB" dirty="0"/>
          </a:p>
        </p:txBody>
      </p:sp>
      <p:sp>
        <p:nvSpPr>
          <p:cNvPr id="9" name="Content Placeholder 8">
            <a:extLst>
              <a:ext uri="{FF2B5EF4-FFF2-40B4-BE49-F238E27FC236}">
                <a16:creationId xmlns:a16="http://schemas.microsoft.com/office/drawing/2014/main" id="{60F0E487-2FB6-4E84-A081-AE75050252B2}"/>
              </a:ext>
            </a:extLst>
          </p:cNvPr>
          <p:cNvSpPr>
            <a:spLocks noGrp="1"/>
          </p:cNvSpPr>
          <p:nvPr>
            <p:ph sz="quarter" idx="14"/>
            <p:custDataLst>
              <p:tags r:id="rId5"/>
            </p:custDataLst>
          </p:nvPr>
        </p:nvSpPr>
        <p:spPr>
          <a:xfrm>
            <a:off x="461640" y="1592265"/>
            <a:ext cx="9839325" cy="41532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384292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Grey">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5DC8CC58-6F44-482A-B11D-E8636D86CD27}"/>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FullPageImage" descr="PitchPerfect|Full Page Image|FullPageImage">
            <a:extLst>
              <a:ext uri="{FF2B5EF4-FFF2-40B4-BE49-F238E27FC236}">
                <a16:creationId xmlns:a16="http://schemas.microsoft.com/office/drawing/2014/main" id="{C0F7D8F1-7206-4BE5-989D-EB685B2FDBCA}"/>
              </a:ext>
            </a:extLst>
          </p:cNvPr>
          <p:cNvSpPr>
            <a:spLocks noGrp="1"/>
          </p:cNvSpPr>
          <p:nvPr>
            <p:ph type="pic" sz="quarter" idx="10"/>
          </p:nvPr>
        </p:nvSpPr>
        <p:spPr>
          <a:xfrm>
            <a:off x="0" y="0"/>
            <a:ext cx="12192000" cy="6858000"/>
          </a:xfrm>
          <a:prstGeom prst="rect">
            <a:avLst/>
          </a:prstGeom>
        </p:spPr>
        <p:txBody>
          <a:bodyPr/>
          <a:lstStyle/>
          <a:p>
            <a:r>
              <a:rPr lang="en-US"/>
              <a:t>Click icon to add picture</a:t>
            </a:r>
            <a:endParaRPr lang="en-GB" dirty="0"/>
          </a:p>
        </p:txBody>
      </p:sp>
      <p:sp>
        <p:nvSpPr>
          <p:cNvPr id="2" name="Title 1">
            <a:extLst>
              <a:ext uri="{FF2B5EF4-FFF2-40B4-BE49-F238E27FC236}">
                <a16:creationId xmlns:a16="http://schemas.microsoft.com/office/drawing/2014/main" id="{31AC5B71-02D0-4A2C-BBF2-A3141B066C29}"/>
              </a:ext>
            </a:extLst>
          </p:cNvPr>
          <p:cNvSpPr>
            <a:spLocks noGrp="1"/>
          </p:cNvSpPr>
          <p:nvPr>
            <p:ph type="title"/>
          </p:nvPr>
        </p:nvSpPr>
        <p:spPr>
          <a:xfrm>
            <a:off x="8223006" y="534984"/>
            <a:ext cx="3006303" cy="286232"/>
          </a:xfrm>
          <a:prstGeom prst="rect">
            <a:avLst/>
          </a:prstGeom>
        </p:spPr>
        <p:txBody>
          <a:bodyPr wrap="square">
            <a:spAutoFit/>
          </a:bodyPr>
          <a:lstStyle>
            <a:lvl1pPr algn="r">
              <a:defRPr b="0">
                <a:solidFill>
                  <a:srgbClr val="5C5D60"/>
                </a:solidFill>
                <a:latin typeface="+mj-lt"/>
              </a:defRPr>
            </a:lvl1pPr>
          </a:lstStyle>
          <a:p>
            <a:r>
              <a:rPr lang="en-US"/>
              <a:t>Click to edit Master title style</a:t>
            </a:r>
            <a:endParaRPr lang="en-GB" dirty="0"/>
          </a:p>
        </p:txBody>
      </p:sp>
      <p:sp>
        <p:nvSpPr>
          <p:cNvPr id="8" name="Line">
            <a:extLst>
              <a:ext uri="{FF2B5EF4-FFF2-40B4-BE49-F238E27FC236}">
                <a16:creationId xmlns:a16="http://schemas.microsoft.com/office/drawing/2014/main" id="{A501609E-561E-461B-BD70-50D724E3C5AF}"/>
              </a:ext>
            </a:extLst>
          </p:cNvPr>
          <p:cNvSpPr>
            <a:spLocks noGrp="1"/>
          </p:cNvSpPr>
          <p:nvPr>
            <p:ph type="body" sz="quarter" idx="11" hasCustomPrompt="1"/>
          </p:nvPr>
        </p:nvSpPr>
        <p:spPr>
          <a:xfrm>
            <a:off x="11413514" y="534984"/>
            <a:ext cx="0" cy="6710441"/>
          </a:xfrm>
          <a:prstGeom prst="rect">
            <a:avLst/>
          </a:prstGeom>
          <a:ln>
            <a:solidFill>
              <a:srgbClr val="5C5D60"/>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Tree>
    <p:extLst>
      <p:ext uri="{BB962C8B-B14F-4D97-AF65-F5344CB8AC3E}">
        <p14:creationId xmlns:p14="http://schemas.microsoft.com/office/powerpoint/2010/main" val="1114291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5DC8CC58-6F44-482A-B11D-E8636D86CD27}"/>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FullPageImage" descr="PitchPerfect|Full Page Image|FullPageImage">
            <a:extLst>
              <a:ext uri="{FF2B5EF4-FFF2-40B4-BE49-F238E27FC236}">
                <a16:creationId xmlns:a16="http://schemas.microsoft.com/office/drawing/2014/main" id="{17FB2BDC-B984-46F5-A406-CCF72434A5ED}"/>
              </a:ext>
            </a:extLst>
          </p:cNvPr>
          <p:cNvSpPr>
            <a:spLocks noGrp="1"/>
          </p:cNvSpPr>
          <p:nvPr>
            <p:ph type="pic" sz="quarter" idx="10"/>
          </p:nvPr>
        </p:nvSpPr>
        <p:spPr>
          <a:xfrm>
            <a:off x="0" y="0"/>
            <a:ext cx="12192000" cy="6858000"/>
          </a:xfrm>
          <a:prstGeom prst="rect">
            <a:avLst/>
          </a:prstGeom>
        </p:spPr>
        <p:txBody>
          <a:bodyPr/>
          <a:lstStyle>
            <a:lvl1pPr>
              <a:defRPr b="0">
                <a:latin typeface="+mn-lt"/>
              </a:defRPr>
            </a:lvl1pPr>
          </a:lstStyle>
          <a:p>
            <a:r>
              <a:rPr lang="en-US"/>
              <a:t>Click icon to add picture</a:t>
            </a:r>
            <a:endParaRPr lang="en-GB"/>
          </a:p>
        </p:txBody>
      </p:sp>
      <p:sp>
        <p:nvSpPr>
          <p:cNvPr id="2" name="Title 1">
            <a:extLst>
              <a:ext uri="{FF2B5EF4-FFF2-40B4-BE49-F238E27FC236}">
                <a16:creationId xmlns:a16="http://schemas.microsoft.com/office/drawing/2014/main" id="{31AC5B71-02D0-4A2C-BBF2-A3141B066C29}"/>
              </a:ext>
            </a:extLst>
          </p:cNvPr>
          <p:cNvSpPr>
            <a:spLocks noGrp="1"/>
          </p:cNvSpPr>
          <p:nvPr>
            <p:ph type="title"/>
          </p:nvPr>
        </p:nvSpPr>
        <p:spPr>
          <a:xfrm>
            <a:off x="8223012" y="534984"/>
            <a:ext cx="3006299" cy="286232"/>
          </a:xfrm>
          <a:prstGeom prst="rect">
            <a:avLst/>
          </a:prstGeom>
        </p:spPr>
        <p:txBody>
          <a:bodyPr wrap="square">
            <a:spAutoFit/>
          </a:bodyPr>
          <a:lstStyle>
            <a:lvl1pPr algn="r">
              <a:defRPr b="0">
                <a:solidFill>
                  <a:schemeClr val="bg1"/>
                </a:solidFill>
                <a:latin typeface="+mj-lt"/>
              </a:defRPr>
            </a:lvl1pPr>
          </a:lstStyle>
          <a:p>
            <a:r>
              <a:rPr lang="en-US"/>
              <a:t>Click to edit Master title style</a:t>
            </a:r>
            <a:endParaRPr lang="en-GB" dirty="0"/>
          </a:p>
        </p:txBody>
      </p:sp>
      <p:sp>
        <p:nvSpPr>
          <p:cNvPr id="8" name="Line">
            <a:extLst>
              <a:ext uri="{FF2B5EF4-FFF2-40B4-BE49-F238E27FC236}">
                <a16:creationId xmlns:a16="http://schemas.microsoft.com/office/drawing/2014/main" id="{97C06D11-9F7D-479A-A05C-2EE4C770E957}"/>
              </a:ext>
            </a:extLst>
          </p:cNvPr>
          <p:cNvSpPr>
            <a:spLocks noGrp="1"/>
          </p:cNvSpPr>
          <p:nvPr>
            <p:ph type="body" sz="quarter" idx="11" hasCustomPrompt="1"/>
          </p:nvPr>
        </p:nvSpPr>
        <p:spPr>
          <a:xfrm>
            <a:off x="11413514" y="534984"/>
            <a:ext cx="0" cy="6710441"/>
          </a:xfrm>
          <a:prstGeom prst="rect">
            <a:avLst/>
          </a:prstGeom>
          <a:ln>
            <a:solidFill>
              <a:schemeClr val="bg1"/>
            </a:solidFill>
          </a:ln>
        </p:spPr>
        <p:txBody>
          <a:bodyPr>
            <a:normAutofit/>
          </a:bodyPr>
          <a:lstStyle>
            <a:lvl1pPr>
              <a:defRPr sz="100">
                <a:solidFill>
                  <a:schemeClr val="bg1"/>
                </a:solidFill>
              </a:defRPr>
            </a:lvl1pPr>
            <a:lvl5pPr marL="432000" indent="0">
              <a:buNone/>
              <a:defRPr/>
            </a:lvl5pPr>
          </a:lstStyle>
          <a:p>
            <a:pPr lvl="0"/>
            <a:r>
              <a:rPr lang="en-US" dirty="0"/>
              <a:t>T</a:t>
            </a:r>
            <a:endParaRPr lang="en-GB" dirty="0"/>
          </a:p>
        </p:txBody>
      </p:sp>
    </p:spTree>
    <p:extLst>
      <p:ext uri="{BB962C8B-B14F-4D97-AF65-F5344CB8AC3E}">
        <p14:creationId xmlns:p14="http://schemas.microsoft.com/office/powerpoint/2010/main" val="20135920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Experience">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5DC8CC58-6F44-482A-B11D-E8636D86CD27}"/>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9" name="FullPageImage" descr="PitchPerfect|ExperiencePPT|FullPageImage">
            <a:extLst>
              <a:ext uri="{FF2B5EF4-FFF2-40B4-BE49-F238E27FC236}">
                <a16:creationId xmlns:a16="http://schemas.microsoft.com/office/drawing/2014/main" id="{17FB2BDC-B984-46F5-A406-CCF72434A5ED}"/>
              </a:ext>
            </a:extLst>
          </p:cNvPr>
          <p:cNvSpPr>
            <a:spLocks noGrp="1"/>
          </p:cNvSpPr>
          <p:nvPr>
            <p:ph type="pic" sz="quarter" idx="10"/>
          </p:nvPr>
        </p:nvSpPr>
        <p:spPr>
          <a:xfrm>
            <a:off x="0" y="0"/>
            <a:ext cx="12192000" cy="6858000"/>
          </a:xfrm>
          <a:prstGeom prst="rect">
            <a:avLst/>
          </a:prstGeom>
        </p:spPr>
        <p:txBody>
          <a:bodyPr/>
          <a:lstStyle>
            <a:lvl1pPr>
              <a:defRPr b="0">
                <a:latin typeface="+mn-lt"/>
              </a:defRPr>
            </a:lvl1pPr>
          </a:lstStyle>
          <a:p>
            <a:r>
              <a:rPr lang="en-US"/>
              <a:t>Click icon to add picture</a:t>
            </a:r>
            <a:endParaRPr lang="en-GB"/>
          </a:p>
        </p:txBody>
      </p:sp>
      <p:sp>
        <p:nvSpPr>
          <p:cNvPr id="2" name="DividerHeading" descr="PitchPerfect|ExperiencePPT|DividerHeading">
            <a:extLst>
              <a:ext uri="{FF2B5EF4-FFF2-40B4-BE49-F238E27FC236}">
                <a16:creationId xmlns:a16="http://schemas.microsoft.com/office/drawing/2014/main" id="{31AC5B71-02D0-4A2C-BBF2-A3141B066C29}"/>
              </a:ext>
            </a:extLst>
          </p:cNvPr>
          <p:cNvSpPr>
            <a:spLocks noGrp="1"/>
          </p:cNvSpPr>
          <p:nvPr>
            <p:ph type="title"/>
          </p:nvPr>
        </p:nvSpPr>
        <p:spPr>
          <a:xfrm>
            <a:off x="8223012" y="534984"/>
            <a:ext cx="3006299" cy="286232"/>
          </a:xfrm>
          <a:prstGeom prst="rect">
            <a:avLst/>
          </a:prstGeom>
        </p:spPr>
        <p:txBody>
          <a:bodyPr wrap="square">
            <a:spAutoFit/>
          </a:bodyPr>
          <a:lstStyle>
            <a:lvl1pPr algn="r">
              <a:defRPr b="0">
                <a:solidFill>
                  <a:schemeClr val="bg1"/>
                </a:solidFill>
                <a:latin typeface="+mj-lt"/>
              </a:defRPr>
            </a:lvl1pPr>
          </a:lstStyle>
          <a:p>
            <a:r>
              <a:rPr lang="en-US"/>
              <a:t>Click to edit Master title style</a:t>
            </a:r>
            <a:endParaRPr lang="en-GB" dirty="0"/>
          </a:p>
        </p:txBody>
      </p:sp>
      <p:sp>
        <p:nvSpPr>
          <p:cNvPr id="8" name="Line">
            <a:extLst>
              <a:ext uri="{FF2B5EF4-FFF2-40B4-BE49-F238E27FC236}">
                <a16:creationId xmlns:a16="http://schemas.microsoft.com/office/drawing/2014/main" id="{97C06D11-9F7D-479A-A05C-2EE4C770E957}"/>
              </a:ext>
            </a:extLst>
          </p:cNvPr>
          <p:cNvSpPr>
            <a:spLocks noGrp="1"/>
          </p:cNvSpPr>
          <p:nvPr>
            <p:ph type="body" sz="quarter" idx="11" hasCustomPrompt="1"/>
          </p:nvPr>
        </p:nvSpPr>
        <p:spPr>
          <a:xfrm>
            <a:off x="11413514" y="534984"/>
            <a:ext cx="0" cy="6710441"/>
          </a:xfrm>
          <a:prstGeom prst="rect">
            <a:avLst/>
          </a:prstGeom>
          <a:ln>
            <a:solidFill>
              <a:schemeClr val="bg1"/>
            </a:solidFill>
          </a:ln>
        </p:spPr>
        <p:txBody>
          <a:bodyPr>
            <a:normAutofit/>
          </a:bodyPr>
          <a:lstStyle>
            <a:lvl1pPr>
              <a:defRPr sz="100">
                <a:solidFill>
                  <a:schemeClr val="bg1"/>
                </a:solidFill>
              </a:defRPr>
            </a:lvl1pPr>
            <a:lvl5pPr marL="432000" indent="0">
              <a:buNone/>
              <a:defRPr/>
            </a:lvl5pPr>
          </a:lstStyle>
          <a:p>
            <a:pPr lvl="0"/>
            <a:r>
              <a:rPr lang="en-US" dirty="0"/>
              <a:t>T</a:t>
            </a:r>
            <a:endParaRPr lang="en-GB" dirty="0"/>
          </a:p>
        </p:txBody>
      </p:sp>
    </p:spTree>
    <p:extLst>
      <p:ext uri="{BB962C8B-B14F-4D97-AF65-F5344CB8AC3E}">
        <p14:creationId xmlns:p14="http://schemas.microsoft.com/office/powerpoint/2010/main" val="3667191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troduction - 1 Partner">
    <p:spTree>
      <p:nvGrpSpPr>
        <p:cNvPr id="1" name=""/>
        <p:cNvGrpSpPr/>
        <p:nvPr/>
      </p:nvGrpSpPr>
      <p:grpSpPr>
        <a:xfrm>
          <a:off x="0" y="0"/>
          <a:ext cx="0" cy="0"/>
          <a:chOff x="0" y="0"/>
          <a:chExt cx="0" cy="0"/>
        </a:xfrm>
      </p:grpSpPr>
      <p:sp>
        <p:nvSpPr>
          <p:cNvPr id="6" name="Deskshot" descr="PitchPerfect|Intro|Deskshot">
            <a:extLst>
              <a:ext uri="{FF2B5EF4-FFF2-40B4-BE49-F238E27FC236}">
                <a16:creationId xmlns:a16="http://schemas.microsoft.com/office/drawing/2014/main" id="{DEB06466-3BE8-4983-A129-5547FBA52D6F}"/>
              </a:ext>
            </a:extLst>
          </p:cNvPr>
          <p:cNvSpPr>
            <a:spLocks noGrp="1" noChangeAspect="1"/>
          </p:cNvSpPr>
          <p:nvPr>
            <p:ph type="pic" sz="quarter" idx="14"/>
          </p:nvPr>
        </p:nvSpPr>
        <p:spPr>
          <a:xfrm>
            <a:off x="6757180" y="1412777"/>
            <a:ext cx="4657189" cy="2119925"/>
          </a:xfrm>
          <a:prstGeom prst="rect">
            <a:avLst/>
          </a:prstGeom>
        </p:spPr>
        <p:txBody>
          <a:bodyPr/>
          <a:lstStyle/>
          <a:p>
            <a:r>
              <a:rPr lang="en-US"/>
              <a:t>Click icon to add picture</a:t>
            </a:r>
            <a:endParaRPr lang="en-GB"/>
          </a:p>
        </p:txBody>
      </p:sp>
      <p:sp>
        <p:nvSpPr>
          <p:cNvPr id="7" name="Name" descr="PitchPerfect|Intro|Name">
            <a:extLst>
              <a:ext uri="{FF2B5EF4-FFF2-40B4-BE49-F238E27FC236}">
                <a16:creationId xmlns:a16="http://schemas.microsoft.com/office/drawing/2014/main" id="{4FC97484-9396-4D94-AAFC-51696B0356FC}"/>
              </a:ext>
            </a:extLst>
          </p:cNvPr>
          <p:cNvSpPr>
            <a:spLocks noGrp="1"/>
          </p:cNvSpPr>
          <p:nvPr>
            <p:ph type="body" sz="quarter" idx="16" hasCustomPrompt="1"/>
          </p:nvPr>
        </p:nvSpPr>
        <p:spPr>
          <a:xfrm>
            <a:off x="6752493" y="3710271"/>
            <a:ext cx="4200769" cy="268892"/>
          </a:xfrm>
          <a:prstGeom prst="rect">
            <a:avLst/>
          </a:prstGeom>
        </p:spPr>
        <p:txBody>
          <a:bodyPr>
            <a:normAutofit/>
          </a:bodyPr>
          <a:lstStyle>
            <a:lvl1pPr marL="0" indent="0">
              <a:buNone/>
              <a:defRPr sz="1200" b="1">
                <a:solidFill>
                  <a:srgbClr val="000000"/>
                </a:solidFill>
                <a:latin typeface="Corporate S" pitchFamily="50" charset="0"/>
              </a:defRPr>
            </a:lvl1pPr>
          </a:lstStyle>
          <a:p>
            <a:pPr lvl="0"/>
            <a:r>
              <a:rPr lang="en-GB" dirty="0"/>
              <a:t>Name</a:t>
            </a:r>
          </a:p>
        </p:txBody>
      </p:sp>
      <p:sp>
        <p:nvSpPr>
          <p:cNvPr id="8" name="IntroJobTitle" descr="PitchPerfect|Intro|IntroJobTitle">
            <a:extLst>
              <a:ext uri="{FF2B5EF4-FFF2-40B4-BE49-F238E27FC236}">
                <a16:creationId xmlns:a16="http://schemas.microsoft.com/office/drawing/2014/main" id="{A1FCD81C-5819-4BC9-AD8D-0D5A7B78A02B}"/>
              </a:ext>
            </a:extLst>
          </p:cNvPr>
          <p:cNvSpPr>
            <a:spLocks noGrp="1"/>
          </p:cNvSpPr>
          <p:nvPr>
            <p:ph type="body" sz="quarter" idx="17" hasCustomPrompt="1"/>
          </p:nvPr>
        </p:nvSpPr>
        <p:spPr>
          <a:xfrm>
            <a:off x="6752492" y="4065843"/>
            <a:ext cx="4200769" cy="268892"/>
          </a:xfrm>
          <a:prstGeom prst="rect">
            <a:avLst/>
          </a:prstGeom>
        </p:spPr>
        <p:txBody>
          <a:bodyPr>
            <a:normAutofit/>
          </a:bodyPr>
          <a:lstStyle>
            <a:lvl1pPr marL="0" indent="0">
              <a:buNone/>
              <a:defRPr sz="1200" b="0">
                <a:solidFill>
                  <a:schemeClr val="tx1"/>
                </a:solidFill>
                <a:latin typeface="Corporate S" pitchFamily="50" charset="0"/>
              </a:defRPr>
            </a:lvl1pPr>
          </a:lstStyle>
          <a:p>
            <a:pPr lvl="0"/>
            <a:r>
              <a:rPr lang="en-GB" dirty="0"/>
              <a:t>Client Relationship Partner | Project Lead</a:t>
            </a:r>
          </a:p>
        </p:txBody>
      </p:sp>
      <p:sp>
        <p:nvSpPr>
          <p:cNvPr id="9" name="DirectDial" descr="PitchPerfect|Intro|DirectDial">
            <a:extLst>
              <a:ext uri="{FF2B5EF4-FFF2-40B4-BE49-F238E27FC236}">
                <a16:creationId xmlns:a16="http://schemas.microsoft.com/office/drawing/2014/main" id="{966A7970-105D-44D3-BB4E-703BF07273A0}"/>
              </a:ext>
            </a:extLst>
          </p:cNvPr>
          <p:cNvSpPr>
            <a:spLocks noGrp="1"/>
          </p:cNvSpPr>
          <p:nvPr>
            <p:ph type="body" sz="quarter" idx="18" hasCustomPrompt="1"/>
          </p:nvPr>
        </p:nvSpPr>
        <p:spPr>
          <a:xfrm>
            <a:off x="7013630" y="4383375"/>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Phone</a:t>
            </a:r>
          </a:p>
        </p:txBody>
      </p:sp>
      <p:sp>
        <p:nvSpPr>
          <p:cNvPr id="10" name="Mobile" descr="PitchPerfect|Intro|Mobile">
            <a:extLst>
              <a:ext uri="{FF2B5EF4-FFF2-40B4-BE49-F238E27FC236}">
                <a16:creationId xmlns:a16="http://schemas.microsoft.com/office/drawing/2014/main" id="{FE81BEE8-000E-47EB-9099-E595E5D04822}"/>
              </a:ext>
            </a:extLst>
          </p:cNvPr>
          <p:cNvSpPr>
            <a:spLocks noGrp="1"/>
          </p:cNvSpPr>
          <p:nvPr>
            <p:ph type="body" sz="quarter" idx="19" hasCustomPrompt="1"/>
          </p:nvPr>
        </p:nvSpPr>
        <p:spPr>
          <a:xfrm>
            <a:off x="7013630" y="4591319"/>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Mobile</a:t>
            </a:r>
          </a:p>
        </p:txBody>
      </p:sp>
      <p:sp>
        <p:nvSpPr>
          <p:cNvPr id="11" name="Email" descr="PitchPerfect|Intro|Email">
            <a:extLst>
              <a:ext uri="{FF2B5EF4-FFF2-40B4-BE49-F238E27FC236}">
                <a16:creationId xmlns:a16="http://schemas.microsoft.com/office/drawing/2014/main" id="{1693DCD1-6A48-456E-8CFD-85861A30A324}"/>
              </a:ext>
            </a:extLst>
          </p:cNvPr>
          <p:cNvSpPr>
            <a:spLocks noGrp="1"/>
          </p:cNvSpPr>
          <p:nvPr>
            <p:ph type="body" sz="quarter" idx="20" hasCustomPrompt="1"/>
          </p:nvPr>
        </p:nvSpPr>
        <p:spPr>
          <a:xfrm>
            <a:off x="7013630" y="4799262"/>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Email</a:t>
            </a:r>
          </a:p>
        </p:txBody>
      </p:sp>
      <p:sp>
        <p:nvSpPr>
          <p:cNvPr id="16" name="PPTIntroText" descr="PitchPerfect|Intro|PPTIntroText">
            <a:extLst>
              <a:ext uri="{FF2B5EF4-FFF2-40B4-BE49-F238E27FC236}">
                <a16:creationId xmlns:a16="http://schemas.microsoft.com/office/drawing/2014/main" id="{65FBA7BD-CE85-465C-84DA-6A7B68AE3767}"/>
              </a:ext>
            </a:extLst>
          </p:cNvPr>
          <p:cNvSpPr>
            <a:spLocks noGrp="1"/>
          </p:cNvSpPr>
          <p:nvPr>
            <p:ph type="body" sz="quarter" idx="21"/>
          </p:nvPr>
        </p:nvSpPr>
        <p:spPr>
          <a:xfrm>
            <a:off x="798150" y="1412776"/>
            <a:ext cx="4865063" cy="4680520"/>
          </a:xfrm>
          <a:prstGeom prst="rect">
            <a:avLst/>
          </a:prstGeom>
        </p:spPr>
        <p:txBody>
          <a:bodyPr/>
          <a:lstStyle>
            <a:lvl1pPr>
              <a:defRPr sz="1100" b="0">
                <a:solidFill>
                  <a:schemeClr val="tx1"/>
                </a:solidFill>
                <a:latin typeface="+mn-lt"/>
              </a:defRPr>
            </a:lvl1pPr>
          </a:lstStyle>
          <a:p>
            <a:pPr lvl="0"/>
            <a:r>
              <a:rPr lang="en-US"/>
              <a:t>Edit Master text styles</a:t>
            </a:r>
          </a:p>
        </p:txBody>
      </p:sp>
      <p:sp>
        <p:nvSpPr>
          <p:cNvPr id="17" name="Slide Number Placeholder 16">
            <a:extLst>
              <a:ext uri="{FF2B5EF4-FFF2-40B4-BE49-F238E27FC236}">
                <a16:creationId xmlns:a16="http://schemas.microsoft.com/office/drawing/2014/main" id="{A5424E38-A45C-4C04-BC87-F3C4ED1B1B02}"/>
              </a:ext>
            </a:extLst>
          </p:cNvPr>
          <p:cNvSpPr>
            <a:spLocks noGrp="1"/>
          </p:cNvSpPr>
          <p:nvPr>
            <p:ph type="sldNum" sz="quarter" idx="24"/>
          </p:nvPr>
        </p:nvSpPr>
        <p:spPr>
          <a:xfrm>
            <a:off x="8671169" y="6455673"/>
            <a:ext cx="2743200" cy="164195"/>
          </a:xfrm>
          <a:prstGeom prst="rect">
            <a:avLst/>
          </a:prstGeom>
        </p:spPr>
        <p:txBody>
          <a:bodyPr/>
          <a:lstStyle/>
          <a:p>
            <a:endParaRPr lang="en-GB" dirty="0"/>
          </a:p>
        </p:txBody>
      </p:sp>
      <p:sp>
        <p:nvSpPr>
          <p:cNvPr id="23" name="PPTIntroHeading" descr="PitchPerfect|Intro|PPTIntroHeading">
            <a:extLst>
              <a:ext uri="{FF2B5EF4-FFF2-40B4-BE49-F238E27FC236}">
                <a16:creationId xmlns:a16="http://schemas.microsoft.com/office/drawing/2014/main" id="{0A61E1BC-B2E8-4ACD-91F0-D1E4918CAC53}"/>
              </a:ext>
            </a:extLst>
          </p:cNvPr>
          <p:cNvSpPr>
            <a:spLocks noGrp="1"/>
          </p:cNvSpPr>
          <p:nvPr>
            <p:ph type="body" sz="quarter" idx="25"/>
          </p:nvPr>
        </p:nvSpPr>
        <p:spPr>
          <a:xfrm>
            <a:off x="798150" y="619201"/>
            <a:ext cx="8161216" cy="268719"/>
          </a:xfrm>
        </p:spPr>
        <p:txBody>
          <a:bodyPr/>
          <a:lstStyle>
            <a:lvl1pPr>
              <a:defRPr b="1" cap="all" baseline="0"/>
            </a:lvl1pPr>
          </a:lstStyle>
          <a:p>
            <a:pPr lvl="0"/>
            <a:r>
              <a:rPr lang="en-US"/>
              <a:t>Edit Master text styles</a:t>
            </a:r>
          </a:p>
        </p:txBody>
      </p:sp>
      <p:sp>
        <p:nvSpPr>
          <p:cNvPr id="19" name="PP_E" descr="PitchPerfect|Intro|PP_E">
            <a:extLst>
              <a:ext uri="{FF2B5EF4-FFF2-40B4-BE49-F238E27FC236}">
                <a16:creationId xmlns:a16="http://schemas.microsoft.com/office/drawing/2014/main" id="{157F4B08-65BD-4D6F-8E69-3A9F29ADB9FF}"/>
              </a:ext>
            </a:extLst>
          </p:cNvPr>
          <p:cNvSpPr>
            <a:spLocks noGrp="1"/>
          </p:cNvSpPr>
          <p:nvPr>
            <p:ph type="body" sz="quarter" idx="28" hasCustomPrompt="1"/>
          </p:nvPr>
        </p:nvSpPr>
        <p:spPr>
          <a:xfrm>
            <a:off x="6744701" y="4782334"/>
            <a:ext cx="177231" cy="200055"/>
          </a:xfrm>
        </p:spPr>
        <p:txBody>
          <a:bodyPr wrap="square" bIns="0">
            <a:spAutoFit/>
          </a:bodyPr>
          <a:lstStyle>
            <a:lvl1pPr>
              <a:defRPr sz="1300" b="1"/>
            </a:lvl1pPr>
          </a:lstStyle>
          <a:p>
            <a:pPr lvl="0"/>
            <a:r>
              <a:rPr lang="en-US" dirty="0"/>
              <a:t>E</a:t>
            </a:r>
            <a:endParaRPr lang="en-GB" dirty="0"/>
          </a:p>
        </p:txBody>
      </p:sp>
      <p:sp>
        <p:nvSpPr>
          <p:cNvPr id="18" name="PP_M" descr="PitchPerfect|Intro|PP_M">
            <a:extLst>
              <a:ext uri="{FF2B5EF4-FFF2-40B4-BE49-F238E27FC236}">
                <a16:creationId xmlns:a16="http://schemas.microsoft.com/office/drawing/2014/main" id="{219C119E-E4F3-4E34-A743-44C9E1D54BF6}"/>
              </a:ext>
            </a:extLst>
          </p:cNvPr>
          <p:cNvSpPr>
            <a:spLocks noGrp="1"/>
          </p:cNvSpPr>
          <p:nvPr>
            <p:ph type="body" sz="quarter" idx="27" hasCustomPrompt="1"/>
          </p:nvPr>
        </p:nvSpPr>
        <p:spPr>
          <a:xfrm>
            <a:off x="6744701" y="4574391"/>
            <a:ext cx="177231" cy="200055"/>
          </a:xfrm>
        </p:spPr>
        <p:txBody>
          <a:bodyPr wrap="square" bIns="0">
            <a:spAutoFit/>
          </a:bodyPr>
          <a:lstStyle>
            <a:lvl1pPr>
              <a:defRPr sz="1300" b="1"/>
            </a:lvl1pPr>
          </a:lstStyle>
          <a:p>
            <a:pPr lvl="0"/>
            <a:r>
              <a:rPr lang="en-US" dirty="0"/>
              <a:t>M</a:t>
            </a:r>
            <a:endParaRPr lang="en-GB" dirty="0"/>
          </a:p>
        </p:txBody>
      </p:sp>
      <p:sp>
        <p:nvSpPr>
          <p:cNvPr id="3" name="PP_T" descr="PitchPerfect|Intro|PP_T">
            <a:extLst>
              <a:ext uri="{FF2B5EF4-FFF2-40B4-BE49-F238E27FC236}">
                <a16:creationId xmlns:a16="http://schemas.microsoft.com/office/drawing/2014/main" id="{581CD46A-24FA-4228-A2E1-BC97D4C0FB48}"/>
              </a:ext>
            </a:extLst>
          </p:cNvPr>
          <p:cNvSpPr>
            <a:spLocks noGrp="1"/>
          </p:cNvSpPr>
          <p:nvPr>
            <p:ph type="body" sz="quarter" idx="26" hasCustomPrompt="1"/>
          </p:nvPr>
        </p:nvSpPr>
        <p:spPr>
          <a:xfrm>
            <a:off x="6744701" y="4366447"/>
            <a:ext cx="177231" cy="200055"/>
          </a:xfrm>
        </p:spPr>
        <p:txBody>
          <a:bodyPr wrap="square" bIns="0">
            <a:spAutoFit/>
          </a:bodyPr>
          <a:lstStyle>
            <a:lvl1pPr>
              <a:defRPr sz="1300" b="1"/>
            </a:lvl1pPr>
          </a:lstStyle>
          <a:p>
            <a:pPr lvl="0"/>
            <a:r>
              <a:rPr lang="en-US" dirty="0"/>
              <a:t>T</a:t>
            </a:r>
            <a:endParaRPr lang="en-GB" dirty="0"/>
          </a:p>
        </p:txBody>
      </p:sp>
    </p:spTree>
    <p:extLst>
      <p:ext uri="{BB962C8B-B14F-4D97-AF65-F5344CB8AC3E}">
        <p14:creationId xmlns:p14="http://schemas.microsoft.com/office/powerpoint/2010/main" val="29304102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troduction - 2 Partners (1/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560D6F3-9104-4A44-9320-E3667DA21B07}"/>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7" name="Name_1" descr="PitchPerfect|Intro|Name_1">
            <a:extLst>
              <a:ext uri="{FF2B5EF4-FFF2-40B4-BE49-F238E27FC236}">
                <a16:creationId xmlns:a16="http://schemas.microsoft.com/office/drawing/2014/main" id="{4FC97484-9396-4D94-AAFC-51696B0356FC}"/>
              </a:ext>
            </a:extLst>
          </p:cNvPr>
          <p:cNvSpPr>
            <a:spLocks noGrp="1"/>
          </p:cNvSpPr>
          <p:nvPr>
            <p:ph type="body" sz="quarter" idx="16" hasCustomPrompt="1"/>
          </p:nvPr>
        </p:nvSpPr>
        <p:spPr>
          <a:xfrm>
            <a:off x="6752493" y="3678685"/>
            <a:ext cx="4200769" cy="268892"/>
          </a:xfrm>
          <a:prstGeom prst="rect">
            <a:avLst/>
          </a:prstGeom>
        </p:spPr>
        <p:txBody>
          <a:bodyPr>
            <a:normAutofit/>
          </a:bodyPr>
          <a:lstStyle>
            <a:lvl1pPr marL="0" indent="0">
              <a:buNone/>
              <a:defRPr sz="1200" b="1">
                <a:solidFill>
                  <a:srgbClr val="000000"/>
                </a:solidFill>
                <a:latin typeface="Corporate S" pitchFamily="50" charset="0"/>
              </a:defRPr>
            </a:lvl1pPr>
          </a:lstStyle>
          <a:p>
            <a:pPr lvl="0"/>
            <a:r>
              <a:rPr lang="en-GB" dirty="0"/>
              <a:t>Name</a:t>
            </a:r>
          </a:p>
        </p:txBody>
      </p:sp>
      <p:sp>
        <p:nvSpPr>
          <p:cNvPr id="8" name="IntroJobTitle_1" descr="PitchPerfect|Intro|IntroJobTitle_1">
            <a:extLst>
              <a:ext uri="{FF2B5EF4-FFF2-40B4-BE49-F238E27FC236}">
                <a16:creationId xmlns:a16="http://schemas.microsoft.com/office/drawing/2014/main" id="{A1FCD81C-5819-4BC9-AD8D-0D5A7B78A02B}"/>
              </a:ext>
            </a:extLst>
          </p:cNvPr>
          <p:cNvSpPr>
            <a:spLocks noGrp="1"/>
          </p:cNvSpPr>
          <p:nvPr>
            <p:ph type="body" sz="quarter" idx="17" hasCustomPrompt="1"/>
          </p:nvPr>
        </p:nvSpPr>
        <p:spPr>
          <a:xfrm>
            <a:off x="6752492" y="3969717"/>
            <a:ext cx="4200769" cy="268892"/>
          </a:xfrm>
          <a:prstGeom prst="rect">
            <a:avLst/>
          </a:prstGeom>
        </p:spPr>
        <p:txBody>
          <a:bodyPr>
            <a:normAutofit/>
          </a:bodyPr>
          <a:lstStyle>
            <a:lvl1pPr marL="0" indent="0">
              <a:buNone/>
              <a:defRPr sz="1200" b="0">
                <a:solidFill>
                  <a:schemeClr val="tx1"/>
                </a:solidFill>
                <a:latin typeface="Corporate S" pitchFamily="50" charset="0"/>
              </a:defRPr>
            </a:lvl1pPr>
          </a:lstStyle>
          <a:p>
            <a:pPr lvl="0"/>
            <a:r>
              <a:rPr lang="en-GB" dirty="0"/>
              <a:t>Client Relationship Partner | Project Lead</a:t>
            </a:r>
          </a:p>
        </p:txBody>
      </p:sp>
      <p:sp>
        <p:nvSpPr>
          <p:cNvPr id="9" name="DirectDial_1" descr="PitchPerfect|Intro|DirectDial_1">
            <a:extLst>
              <a:ext uri="{FF2B5EF4-FFF2-40B4-BE49-F238E27FC236}">
                <a16:creationId xmlns:a16="http://schemas.microsoft.com/office/drawing/2014/main" id="{966A7970-105D-44D3-BB4E-703BF07273A0}"/>
              </a:ext>
            </a:extLst>
          </p:cNvPr>
          <p:cNvSpPr>
            <a:spLocks noGrp="1"/>
          </p:cNvSpPr>
          <p:nvPr>
            <p:ph type="body" sz="quarter" idx="18" hasCustomPrompt="1"/>
          </p:nvPr>
        </p:nvSpPr>
        <p:spPr>
          <a:xfrm>
            <a:off x="7013630" y="4274069"/>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Phone</a:t>
            </a:r>
          </a:p>
        </p:txBody>
      </p:sp>
      <p:sp>
        <p:nvSpPr>
          <p:cNvPr id="10" name="Mobile_1" descr="PitchPerfect|Intro|Mobile_1">
            <a:extLst>
              <a:ext uri="{FF2B5EF4-FFF2-40B4-BE49-F238E27FC236}">
                <a16:creationId xmlns:a16="http://schemas.microsoft.com/office/drawing/2014/main" id="{FE81BEE8-000E-47EB-9099-E595E5D04822}"/>
              </a:ext>
            </a:extLst>
          </p:cNvPr>
          <p:cNvSpPr>
            <a:spLocks noGrp="1"/>
          </p:cNvSpPr>
          <p:nvPr>
            <p:ph type="body" sz="quarter" idx="19" hasCustomPrompt="1"/>
          </p:nvPr>
        </p:nvSpPr>
        <p:spPr>
          <a:xfrm>
            <a:off x="7013630" y="4472506"/>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Mobile</a:t>
            </a:r>
          </a:p>
        </p:txBody>
      </p:sp>
      <p:sp>
        <p:nvSpPr>
          <p:cNvPr id="11" name="Email_1" descr="PitchPerfect|Intro|Email_1">
            <a:extLst>
              <a:ext uri="{FF2B5EF4-FFF2-40B4-BE49-F238E27FC236}">
                <a16:creationId xmlns:a16="http://schemas.microsoft.com/office/drawing/2014/main" id="{1693DCD1-6A48-456E-8CFD-85861A30A324}"/>
              </a:ext>
            </a:extLst>
          </p:cNvPr>
          <p:cNvSpPr>
            <a:spLocks noGrp="1"/>
          </p:cNvSpPr>
          <p:nvPr>
            <p:ph type="body" sz="quarter" idx="20" hasCustomPrompt="1"/>
          </p:nvPr>
        </p:nvSpPr>
        <p:spPr>
          <a:xfrm>
            <a:off x="7013630" y="4679432"/>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Email</a:t>
            </a:r>
          </a:p>
        </p:txBody>
      </p:sp>
      <p:sp>
        <p:nvSpPr>
          <p:cNvPr id="17" name="Name" descr="PitchPerfect|Intro|Name">
            <a:extLst>
              <a:ext uri="{FF2B5EF4-FFF2-40B4-BE49-F238E27FC236}">
                <a16:creationId xmlns:a16="http://schemas.microsoft.com/office/drawing/2014/main" id="{B34AC419-8D3E-408A-953D-F9A4D8B5AB58}"/>
              </a:ext>
            </a:extLst>
          </p:cNvPr>
          <p:cNvSpPr>
            <a:spLocks noGrp="1"/>
          </p:cNvSpPr>
          <p:nvPr>
            <p:ph type="body" sz="quarter" idx="22" hasCustomPrompt="1"/>
          </p:nvPr>
        </p:nvSpPr>
        <p:spPr>
          <a:xfrm>
            <a:off x="772945" y="3678685"/>
            <a:ext cx="4200769" cy="268892"/>
          </a:xfrm>
          <a:prstGeom prst="rect">
            <a:avLst/>
          </a:prstGeom>
        </p:spPr>
        <p:txBody>
          <a:bodyPr>
            <a:normAutofit/>
          </a:bodyPr>
          <a:lstStyle>
            <a:lvl1pPr marL="0" indent="0">
              <a:buNone/>
              <a:defRPr sz="1200" b="1">
                <a:solidFill>
                  <a:srgbClr val="000000"/>
                </a:solidFill>
                <a:latin typeface="Corporate S" pitchFamily="50" charset="0"/>
              </a:defRPr>
            </a:lvl1pPr>
          </a:lstStyle>
          <a:p>
            <a:pPr lvl="0"/>
            <a:r>
              <a:rPr lang="en-GB" dirty="0"/>
              <a:t>Name</a:t>
            </a:r>
          </a:p>
        </p:txBody>
      </p:sp>
      <p:sp>
        <p:nvSpPr>
          <p:cNvPr id="18" name="IntroJobTitle" descr="PitchPerfect|Intro|IntroJobTitle">
            <a:extLst>
              <a:ext uri="{FF2B5EF4-FFF2-40B4-BE49-F238E27FC236}">
                <a16:creationId xmlns:a16="http://schemas.microsoft.com/office/drawing/2014/main" id="{D64B629D-C6B3-4CD0-B44A-FDF50D98221F}"/>
              </a:ext>
            </a:extLst>
          </p:cNvPr>
          <p:cNvSpPr>
            <a:spLocks noGrp="1"/>
          </p:cNvSpPr>
          <p:nvPr>
            <p:ph type="body" sz="quarter" idx="23" hasCustomPrompt="1"/>
          </p:nvPr>
        </p:nvSpPr>
        <p:spPr>
          <a:xfrm>
            <a:off x="772944" y="3969717"/>
            <a:ext cx="4200769" cy="268892"/>
          </a:xfrm>
          <a:prstGeom prst="rect">
            <a:avLst/>
          </a:prstGeom>
        </p:spPr>
        <p:txBody>
          <a:bodyPr>
            <a:normAutofit/>
          </a:bodyPr>
          <a:lstStyle>
            <a:lvl1pPr marL="0" indent="0">
              <a:buNone/>
              <a:defRPr sz="1200" b="0">
                <a:solidFill>
                  <a:schemeClr val="tx1"/>
                </a:solidFill>
                <a:latin typeface="Corporate S" pitchFamily="50" charset="0"/>
              </a:defRPr>
            </a:lvl1pPr>
          </a:lstStyle>
          <a:p>
            <a:pPr lvl="0"/>
            <a:r>
              <a:rPr lang="en-GB" dirty="0"/>
              <a:t>Client Relationship Partner | Project Lead</a:t>
            </a:r>
          </a:p>
        </p:txBody>
      </p:sp>
      <p:sp>
        <p:nvSpPr>
          <p:cNvPr id="19" name="DirectDial" descr="PitchPerfect|Intro|DirectDial">
            <a:extLst>
              <a:ext uri="{FF2B5EF4-FFF2-40B4-BE49-F238E27FC236}">
                <a16:creationId xmlns:a16="http://schemas.microsoft.com/office/drawing/2014/main" id="{FDBC22B7-7380-44AC-9A22-B04BABF12464}"/>
              </a:ext>
            </a:extLst>
          </p:cNvPr>
          <p:cNvSpPr>
            <a:spLocks noGrp="1"/>
          </p:cNvSpPr>
          <p:nvPr>
            <p:ph type="body" sz="quarter" idx="24" hasCustomPrompt="1"/>
          </p:nvPr>
        </p:nvSpPr>
        <p:spPr>
          <a:xfrm>
            <a:off x="1034081" y="4266356"/>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Phone</a:t>
            </a:r>
          </a:p>
        </p:txBody>
      </p:sp>
      <p:sp>
        <p:nvSpPr>
          <p:cNvPr id="20" name="Mobile" descr="PitchPerfect|Intro|Mobile">
            <a:extLst>
              <a:ext uri="{FF2B5EF4-FFF2-40B4-BE49-F238E27FC236}">
                <a16:creationId xmlns:a16="http://schemas.microsoft.com/office/drawing/2014/main" id="{920777CB-BCCA-4120-A3E7-22AD924B7E7D}"/>
              </a:ext>
            </a:extLst>
          </p:cNvPr>
          <p:cNvSpPr>
            <a:spLocks noGrp="1"/>
          </p:cNvSpPr>
          <p:nvPr>
            <p:ph type="body" sz="quarter" idx="25" hasCustomPrompt="1"/>
          </p:nvPr>
        </p:nvSpPr>
        <p:spPr>
          <a:xfrm>
            <a:off x="1034081" y="4472346"/>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Mobile</a:t>
            </a:r>
          </a:p>
        </p:txBody>
      </p:sp>
      <p:sp>
        <p:nvSpPr>
          <p:cNvPr id="21" name="Email" descr="PitchPerfect|Intro|Email">
            <a:extLst>
              <a:ext uri="{FF2B5EF4-FFF2-40B4-BE49-F238E27FC236}">
                <a16:creationId xmlns:a16="http://schemas.microsoft.com/office/drawing/2014/main" id="{596CDFF9-FE07-495F-847B-EB7CFC1D9AA2}"/>
              </a:ext>
            </a:extLst>
          </p:cNvPr>
          <p:cNvSpPr>
            <a:spLocks noGrp="1"/>
          </p:cNvSpPr>
          <p:nvPr>
            <p:ph type="body" sz="quarter" idx="26" hasCustomPrompt="1"/>
          </p:nvPr>
        </p:nvSpPr>
        <p:spPr>
          <a:xfrm>
            <a:off x="1034081" y="4673572"/>
            <a:ext cx="3863143" cy="257369"/>
          </a:xfrm>
          <a:prstGeom prst="rect">
            <a:avLst/>
          </a:prstGeom>
        </p:spPr>
        <p:txBody>
          <a:bodyPr>
            <a:spAutoFit/>
          </a:bodyPr>
          <a:lstStyle>
            <a:lvl1pPr marL="0" indent="0">
              <a:buNone/>
              <a:defRPr sz="1200" b="0">
                <a:solidFill>
                  <a:schemeClr val="tx1"/>
                </a:solidFill>
                <a:latin typeface="Corporate S" pitchFamily="50" charset="0"/>
              </a:defRPr>
            </a:lvl1pPr>
          </a:lstStyle>
          <a:p>
            <a:pPr lvl="0"/>
            <a:r>
              <a:rPr lang="en-GB" dirty="0"/>
              <a:t>Email</a:t>
            </a:r>
          </a:p>
        </p:txBody>
      </p:sp>
      <p:sp>
        <p:nvSpPr>
          <p:cNvPr id="25" name="QuoteSource" descr="PitchPerfect|Testimonials|QuoteSource">
            <a:extLst>
              <a:ext uri="{FF2B5EF4-FFF2-40B4-BE49-F238E27FC236}">
                <a16:creationId xmlns:a16="http://schemas.microsoft.com/office/drawing/2014/main" id="{E57A5220-07A6-49BF-9083-DE681FF33FC6}"/>
              </a:ext>
            </a:extLst>
          </p:cNvPr>
          <p:cNvSpPr>
            <a:spLocks noGrp="1"/>
          </p:cNvSpPr>
          <p:nvPr>
            <p:ph type="body" sz="quarter" idx="13"/>
          </p:nvPr>
        </p:nvSpPr>
        <p:spPr>
          <a:xfrm>
            <a:off x="4146245" y="5593386"/>
            <a:ext cx="6469642" cy="499910"/>
          </a:xfrm>
          <a:prstGeom prst="rect">
            <a:avLst/>
          </a:prstGeom>
        </p:spPr>
        <p:txBody>
          <a:bodyPr>
            <a:noAutofit/>
          </a:bodyPr>
          <a:lstStyle>
            <a:lvl1pPr algn="l">
              <a:defRPr sz="1600" b="0">
                <a:solidFill>
                  <a:schemeClr val="tx1"/>
                </a:solidFill>
                <a:latin typeface="+mn-lt"/>
              </a:defRPr>
            </a:lvl1pPr>
            <a:lvl2pPr algn="l">
              <a:defRPr sz="1200">
                <a:solidFill>
                  <a:srgbClr val="000000"/>
                </a:solidFill>
                <a:latin typeface="+mj-lt"/>
              </a:defRPr>
            </a:lvl2pPr>
          </a:lstStyle>
          <a:p>
            <a:pPr lvl="0"/>
            <a:r>
              <a:rPr lang="en-US"/>
              <a:t>Edit Master text styles</a:t>
            </a:r>
          </a:p>
          <a:p>
            <a:pPr lvl="1"/>
            <a:r>
              <a:rPr lang="en-US"/>
              <a:t>Second level</a:t>
            </a:r>
          </a:p>
        </p:txBody>
      </p:sp>
      <p:cxnSp>
        <p:nvCxnSpPr>
          <p:cNvPr id="26" name="Footer line">
            <a:extLst>
              <a:ext uri="{FF2B5EF4-FFF2-40B4-BE49-F238E27FC236}">
                <a16:creationId xmlns:a16="http://schemas.microsoft.com/office/drawing/2014/main" id="{13518837-6E0A-44BA-B4EF-411E63BDAF04}"/>
              </a:ext>
            </a:extLst>
          </p:cNvPr>
          <p:cNvCxnSpPr>
            <a:cxnSpLocks/>
          </p:cNvCxnSpPr>
          <p:nvPr userDrawn="1"/>
        </p:nvCxnSpPr>
        <p:spPr>
          <a:xfrm>
            <a:off x="772944" y="5434833"/>
            <a:ext cx="1064142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7" name="Quote Image">
            <a:extLst>
              <a:ext uri="{FF2B5EF4-FFF2-40B4-BE49-F238E27FC236}">
                <a16:creationId xmlns:a16="http://schemas.microsoft.com/office/drawing/2014/main" id="{5C9927A1-282D-4973-BF71-8498B6261B16}"/>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16866" y="5445224"/>
            <a:ext cx="1121278" cy="712874"/>
          </a:xfrm>
          <a:prstGeom prst="rect">
            <a:avLst/>
          </a:prstGeom>
        </p:spPr>
      </p:pic>
      <p:sp>
        <p:nvSpPr>
          <p:cNvPr id="30" name="PPTIntroHeading" descr="PitchPerfect|Intro|PPTIntroHeading">
            <a:extLst>
              <a:ext uri="{FF2B5EF4-FFF2-40B4-BE49-F238E27FC236}">
                <a16:creationId xmlns:a16="http://schemas.microsoft.com/office/drawing/2014/main" id="{4A015570-8791-4C5E-A5FF-BADB62F330AA}"/>
              </a:ext>
            </a:extLst>
          </p:cNvPr>
          <p:cNvSpPr>
            <a:spLocks noGrp="1"/>
          </p:cNvSpPr>
          <p:nvPr>
            <p:ph type="body" sz="quarter" idx="27"/>
          </p:nvPr>
        </p:nvSpPr>
        <p:spPr>
          <a:xfrm>
            <a:off x="798150" y="620689"/>
            <a:ext cx="8161216" cy="268719"/>
          </a:xfrm>
        </p:spPr>
        <p:txBody>
          <a:bodyPr/>
          <a:lstStyle>
            <a:lvl1pPr>
              <a:defRPr b="1" cap="all" baseline="0"/>
            </a:lvl1pPr>
          </a:lstStyle>
          <a:p>
            <a:pPr lvl="0"/>
            <a:r>
              <a:rPr lang="en-US"/>
              <a:t>Edit Master text styles</a:t>
            </a:r>
          </a:p>
        </p:txBody>
      </p:sp>
      <p:sp>
        <p:nvSpPr>
          <p:cNvPr id="28" name="PP_E_1" descr="PitchPerfect|Intro|PP_E_1">
            <a:extLst>
              <a:ext uri="{FF2B5EF4-FFF2-40B4-BE49-F238E27FC236}">
                <a16:creationId xmlns:a16="http://schemas.microsoft.com/office/drawing/2014/main" id="{86027071-AB6C-438D-B5F9-F96ED23A6553}"/>
              </a:ext>
            </a:extLst>
          </p:cNvPr>
          <p:cNvSpPr>
            <a:spLocks noGrp="1"/>
          </p:cNvSpPr>
          <p:nvPr>
            <p:ph type="body" sz="quarter" idx="28" hasCustomPrompt="1"/>
          </p:nvPr>
        </p:nvSpPr>
        <p:spPr>
          <a:xfrm>
            <a:off x="6744701" y="4662504"/>
            <a:ext cx="177231" cy="200055"/>
          </a:xfrm>
        </p:spPr>
        <p:txBody>
          <a:bodyPr wrap="square" bIns="0">
            <a:spAutoFit/>
          </a:bodyPr>
          <a:lstStyle>
            <a:lvl1pPr>
              <a:defRPr sz="1300" b="1"/>
            </a:lvl1pPr>
          </a:lstStyle>
          <a:p>
            <a:pPr lvl="0"/>
            <a:r>
              <a:rPr lang="en-US" dirty="0"/>
              <a:t>E</a:t>
            </a:r>
            <a:endParaRPr lang="en-GB" dirty="0"/>
          </a:p>
        </p:txBody>
      </p:sp>
      <p:sp>
        <p:nvSpPr>
          <p:cNvPr id="29" name="PP_M_1" descr="PitchPerfect|Intro|PP_M_1">
            <a:extLst>
              <a:ext uri="{FF2B5EF4-FFF2-40B4-BE49-F238E27FC236}">
                <a16:creationId xmlns:a16="http://schemas.microsoft.com/office/drawing/2014/main" id="{1B225DC7-C6B0-4B32-B74E-761FA429886A}"/>
              </a:ext>
            </a:extLst>
          </p:cNvPr>
          <p:cNvSpPr>
            <a:spLocks noGrp="1"/>
          </p:cNvSpPr>
          <p:nvPr>
            <p:ph type="body" sz="quarter" idx="29" hasCustomPrompt="1"/>
          </p:nvPr>
        </p:nvSpPr>
        <p:spPr>
          <a:xfrm>
            <a:off x="6744701" y="4455578"/>
            <a:ext cx="177231" cy="200055"/>
          </a:xfrm>
        </p:spPr>
        <p:txBody>
          <a:bodyPr wrap="square" bIns="0">
            <a:spAutoFit/>
          </a:bodyPr>
          <a:lstStyle>
            <a:lvl1pPr>
              <a:defRPr sz="1300" b="1"/>
            </a:lvl1pPr>
          </a:lstStyle>
          <a:p>
            <a:pPr lvl="0"/>
            <a:r>
              <a:rPr lang="en-US" dirty="0"/>
              <a:t>M</a:t>
            </a:r>
            <a:endParaRPr lang="en-GB" dirty="0"/>
          </a:p>
        </p:txBody>
      </p:sp>
      <p:sp>
        <p:nvSpPr>
          <p:cNvPr id="31" name="PP_T_1" descr="PitchPerfect|Intro|PP_T_1">
            <a:extLst>
              <a:ext uri="{FF2B5EF4-FFF2-40B4-BE49-F238E27FC236}">
                <a16:creationId xmlns:a16="http://schemas.microsoft.com/office/drawing/2014/main" id="{BD9BE6CC-ACD0-4C37-AFB5-00CECBECA814}"/>
              </a:ext>
            </a:extLst>
          </p:cNvPr>
          <p:cNvSpPr>
            <a:spLocks noGrp="1"/>
          </p:cNvSpPr>
          <p:nvPr>
            <p:ph type="body" sz="quarter" idx="30" hasCustomPrompt="1"/>
          </p:nvPr>
        </p:nvSpPr>
        <p:spPr>
          <a:xfrm>
            <a:off x="6744701" y="4257141"/>
            <a:ext cx="177231" cy="200055"/>
          </a:xfrm>
        </p:spPr>
        <p:txBody>
          <a:bodyPr wrap="square" bIns="0">
            <a:spAutoFit/>
          </a:bodyPr>
          <a:lstStyle>
            <a:lvl1pPr>
              <a:defRPr sz="1300" b="1"/>
            </a:lvl1pPr>
          </a:lstStyle>
          <a:p>
            <a:pPr lvl="0"/>
            <a:r>
              <a:rPr lang="en-US" dirty="0"/>
              <a:t>T</a:t>
            </a:r>
            <a:endParaRPr lang="en-GB" dirty="0"/>
          </a:p>
        </p:txBody>
      </p:sp>
      <p:sp>
        <p:nvSpPr>
          <p:cNvPr id="32" name="PP_E" descr="PitchPerfect|Intro|PP_E">
            <a:extLst>
              <a:ext uri="{FF2B5EF4-FFF2-40B4-BE49-F238E27FC236}">
                <a16:creationId xmlns:a16="http://schemas.microsoft.com/office/drawing/2014/main" id="{83526407-E0DF-4423-BB77-1842637CF02D}"/>
              </a:ext>
            </a:extLst>
          </p:cNvPr>
          <p:cNvSpPr>
            <a:spLocks noGrp="1"/>
          </p:cNvSpPr>
          <p:nvPr>
            <p:ph type="body" sz="quarter" idx="31" hasCustomPrompt="1"/>
          </p:nvPr>
        </p:nvSpPr>
        <p:spPr>
          <a:xfrm>
            <a:off x="778486" y="4656644"/>
            <a:ext cx="177231" cy="200055"/>
          </a:xfrm>
        </p:spPr>
        <p:txBody>
          <a:bodyPr wrap="square" bIns="0">
            <a:spAutoFit/>
          </a:bodyPr>
          <a:lstStyle>
            <a:lvl1pPr>
              <a:defRPr sz="1300" b="1"/>
            </a:lvl1pPr>
          </a:lstStyle>
          <a:p>
            <a:pPr lvl="0"/>
            <a:r>
              <a:rPr lang="en-US" dirty="0"/>
              <a:t>E</a:t>
            </a:r>
            <a:endParaRPr lang="en-GB" dirty="0"/>
          </a:p>
        </p:txBody>
      </p:sp>
      <p:sp>
        <p:nvSpPr>
          <p:cNvPr id="33" name="PP_M" descr="PitchPerfect|Intro|PP_M">
            <a:extLst>
              <a:ext uri="{FF2B5EF4-FFF2-40B4-BE49-F238E27FC236}">
                <a16:creationId xmlns:a16="http://schemas.microsoft.com/office/drawing/2014/main" id="{87EA652B-B2C4-494F-93BF-8F211C7226E5}"/>
              </a:ext>
            </a:extLst>
          </p:cNvPr>
          <p:cNvSpPr>
            <a:spLocks noGrp="1"/>
          </p:cNvSpPr>
          <p:nvPr>
            <p:ph type="body" sz="quarter" idx="32" hasCustomPrompt="1"/>
          </p:nvPr>
        </p:nvSpPr>
        <p:spPr>
          <a:xfrm>
            <a:off x="778486" y="4456957"/>
            <a:ext cx="177231" cy="200055"/>
          </a:xfrm>
        </p:spPr>
        <p:txBody>
          <a:bodyPr wrap="square" bIns="0">
            <a:spAutoFit/>
          </a:bodyPr>
          <a:lstStyle>
            <a:lvl1pPr>
              <a:defRPr sz="1300" b="1"/>
            </a:lvl1pPr>
          </a:lstStyle>
          <a:p>
            <a:pPr lvl="0"/>
            <a:r>
              <a:rPr lang="en-US" dirty="0"/>
              <a:t>M</a:t>
            </a:r>
            <a:endParaRPr lang="en-GB" dirty="0"/>
          </a:p>
        </p:txBody>
      </p:sp>
      <p:sp>
        <p:nvSpPr>
          <p:cNvPr id="34" name="PP_T" descr="PitchPerfect|Intro|PP_T">
            <a:extLst>
              <a:ext uri="{FF2B5EF4-FFF2-40B4-BE49-F238E27FC236}">
                <a16:creationId xmlns:a16="http://schemas.microsoft.com/office/drawing/2014/main" id="{99BF4289-32C7-4423-823F-752CB4BABF3D}"/>
              </a:ext>
            </a:extLst>
          </p:cNvPr>
          <p:cNvSpPr>
            <a:spLocks noGrp="1"/>
          </p:cNvSpPr>
          <p:nvPr>
            <p:ph type="body" sz="quarter" idx="33" hasCustomPrompt="1"/>
          </p:nvPr>
        </p:nvSpPr>
        <p:spPr>
          <a:xfrm>
            <a:off x="778486" y="4249428"/>
            <a:ext cx="177231" cy="200055"/>
          </a:xfrm>
        </p:spPr>
        <p:txBody>
          <a:bodyPr wrap="square" bIns="0">
            <a:spAutoFit/>
          </a:bodyPr>
          <a:lstStyle>
            <a:lvl1pPr>
              <a:defRPr sz="1300" b="1"/>
            </a:lvl1pPr>
          </a:lstStyle>
          <a:p>
            <a:pPr lvl="0"/>
            <a:r>
              <a:rPr lang="en-US" dirty="0"/>
              <a:t>T</a:t>
            </a:r>
            <a:endParaRPr lang="en-GB" dirty="0"/>
          </a:p>
        </p:txBody>
      </p:sp>
      <p:sp>
        <p:nvSpPr>
          <p:cNvPr id="3" name="Deskshot" descr="PitchPerfect|Intro|Deskshot">
            <a:extLst>
              <a:ext uri="{FF2B5EF4-FFF2-40B4-BE49-F238E27FC236}">
                <a16:creationId xmlns:a16="http://schemas.microsoft.com/office/drawing/2014/main" id="{ADA4B8EF-51DD-482F-8BF4-1118D95CC2C4}"/>
              </a:ext>
            </a:extLst>
          </p:cNvPr>
          <p:cNvSpPr>
            <a:spLocks noGrp="1"/>
          </p:cNvSpPr>
          <p:nvPr>
            <p:ph type="pic" sz="quarter" idx="34"/>
          </p:nvPr>
        </p:nvSpPr>
        <p:spPr>
          <a:xfrm>
            <a:off x="773724" y="1411200"/>
            <a:ext cx="4656016" cy="2119312"/>
          </a:xfrm>
        </p:spPr>
        <p:txBody>
          <a:bodyPr/>
          <a:lstStyle/>
          <a:p>
            <a:r>
              <a:rPr lang="en-US"/>
              <a:t>Click icon to add picture</a:t>
            </a:r>
            <a:endParaRPr lang="en-GB"/>
          </a:p>
        </p:txBody>
      </p:sp>
      <p:sp>
        <p:nvSpPr>
          <p:cNvPr id="35" name="Deskshot_1" descr="PitchPerfect|Intro|Deskshot_1">
            <a:extLst>
              <a:ext uri="{FF2B5EF4-FFF2-40B4-BE49-F238E27FC236}">
                <a16:creationId xmlns:a16="http://schemas.microsoft.com/office/drawing/2014/main" id="{D4F2D0ED-04D6-489D-9ABA-6BA7B70C1FFE}"/>
              </a:ext>
            </a:extLst>
          </p:cNvPr>
          <p:cNvSpPr>
            <a:spLocks noGrp="1"/>
          </p:cNvSpPr>
          <p:nvPr>
            <p:ph type="pic" sz="quarter" idx="35"/>
          </p:nvPr>
        </p:nvSpPr>
        <p:spPr>
          <a:xfrm>
            <a:off x="6744702" y="1412776"/>
            <a:ext cx="4656016" cy="2119312"/>
          </a:xfrm>
        </p:spPr>
        <p:txBody>
          <a:bodyPr/>
          <a:lstStyle/>
          <a:p>
            <a:r>
              <a:rPr lang="en-US"/>
              <a:t>Click icon to add picture</a:t>
            </a:r>
            <a:endParaRPr lang="en-GB"/>
          </a:p>
        </p:txBody>
      </p:sp>
    </p:spTree>
    <p:extLst>
      <p:ext uri="{BB962C8B-B14F-4D97-AF65-F5344CB8AC3E}">
        <p14:creationId xmlns:p14="http://schemas.microsoft.com/office/powerpoint/2010/main" val="34983657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tion - 2 Partners (2/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AD7CDD-43E6-4786-981D-BBA273ADC07F}"/>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PPTIntroText" descr="PitchPerfect|Testimonials|PPTIntroText">
            <a:extLst>
              <a:ext uri="{FF2B5EF4-FFF2-40B4-BE49-F238E27FC236}">
                <a16:creationId xmlns:a16="http://schemas.microsoft.com/office/drawing/2014/main" id="{43F19808-B31D-4D02-9425-049E95328696}"/>
              </a:ext>
            </a:extLst>
          </p:cNvPr>
          <p:cNvSpPr>
            <a:spLocks noGrp="1"/>
          </p:cNvSpPr>
          <p:nvPr>
            <p:ph type="body" sz="quarter" idx="21"/>
          </p:nvPr>
        </p:nvSpPr>
        <p:spPr>
          <a:xfrm>
            <a:off x="777631" y="1411200"/>
            <a:ext cx="10636738" cy="2802946"/>
          </a:xfrm>
          <a:prstGeom prst="rect">
            <a:avLst/>
          </a:prstGeom>
        </p:spPr>
        <p:txBody>
          <a:bodyPr numCol="2" spcCol="540000"/>
          <a:lstStyle>
            <a:lvl1pPr>
              <a:defRPr sz="1100" b="0">
                <a:solidFill>
                  <a:schemeClr val="tx1"/>
                </a:solidFill>
                <a:latin typeface="+mn-lt"/>
              </a:defRPr>
            </a:lvl1pPr>
          </a:lstStyle>
          <a:p>
            <a:pPr lvl="0"/>
            <a:r>
              <a:rPr lang="en-US"/>
              <a:t>Edit Master text styles</a:t>
            </a:r>
          </a:p>
        </p:txBody>
      </p:sp>
      <p:sp>
        <p:nvSpPr>
          <p:cNvPr id="8" name="QuoteSource" descr="PitchPerfect|Testimonials|QuoteSource">
            <a:extLst>
              <a:ext uri="{FF2B5EF4-FFF2-40B4-BE49-F238E27FC236}">
                <a16:creationId xmlns:a16="http://schemas.microsoft.com/office/drawing/2014/main" id="{6F6B42A3-A22B-4851-A1D3-E61289449857}"/>
              </a:ext>
            </a:extLst>
          </p:cNvPr>
          <p:cNvSpPr>
            <a:spLocks noGrp="1"/>
          </p:cNvSpPr>
          <p:nvPr>
            <p:ph type="body" sz="quarter" idx="13"/>
          </p:nvPr>
        </p:nvSpPr>
        <p:spPr>
          <a:xfrm>
            <a:off x="4334168" y="4804095"/>
            <a:ext cx="5306842" cy="1371600"/>
          </a:xfrm>
          <a:prstGeom prst="rect">
            <a:avLst/>
          </a:prstGeom>
        </p:spPr>
        <p:txBody>
          <a:bodyPr>
            <a:noAutofit/>
          </a:bodyPr>
          <a:lstStyle>
            <a:lvl1pPr algn="l">
              <a:defRPr sz="1600" b="0">
                <a:solidFill>
                  <a:schemeClr val="tx1"/>
                </a:solidFill>
                <a:latin typeface="+mn-lt"/>
              </a:defRPr>
            </a:lvl1pPr>
            <a:lvl2pPr algn="l">
              <a:defRPr sz="1200">
                <a:solidFill>
                  <a:srgbClr val="000000"/>
                </a:solidFill>
                <a:latin typeface="+mj-lt"/>
              </a:defRPr>
            </a:lvl2pPr>
          </a:lstStyle>
          <a:p>
            <a:pPr lvl="0"/>
            <a:r>
              <a:rPr lang="en-US"/>
              <a:t>Edit Master text styles</a:t>
            </a:r>
          </a:p>
          <a:p>
            <a:pPr lvl="1"/>
            <a:r>
              <a:rPr lang="en-US"/>
              <a:t>Second level</a:t>
            </a:r>
          </a:p>
        </p:txBody>
      </p:sp>
      <p:cxnSp>
        <p:nvCxnSpPr>
          <p:cNvPr id="9" name="Footer line">
            <a:extLst>
              <a:ext uri="{FF2B5EF4-FFF2-40B4-BE49-F238E27FC236}">
                <a16:creationId xmlns:a16="http://schemas.microsoft.com/office/drawing/2014/main" id="{A8949C2C-5DE7-4AE3-8882-57905BA9C24B}"/>
              </a:ext>
            </a:extLst>
          </p:cNvPr>
          <p:cNvCxnSpPr>
            <a:cxnSpLocks/>
          </p:cNvCxnSpPr>
          <p:nvPr userDrawn="1"/>
        </p:nvCxnSpPr>
        <p:spPr>
          <a:xfrm>
            <a:off x="771770" y="4509120"/>
            <a:ext cx="106338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No Name" descr="PitchPerfect|">
            <a:extLst>
              <a:ext uri="{FF2B5EF4-FFF2-40B4-BE49-F238E27FC236}">
                <a16:creationId xmlns:a16="http://schemas.microsoft.com/office/drawing/2014/main" id="{1A3DF627-8F64-4A69-B984-DF11FD0BA6B4}"/>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518338" y="4509120"/>
            <a:ext cx="2716532" cy="1727088"/>
          </a:xfrm>
          <a:prstGeom prst="rect">
            <a:avLst/>
          </a:prstGeom>
        </p:spPr>
      </p:pic>
      <p:sp>
        <p:nvSpPr>
          <p:cNvPr id="12" name="PPTIntroHeading" descr="PitchPerfect|Testimonials|PPTIntroHeading">
            <a:extLst>
              <a:ext uri="{FF2B5EF4-FFF2-40B4-BE49-F238E27FC236}">
                <a16:creationId xmlns:a16="http://schemas.microsoft.com/office/drawing/2014/main" id="{9A843599-D0E6-4F5F-BEA1-3D075B1BA72A}"/>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6492441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roduction - 2 Partners (1/1)">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560D6F3-9104-4A44-9320-E3667DA21B07}"/>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7" name="Name_1" descr="PitchPerfect|Intro|Name_1">
            <a:extLst>
              <a:ext uri="{FF2B5EF4-FFF2-40B4-BE49-F238E27FC236}">
                <a16:creationId xmlns:a16="http://schemas.microsoft.com/office/drawing/2014/main" id="{4FC97484-9396-4D94-AAFC-51696B0356FC}"/>
              </a:ext>
            </a:extLst>
          </p:cNvPr>
          <p:cNvSpPr>
            <a:spLocks noGrp="1"/>
          </p:cNvSpPr>
          <p:nvPr>
            <p:ph type="body" sz="quarter" idx="16" hasCustomPrompt="1"/>
          </p:nvPr>
        </p:nvSpPr>
        <p:spPr>
          <a:xfrm>
            <a:off x="9197884" y="3307885"/>
            <a:ext cx="2216486" cy="211203"/>
          </a:xfrm>
          <a:prstGeom prst="rect">
            <a:avLst/>
          </a:prstGeom>
        </p:spPr>
        <p:txBody>
          <a:bodyPr wrap="square">
            <a:spAutoFit/>
          </a:bodyPr>
          <a:lstStyle>
            <a:lvl1pPr marL="0" indent="0">
              <a:buNone/>
              <a:defRPr sz="900" b="1">
                <a:solidFill>
                  <a:srgbClr val="000000"/>
                </a:solidFill>
                <a:latin typeface="Corporate S" pitchFamily="50" charset="0"/>
              </a:defRPr>
            </a:lvl1pPr>
          </a:lstStyle>
          <a:p>
            <a:pPr lvl="0"/>
            <a:r>
              <a:rPr lang="en-GB" dirty="0"/>
              <a:t>Name</a:t>
            </a:r>
          </a:p>
        </p:txBody>
      </p:sp>
      <p:sp>
        <p:nvSpPr>
          <p:cNvPr id="8" name="IntroJobTitleTwoLines_1" descr="PitchPerfect|Intro|IntroJobTitleTwoLines_1">
            <a:extLst>
              <a:ext uri="{FF2B5EF4-FFF2-40B4-BE49-F238E27FC236}">
                <a16:creationId xmlns:a16="http://schemas.microsoft.com/office/drawing/2014/main" id="{A1FCD81C-5819-4BC9-AD8D-0D5A7B78A02B}"/>
              </a:ext>
            </a:extLst>
          </p:cNvPr>
          <p:cNvSpPr>
            <a:spLocks noGrp="1"/>
          </p:cNvSpPr>
          <p:nvPr>
            <p:ph type="body" sz="quarter" idx="17" hasCustomPrompt="1"/>
          </p:nvPr>
        </p:nvSpPr>
        <p:spPr>
          <a:xfrm>
            <a:off x="9197883" y="3478276"/>
            <a:ext cx="2216486" cy="349702"/>
          </a:xfrm>
          <a:prstGeom prst="rect">
            <a:avLst/>
          </a:prstGeom>
        </p:spPr>
        <p:txBody>
          <a:bodyPr wrap="square">
            <a:spAutoFit/>
          </a:bodyPr>
          <a:lstStyle>
            <a:lvl1pPr marL="0" indent="0">
              <a:spcBef>
                <a:spcPts val="0"/>
              </a:spcBef>
              <a:buNone/>
              <a:defRPr sz="900" b="0">
                <a:solidFill>
                  <a:schemeClr val="tx1"/>
                </a:solidFill>
                <a:latin typeface="Corporate S" pitchFamily="50" charset="0"/>
              </a:defRPr>
            </a:lvl1pPr>
          </a:lstStyle>
          <a:p>
            <a:pPr lvl="0"/>
            <a:r>
              <a:rPr lang="en-GB" dirty="0"/>
              <a:t>Client Relationship Partner </a:t>
            </a:r>
            <a:br>
              <a:rPr lang="en-GB" dirty="0"/>
            </a:br>
            <a:r>
              <a:rPr lang="en-GB" dirty="0"/>
              <a:t>Project Lead</a:t>
            </a:r>
          </a:p>
        </p:txBody>
      </p:sp>
      <p:sp>
        <p:nvSpPr>
          <p:cNvPr id="9" name="DirectDial_1" descr="PitchPerfect|Intro|DirectDial_1">
            <a:extLst>
              <a:ext uri="{FF2B5EF4-FFF2-40B4-BE49-F238E27FC236}">
                <a16:creationId xmlns:a16="http://schemas.microsoft.com/office/drawing/2014/main" id="{966A7970-105D-44D3-BB4E-703BF07273A0}"/>
              </a:ext>
            </a:extLst>
          </p:cNvPr>
          <p:cNvSpPr>
            <a:spLocks noGrp="1"/>
          </p:cNvSpPr>
          <p:nvPr>
            <p:ph type="body" sz="quarter" idx="18" hasCustomPrompt="1"/>
          </p:nvPr>
        </p:nvSpPr>
        <p:spPr>
          <a:xfrm>
            <a:off x="9375134" y="3811940"/>
            <a:ext cx="2039237" cy="211203"/>
          </a:xfrm>
          <a:prstGeom prst="rect">
            <a:avLst/>
          </a:prstGeom>
        </p:spPr>
        <p:txBody>
          <a:bodyPr wrap="square">
            <a:spAutoFit/>
          </a:bodyPr>
          <a:lstStyle>
            <a:lvl1pPr marL="0" indent="0">
              <a:buNone/>
              <a:defRPr sz="900" b="0">
                <a:solidFill>
                  <a:schemeClr val="tx1"/>
                </a:solidFill>
                <a:latin typeface="Corporate S" pitchFamily="50" charset="0"/>
              </a:defRPr>
            </a:lvl1pPr>
          </a:lstStyle>
          <a:p>
            <a:pPr lvl="0"/>
            <a:r>
              <a:rPr lang="en-GB" dirty="0"/>
              <a:t>Phone</a:t>
            </a:r>
          </a:p>
        </p:txBody>
      </p:sp>
      <p:sp>
        <p:nvSpPr>
          <p:cNvPr id="10" name="Mobile_1" descr="PitchPerfect|Intro|Mobile_1">
            <a:extLst>
              <a:ext uri="{FF2B5EF4-FFF2-40B4-BE49-F238E27FC236}">
                <a16:creationId xmlns:a16="http://schemas.microsoft.com/office/drawing/2014/main" id="{FE81BEE8-000E-47EB-9099-E595E5D04822}"/>
              </a:ext>
            </a:extLst>
          </p:cNvPr>
          <p:cNvSpPr>
            <a:spLocks noGrp="1"/>
          </p:cNvSpPr>
          <p:nvPr>
            <p:ph type="body" sz="quarter" idx="19" hasCustomPrompt="1"/>
          </p:nvPr>
        </p:nvSpPr>
        <p:spPr>
          <a:xfrm>
            <a:off x="9375134" y="3991961"/>
            <a:ext cx="2039237" cy="211203"/>
          </a:xfrm>
          <a:prstGeom prst="rect">
            <a:avLst/>
          </a:prstGeom>
        </p:spPr>
        <p:txBody>
          <a:bodyPr wrap="square">
            <a:spAutoFit/>
          </a:bodyPr>
          <a:lstStyle>
            <a:lvl1pPr marL="0" indent="0">
              <a:buNone/>
              <a:defRPr sz="900" b="0">
                <a:solidFill>
                  <a:schemeClr val="tx1"/>
                </a:solidFill>
                <a:latin typeface="Corporate S" pitchFamily="50" charset="0"/>
              </a:defRPr>
            </a:lvl1pPr>
          </a:lstStyle>
          <a:p>
            <a:pPr lvl="0"/>
            <a:r>
              <a:rPr lang="en-GB" dirty="0"/>
              <a:t>Mobile</a:t>
            </a:r>
          </a:p>
        </p:txBody>
      </p:sp>
      <p:sp>
        <p:nvSpPr>
          <p:cNvPr id="11" name="Email_1" descr="PitchPerfect|Intro|Email_1">
            <a:extLst>
              <a:ext uri="{FF2B5EF4-FFF2-40B4-BE49-F238E27FC236}">
                <a16:creationId xmlns:a16="http://schemas.microsoft.com/office/drawing/2014/main" id="{1693DCD1-6A48-456E-8CFD-85861A30A324}"/>
              </a:ext>
            </a:extLst>
          </p:cNvPr>
          <p:cNvSpPr>
            <a:spLocks noGrp="1"/>
          </p:cNvSpPr>
          <p:nvPr>
            <p:ph type="body" sz="quarter" idx="20" hasCustomPrompt="1"/>
          </p:nvPr>
        </p:nvSpPr>
        <p:spPr>
          <a:xfrm>
            <a:off x="9375134" y="4171981"/>
            <a:ext cx="2039237" cy="211203"/>
          </a:xfrm>
          <a:prstGeom prst="rect">
            <a:avLst/>
          </a:prstGeom>
        </p:spPr>
        <p:txBody>
          <a:bodyPr wrap="square">
            <a:spAutoFit/>
          </a:bodyPr>
          <a:lstStyle>
            <a:lvl1pPr marL="0" indent="0">
              <a:buNone/>
              <a:defRPr sz="900" b="0">
                <a:solidFill>
                  <a:schemeClr val="tx1"/>
                </a:solidFill>
                <a:latin typeface="Corporate S" pitchFamily="50" charset="0"/>
              </a:defRPr>
            </a:lvl1pPr>
          </a:lstStyle>
          <a:p>
            <a:pPr lvl="0"/>
            <a:r>
              <a:rPr lang="en-GB" dirty="0"/>
              <a:t>Email</a:t>
            </a:r>
          </a:p>
        </p:txBody>
      </p:sp>
      <p:sp>
        <p:nvSpPr>
          <p:cNvPr id="29" name="Name" descr="PitchPerfect|Intro|Name">
            <a:extLst>
              <a:ext uri="{FF2B5EF4-FFF2-40B4-BE49-F238E27FC236}">
                <a16:creationId xmlns:a16="http://schemas.microsoft.com/office/drawing/2014/main" id="{B9E54F93-0362-4789-B8C3-854BD03AFDD1}"/>
              </a:ext>
            </a:extLst>
          </p:cNvPr>
          <p:cNvSpPr>
            <a:spLocks noGrp="1"/>
          </p:cNvSpPr>
          <p:nvPr>
            <p:ph type="body" sz="quarter" idx="28" hasCustomPrompt="1"/>
          </p:nvPr>
        </p:nvSpPr>
        <p:spPr>
          <a:xfrm>
            <a:off x="6539127" y="3313402"/>
            <a:ext cx="2216486" cy="211203"/>
          </a:xfrm>
          <a:prstGeom prst="rect">
            <a:avLst/>
          </a:prstGeom>
        </p:spPr>
        <p:txBody>
          <a:bodyPr wrap="square">
            <a:spAutoFit/>
          </a:bodyPr>
          <a:lstStyle>
            <a:lvl1pPr marL="0" indent="0">
              <a:buNone/>
              <a:defRPr sz="900" b="1">
                <a:solidFill>
                  <a:srgbClr val="000000"/>
                </a:solidFill>
                <a:latin typeface="Corporate S" pitchFamily="50" charset="0"/>
              </a:defRPr>
            </a:lvl1pPr>
          </a:lstStyle>
          <a:p>
            <a:pPr lvl="0"/>
            <a:r>
              <a:rPr lang="en-GB" dirty="0"/>
              <a:t>Name</a:t>
            </a:r>
          </a:p>
        </p:txBody>
      </p:sp>
      <p:sp>
        <p:nvSpPr>
          <p:cNvPr id="30" name="IntroJobTitleTwoLines" descr="PitchPerfect|Intro|IntroJobTitleTwoLines">
            <a:extLst>
              <a:ext uri="{FF2B5EF4-FFF2-40B4-BE49-F238E27FC236}">
                <a16:creationId xmlns:a16="http://schemas.microsoft.com/office/drawing/2014/main" id="{77C98A45-1243-4A96-BEE9-6BA8B7DA4766}"/>
              </a:ext>
            </a:extLst>
          </p:cNvPr>
          <p:cNvSpPr>
            <a:spLocks noGrp="1"/>
          </p:cNvSpPr>
          <p:nvPr>
            <p:ph type="body" sz="quarter" idx="29" hasCustomPrompt="1"/>
          </p:nvPr>
        </p:nvSpPr>
        <p:spPr>
          <a:xfrm>
            <a:off x="6539127" y="3483793"/>
            <a:ext cx="2216485" cy="349702"/>
          </a:xfrm>
          <a:prstGeom prst="rect">
            <a:avLst/>
          </a:prstGeom>
        </p:spPr>
        <p:txBody>
          <a:bodyPr wrap="square">
            <a:spAutoFit/>
          </a:bodyPr>
          <a:lstStyle>
            <a:lvl1pPr marL="0" indent="0">
              <a:spcBef>
                <a:spcPts val="0"/>
              </a:spcBef>
              <a:buNone/>
              <a:defRPr sz="900" b="0">
                <a:solidFill>
                  <a:schemeClr val="tx1"/>
                </a:solidFill>
                <a:latin typeface="Corporate S" pitchFamily="50" charset="0"/>
              </a:defRPr>
            </a:lvl1pPr>
          </a:lstStyle>
          <a:p>
            <a:pPr lvl="0"/>
            <a:r>
              <a:rPr lang="en-GB" dirty="0"/>
              <a:t>Client Relationship Partner </a:t>
            </a:r>
            <a:br>
              <a:rPr lang="en-GB" dirty="0"/>
            </a:br>
            <a:r>
              <a:rPr lang="en-GB" dirty="0"/>
              <a:t>Project Lead</a:t>
            </a:r>
          </a:p>
        </p:txBody>
      </p:sp>
      <p:sp>
        <p:nvSpPr>
          <p:cNvPr id="31" name="DirectDial" descr="PitchPerfect|Intro|DirectDial">
            <a:extLst>
              <a:ext uri="{FF2B5EF4-FFF2-40B4-BE49-F238E27FC236}">
                <a16:creationId xmlns:a16="http://schemas.microsoft.com/office/drawing/2014/main" id="{F1027F37-F2AE-46B1-84C9-410B372D12BB}"/>
              </a:ext>
            </a:extLst>
          </p:cNvPr>
          <p:cNvSpPr>
            <a:spLocks noGrp="1"/>
          </p:cNvSpPr>
          <p:nvPr>
            <p:ph type="body" sz="quarter" idx="30" hasCustomPrompt="1"/>
          </p:nvPr>
        </p:nvSpPr>
        <p:spPr>
          <a:xfrm>
            <a:off x="6716377" y="3817457"/>
            <a:ext cx="2039236" cy="211203"/>
          </a:xfrm>
          <a:prstGeom prst="rect">
            <a:avLst/>
          </a:prstGeom>
        </p:spPr>
        <p:txBody>
          <a:bodyPr wrap="square">
            <a:spAutoFit/>
          </a:bodyPr>
          <a:lstStyle>
            <a:lvl1pPr marL="0" indent="0">
              <a:buNone/>
              <a:defRPr sz="900" b="0">
                <a:solidFill>
                  <a:schemeClr val="tx1"/>
                </a:solidFill>
                <a:latin typeface="Corporate S" pitchFamily="50" charset="0"/>
              </a:defRPr>
            </a:lvl1pPr>
          </a:lstStyle>
          <a:p>
            <a:pPr lvl="0"/>
            <a:r>
              <a:rPr lang="en-GB" dirty="0"/>
              <a:t>Phone</a:t>
            </a:r>
          </a:p>
        </p:txBody>
      </p:sp>
      <p:sp>
        <p:nvSpPr>
          <p:cNvPr id="32" name="Mobile" descr="PitchPerfect|Intro|Mobile">
            <a:extLst>
              <a:ext uri="{FF2B5EF4-FFF2-40B4-BE49-F238E27FC236}">
                <a16:creationId xmlns:a16="http://schemas.microsoft.com/office/drawing/2014/main" id="{336C903A-AD44-48FE-9023-3289389FB086}"/>
              </a:ext>
            </a:extLst>
          </p:cNvPr>
          <p:cNvSpPr>
            <a:spLocks noGrp="1"/>
          </p:cNvSpPr>
          <p:nvPr>
            <p:ph type="body" sz="quarter" idx="31" hasCustomPrompt="1"/>
          </p:nvPr>
        </p:nvSpPr>
        <p:spPr>
          <a:xfrm>
            <a:off x="6716377" y="3997478"/>
            <a:ext cx="2039236" cy="211203"/>
          </a:xfrm>
          <a:prstGeom prst="rect">
            <a:avLst/>
          </a:prstGeom>
        </p:spPr>
        <p:txBody>
          <a:bodyPr wrap="square">
            <a:spAutoFit/>
          </a:bodyPr>
          <a:lstStyle>
            <a:lvl1pPr marL="0" indent="0">
              <a:buNone/>
              <a:defRPr sz="900" b="0">
                <a:solidFill>
                  <a:schemeClr val="tx1"/>
                </a:solidFill>
                <a:latin typeface="Corporate S" pitchFamily="50" charset="0"/>
              </a:defRPr>
            </a:lvl1pPr>
          </a:lstStyle>
          <a:p>
            <a:pPr lvl="0"/>
            <a:r>
              <a:rPr lang="en-GB" dirty="0"/>
              <a:t>Mobile</a:t>
            </a:r>
          </a:p>
        </p:txBody>
      </p:sp>
      <p:sp>
        <p:nvSpPr>
          <p:cNvPr id="33" name="Email" descr="PitchPerfect|Intro|Email">
            <a:extLst>
              <a:ext uri="{FF2B5EF4-FFF2-40B4-BE49-F238E27FC236}">
                <a16:creationId xmlns:a16="http://schemas.microsoft.com/office/drawing/2014/main" id="{33A1F648-7B48-42D5-9887-0BFF4F793DC3}"/>
              </a:ext>
            </a:extLst>
          </p:cNvPr>
          <p:cNvSpPr>
            <a:spLocks noGrp="1"/>
          </p:cNvSpPr>
          <p:nvPr>
            <p:ph type="body" sz="quarter" idx="32" hasCustomPrompt="1"/>
          </p:nvPr>
        </p:nvSpPr>
        <p:spPr>
          <a:xfrm>
            <a:off x="6716377" y="4177498"/>
            <a:ext cx="2039236" cy="211203"/>
          </a:xfrm>
          <a:prstGeom prst="rect">
            <a:avLst/>
          </a:prstGeom>
        </p:spPr>
        <p:txBody>
          <a:bodyPr wrap="square">
            <a:spAutoFit/>
          </a:bodyPr>
          <a:lstStyle>
            <a:lvl1pPr marL="0" indent="0">
              <a:buNone/>
              <a:defRPr sz="900" b="0">
                <a:solidFill>
                  <a:schemeClr val="tx1"/>
                </a:solidFill>
                <a:latin typeface="Corporate S" pitchFamily="50" charset="0"/>
              </a:defRPr>
            </a:lvl1pPr>
          </a:lstStyle>
          <a:p>
            <a:pPr lvl="0"/>
            <a:r>
              <a:rPr lang="en-GB" dirty="0"/>
              <a:t>Email</a:t>
            </a:r>
          </a:p>
        </p:txBody>
      </p:sp>
      <p:sp>
        <p:nvSpPr>
          <p:cNvPr id="37" name="PPTIntroText" descr="PitchPerfect|Intro|PPTIntroText">
            <a:extLst>
              <a:ext uri="{FF2B5EF4-FFF2-40B4-BE49-F238E27FC236}">
                <a16:creationId xmlns:a16="http://schemas.microsoft.com/office/drawing/2014/main" id="{8460FB88-4DCB-47D7-A946-18A7DED5EDC0}"/>
              </a:ext>
            </a:extLst>
          </p:cNvPr>
          <p:cNvSpPr>
            <a:spLocks noGrp="1"/>
          </p:cNvSpPr>
          <p:nvPr>
            <p:ph type="body" sz="quarter" idx="21"/>
          </p:nvPr>
        </p:nvSpPr>
        <p:spPr>
          <a:xfrm>
            <a:off x="777631" y="1407600"/>
            <a:ext cx="4343492" cy="3391600"/>
          </a:xfrm>
          <a:prstGeom prst="rect">
            <a:avLst/>
          </a:prstGeom>
        </p:spPr>
        <p:txBody>
          <a:bodyPr/>
          <a:lstStyle>
            <a:lvl1pPr>
              <a:defRPr sz="1100" b="0">
                <a:solidFill>
                  <a:schemeClr val="tx1"/>
                </a:solidFill>
                <a:latin typeface="+mn-lt"/>
              </a:defRPr>
            </a:lvl1pPr>
          </a:lstStyle>
          <a:p>
            <a:pPr lvl="0"/>
            <a:r>
              <a:rPr lang="en-US"/>
              <a:t>Edit Master text styles</a:t>
            </a:r>
          </a:p>
        </p:txBody>
      </p:sp>
      <p:sp>
        <p:nvSpPr>
          <p:cNvPr id="38" name="QuoteSource" descr="PitchPerfect|Testimonials|QuoteSource">
            <a:extLst>
              <a:ext uri="{FF2B5EF4-FFF2-40B4-BE49-F238E27FC236}">
                <a16:creationId xmlns:a16="http://schemas.microsoft.com/office/drawing/2014/main" id="{20FB32A1-56C6-4202-B228-B67B2B19FABF}"/>
              </a:ext>
            </a:extLst>
          </p:cNvPr>
          <p:cNvSpPr>
            <a:spLocks noGrp="1"/>
          </p:cNvSpPr>
          <p:nvPr>
            <p:ph type="body" sz="quarter" idx="13"/>
          </p:nvPr>
        </p:nvSpPr>
        <p:spPr>
          <a:xfrm>
            <a:off x="4334168" y="5261587"/>
            <a:ext cx="5306842" cy="914108"/>
          </a:xfrm>
          <a:prstGeom prst="rect">
            <a:avLst/>
          </a:prstGeom>
        </p:spPr>
        <p:txBody>
          <a:bodyPr>
            <a:noAutofit/>
          </a:bodyPr>
          <a:lstStyle>
            <a:lvl1pPr algn="l">
              <a:lnSpc>
                <a:spcPct val="110000"/>
              </a:lnSpc>
              <a:defRPr sz="1600" b="0">
                <a:solidFill>
                  <a:schemeClr val="tx1"/>
                </a:solidFill>
                <a:latin typeface="+mn-lt"/>
              </a:defRPr>
            </a:lvl1pPr>
            <a:lvl2pPr algn="l">
              <a:defRPr sz="1200" b="0">
                <a:solidFill>
                  <a:srgbClr val="000000"/>
                </a:solidFill>
                <a:latin typeface="+mj-lt"/>
              </a:defRPr>
            </a:lvl2pPr>
          </a:lstStyle>
          <a:p>
            <a:pPr lvl="0"/>
            <a:r>
              <a:rPr lang="en-US"/>
              <a:t>Edit Master text styles</a:t>
            </a:r>
          </a:p>
          <a:p>
            <a:pPr lvl="1"/>
            <a:r>
              <a:rPr lang="en-US"/>
              <a:t>Second level</a:t>
            </a:r>
          </a:p>
        </p:txBody>
      </p:sp>
      <p:pic>
        <p:nvPicPr>
          <p:cNvPr id="40" name="Quote Image">
            <a:extLst>
              <a:ext uri="{FF2B5EF4-FFF2-40B4-BE49-F238E27FC236}">
                <a16:creationId xmlns:a16="http://schemas.microsoft.com/office/drawing/2014/main" id="{6858D6DD-BBA7-473D-A439-7001210C47B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503888" y="5079177"/>
            <a:ext cx="1830279" cy="1163636"/>
          </a:xfrm>
          <a:prstGeom prst="rect">
            <a:avLst/>
          </a:prstGeom>
        </p:spPr>
      </p:pic>
      <p:cxnSp>
        <p:nvCxnSpPr>
          <p:cNvPr id="41" name="Footer line">
            <a:extLst>
              <a:ext uri="{FF2B5EF4-FFF2-40B4-BE49-F238E27FC236}">
                <a16:creationId xmlns:a16="http://schemas.microsoft.com/office/drawing/2014/main" id="{A19AD823-38ED-473A-ACCA-99A04EB5C6CB}"/>
              </a:ext>
            </a:extLst>
          </p:cNvPr>
          <p:cNvCxnSpPr>
            <a:cxnSpLocks/>
          </p:cNvCxnSpPr>
          <p:nvPr userDrawn="1"/>
        </p:nvCxnSpPr>
        <p:spPr>
          <a:xfrm>
            <a:off x="771770" y="5085184"/>
            <a:ext cx="106338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PPTIntroHeading" descr="PitchPerfect|Intro|PPTIntroHeading">
            <a:extLst>
              <a:ext uri="{FF2B5EF4-FFF2-40B4-BE49-F238E27FC236}">
                <a16:creationId xmlns:a16="http://schemas.microsoft.com/office/drawing/2014/main" id="{F83CD4EA-E4F3-4ACA-84C6-D6FD8366125A}"/>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26" name="PP_E" descr="PitchPerfect|Intro|PP_E">
            <a:extLst>
              <a:ext uri="{FF2B5EF4-FFF2-40B4-BE49-F238E27FC236}">
                <a16:creationId xmlns:a16="http://schemas.microsoft.com/office/drawing/2014/main" id="{6152309B-6D4F-42E4-90BA-1603F9BB166D}"/>
              </a:ext>
            </a:extLst>
          </p:cNvPr>
          <p:cNvSpPr>
            <a:spLocks noGrp="1"/>
          </p:cNvSpPr>
          <p:nvPr>
            <p:ph type="body" sz="quarter" idx="33" hasCustomPrompt="1"/>
          </p:nvPr>
        </p:nvSpPr>
        <p:spPr>
          <a:xfrm>
            <a:off x="6539147" y="4166460"/>
            <a:ext cx="177231" cy="153888"/>
          </a:xfrm>
        </p:spPr>
        <p:txBody>
          <a:bodyPr wrap="square" bIns="0">
            <a:spAutoFit/>
          </a:bodyPr>
          <a:lstStyle>
            <a:lvl1pPr>
              <a:defRPr sz="1000" b="1"/>
            </a:lvl1pPr>
          </a:lstStyle>
          <a:p>
            <a:pPr lvl="0"/>
            <a:r>
              <a:rPr lang="en-US" dirty="0"/>
              <a:t>E</a:t>
            </a:r>
            <a:endParaRPr lang="en-GB" dirty="0"/>
          </a:p>
        </p:txBody>
      </p:sp>
      <p:sp>
        <p:nvSpPr>
          <p:cNvPr id="27" name="PP_M" descr="PitchPerfect|Intro|PP_M">
            <a:extLst>
              <a:ext uri="{FF2B5EF4-FFF2-40B4-BE49-F238E27FC236}">
                <a16:creationId xmlns:a16="http://schemas.microsoft.com/office/drawing/2014/main" id="{282282F3-C6CA-4A0F-966F-1945858FADF7}"/>
              </a:ext>
            </a:extLst>
          </p:cNvPr>
          <p:cNvSpPr>
            <a:spLocks noGrp="1"/>
          </p:cNvSpPr>
          <p:nvPr>
            <p:ph type="body" sz="quarter" idx="34" hasCustomPrompt="1"/>
          </p:nvPr>
        </p:nvSpPr>
        <p:spPr>
          <a:xfrm>
            <a:off x="6539147" y="3992694"/>
            <a:ext cx="177231" cy="153888"/>
          </a:xfrm>
        </p:spPr>
        <p:txBody>
          <a:bodyPr wrap="square" bIns="0">
            <a:spAutoFit/>
          </a:bodyPr>
          <a:lstStyle>
            <a:lvl1pPr>
              <a:defRPr sz="1000" b="1"/>
            </a:lvl1pPr>
          </a:lstStyle>
          <a:p>
            <a:pPr lvl="0"/>
            <a:r>
              <a:rPr lang="en-US" dirty="0"/>
              <a:t>M</a:t>
            </a:r>
            <a:endParaRPr lang="en-GB" dirty="0"/>
          </a:p>
        </p:txBody>
      </p:sp>
      <p:sp>
        <p:nvSpPr>
          <p:cNvPr id="39" name="PP_T" descr="PitchPerfect|Intro|PP_T">
            <a:extLst>
              <a:ext uri="{FF2B5EF4-FFF2-40B4-BE49-F238E27FC236}">
                <a16:creationId xmlns:a16="http://schemas.microsoft.com/office/drawing/2014/main" id="{C0694BAB-8760-456C-AE0D-4844FA2C3EF6}"/>
              </a:ext>
            </a:extLst>
          </p:cNvPr>
          <p:cNvSpPr>
            <a:spLocks noGrp="1"/>
          </p:cNvSpPr>
          <p:nvPr>
            <p:ph type="body" sz="quarter" idx="35" hasCustomPrompt="1"/>
          </p:nvPr>
        </p:nvSpPr>
        <p:spPr>
          <a:xfrm>
            <a:off x="6539147" y="3802068"/>
            <a:ext cx="177231" cy="153888"/>
          </a:xfrm>
        </p:spPr>
        <p:txBody>
          <a:bodyPr wrap="square" bIns="0">
            <a:spAutoFit/>
          </a:bodyPr>
          <a:lstStyle>
            <a:lvl1pPr>
              <a:defRPr sz="1000" b="1"/>
            </a:lvl1pPr>
          </a:lstStyle>
          <a:p>
            <a:pPr lvl="0"/>
            <a:r>
              <a:rPr lang="en-US" dirty="0"/>
              <a:t>T</a:t>
            </a:r>
            <a:endParaRPr lang="en-GB" dirty="0"/>
          </a:p>
        </p:txBody>
      </p:sp>
      <p:sp>
        <p:nvSpPr>
          <p:cNvPr id="42" name="PP_E_1" descr="PitchPerfect|Intro|PP_E_1">
            <a:extLst>
              <a:ext uri="{FF2B5EF4-FFF2-40B4-BE49-F238E27FC236}">
                <a16:creationId xmlns:a16="http://schemas.microsoft.com/office/drawing/2014/main" id="{B8EB9853-ED99-4084-BFE9-0DD968E7F7E2}"/>
              </a:ext>
            </a:extLst>
          </p:cNvPr>
          <p:cNvSpPr>
            <a:spLocks noGrp="1"/>
          </p:cNvSpPr>
          <p:nvPr>
            <p:ph type="body" sz="quarter" idx="36" hasCustomPrompt="1"/>
          </p:nvPr>
        </p:nvSpPr>
        <p:spPr>
          <a:xfrm>
            <a:off x="9197903" y="4176332"/>
            <a:ext cx="177231" cy="153888"/>
          </a:xfrm>
        </p:spPr>
        <p:txBody>
          <a:bodyPr wrap="square" bIns="0">
            <a:spAutoFit/>
          </a:bodyPr>
          <a:lstStyle>
            <a:lvl1pPr>
              <a:defRPr sz="1000" b="1"/>
            </a:lvl1pPr>
          </a:lstStyle>
          <a:p>
            <a:pPr lvl="0"/>
            <a:r>
              <a:rPr lang="en-US" dirty="0"/>
              <a:t>E</a:t>
            </a:r>
            <a:endParaRPr lang="en-GB" dirty="0"/>
          </a:p>
        </p:txBody>
      </p:sp>
      <p:sp>
        <p:nvSpPr>
          <p:cNvPr id="44" name="PP_M_1" descr="PitchPerfect|Intro|PP_M_1">
            <a:extLst>
              <a:ext uri="{FF2B5EF4-FFF2-40B4-BE49-F238E27FC236}">
                <a16:creationId xmlns:a16="http://schemas.microsoft.com/office/drawing/2014/main" id="{B9275AA1-713B-4FE8-9314-88A3DA55E27D}"/>
              </a:ext>
            </a:extLst>
          </p:cNvPr>
          <p:cNvSpPr>
            <a:spLocks noGrp="1"/>
          </p:cNvSpPr>
          <p:nvPr>
            <p:ph type="body" sz="quarter" idx="37" hasCustomPrompt="1"/>
          </p:nvPr>
        </p:nvSpPr>
        <p:spPr>
          <a:xfrm>
            <a:off x="9197903" y="4002566"/>
            <a:ext cx="177231" cy="153888"/>
          </a:xfrm>
        </p:spPr>
        <p:txBody>
          <a:bodyPr wrap="square" bIns="0">
            <a:spAutoFit/>
          </a:bodyPr>
          <a:lstStyle>
            <a:lvl1pPr>
              <a:defRPr sz="1000" b="1"/>
            </a:lvl1pPr>
          </a:lstStyle>
          <a:p>
            <a:pPr lvl="0"/>
            <a:r>
              <a:rPr lang="en-US" dirty="0"/>
              <a:t>M</a:t>
            </a:r>
            <a:endParaRPr lang="en-GB" dirty="0"/>
          </a:p>
        </p:txBody>
      </p:sp>
      <p:sp>
        <p:nvSpPr>
          <p:cNvPr id="45" name="PP_T_1" descr="PitchPerfect|Intro|PP_T_1">
            <a:extLst>
              <a:ext uri="{FF2B5EF4-FFF2-40B4-BE49-F238E27FC236}">
                <a16:creationId xmlns:a16="http://schemas.microsoft.com/office/drawing/2014/main" id="{CE8DB7BA-6CE1-4D79-9C65-CE39D53B4D3E}"/>
              </a:ext>
            </a:extLst>
          </p:cNvPr>
          <p:cNvSpPr>
            <a:spLocks noGrp="1"/>
          </p:cNvSpPr>
          <p:nvPr>
            <p:ph type="body" sz="quarter" idx="38" hasCustomPrompt="1"/>
          </p:nvPr>
        </p:nvSpPr>
        <p:spPr>
          <a:xfrm>
            <a:off x="9197903" y="3811940"/>
            <a:ext cx="177231" cy="153888"/>
          </a:xfrm>
        </p:spPr>
        <p:txBody>
          <a:bodyPr wrap="square" bIns="0">
            <a:spAutoFit/>
          </a:bodyPr>
          <a:lstStyle>
            <a:lvl1pPr>
              <a:defRPr sz="1000" b="1"/>
            </a:lvl1pPr>
          </a:lstStyle>
          <a:p>
            <a:pPr lvl="0"/>
            <a:r>
              <a:rPr lang="en-US" dirty="0"/>
              <a:t>T</a:t>
            </a:r>
            <a:endParaRPr lang="en-GB" dirty="0"/>
          </a:p>
        </p:txBody>
      </p:sp>
      <p:sp>
        <p:nvSpPr>
          <p:cNvPr id="3" name="Headshot" descr="PitchPerfect|Intro|Headshot">
            <a:extLst>
              <a:ext uri="{FF2B5EF4-FFF2-40B4-BE49-F238E27FC236}">
                <a16:creationId xmlns:a16="http://schemas.microsoft.com/office/drawing/2014/main" id="{2CC5E8DD-0AEF-4F90-806F-0508D2E1B985}"/>
              </a:ext>
            </a:extLst>
          </p:cNvPr>
          <p:cNvSpPr>
            <a:spLocks noGrp="1" noChangeAspect="1"/>
          </p:cNvSpPr>
          <p:nvPr>
            <p:ph type="pic" sz="quarter" idx="39"/>
          </p:nvPr>
        </p:nvSpPr>
        <p:spPr>
          <a:xfrm>
            <a:off x="6540229" y="1408981"/>
            <a:ext cx="2215385" cy="1800000"/>
          </a:xfrm>
        </p:spPr>
        <p:txBody>
          <a:bodyPr/>
          <a:lstStyle/>
          <a:p>
            <a:r>
              <a:rPr lang="en-US"/>
              <a:t>Click icon to add picture</a:t>
            </a:r>
            <a:endParaRPr lang="en-GB"/>
          </a:p>
        </p:txBody>
      </p:sp>
      <p:sp>
        <p:nvSpPr>
          <p:cNvPr id="34" name="Headshot_1" descr="PitchPerfect|Intro|Headshot_1">
            <a:extLst>
              <a:ext uri="{FF2B5EF4-FFF2-40B4-BE49-F238E27FC236}">
                <a16:creationId xmlns:a16="http://schemas.microsoft.com/office/drawing/2014/main" id="{422109DE-FC48-443D-9352-21B6D6971B2B}"/>
              </a:ext>
            </a:extLst>
          </p:cNvPr>
          <p:cNvSpPr>
            <a:spLocks noGrp="1" noChangeAspect="1"/>
          </p:cNvSpPr>
          <p:nvPr>
            <p:ph type="pic" sz="quarter" idx="40"/>
          </p:nvPr>
        </p:nvSpPr>
        <p:spPr>
          <a:xfrm>
            <a:off x="9198986" y="1408981"/>
            <a:ext cx="2215385" cy="1800000"/>
          </a:xfrm>
        </p:spPr>
        <p:txBody>
          <a:bodyPr/>
          <a:lstStyle/>
          <a:p>
            <a:r>
              <a:rPr lang="en-US"/>
              <a:t>Click icon to add picture</a:t>
            </a:r>
            <a:endParaRPr lang="en-GB"/>
          </a:p>
        </p:txBody>
      </p:sp>
    </p:spTree>
    <p:extLst>
      <p:ext uri="{BB962C8B-B14F-4D97-AF65-F5344CB8AC3E}">
        <p14:creationId xmlns:p14="http://schemas.microsoft.com/office/powerpoint/2010/main" val="18884859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Contacts - 2 Contact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EED1DF8-C98D-473D-B282-1396F4CC2D6E}"/>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7" name="PowerPointBio" descr="PitchPerfect|Bio|PowerPointBio">
            <a:extLst>
              <a:ext uri="{FF2B5EF4-FFF2-40B4-BE49-F238E27FC236}">
                <a16:creationId xmlns:a16="http://schemas.microsoft.com/office/drawing/2014/main" id="{5D6C8D57-1765-4B5F-9F68-ADD54BA61B8D}"/>
              </a:ext>
            </a:extLst>
          </p:cNvPr>
          <p:cNvSpPr>
            <a:spLocks noGrp="1"/>
          </p:cNvSpPr>
          <p:nvPr>
            <p:ph type="body" sz="quarter" idx="13"/>
          </p:nvPr>
        </p:nvSpPr>
        <p:spPr>
          <a:xfrm>
            <a:off x="777631" y="2852936"/>
            <a:ext cx="4874847" cy="3384376"/>
          </a:xfrm>
          <a:prstGeom prst="rect">
            <a:avLst/>
          </a:prstGeom>
        </p:spPr>
        <p:txBody>
          <a:bodyPr/>
          <a:lstStyle>
            <a:lvl1pPr>
              <a:defRPr sz="120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owerPointBio_1" descr="PitchPerfect|Bio|PowerPointBio_1">
            <a:extLst>
              <a:ext uri="{FF2B5EF4-FFF2-40B4-BE49-F238E27FC236}">
                <a16:creationId xmlns:a16="http://schemas.microsoft.com/office/drawing/2014/main" id="{F96EB68D-223A-46F9-95C5-E9FDCBBA1AF9}"/>
              </a:ext>
            </a:extLst>
          </p:cNvPr>
          <p:cNvSpPr>
            <a:spLocks noGrp="1"/>
          </p:cNvSpPr>
          <p:nvPr>
            <p:ph type="body" sz="quarter" idx="14"/>
          </p:nvPr>
        </p:nvSpPr>
        <p:spPr>
          <a:xfrm>
            <a:off x="6273251" y="2852935"/>
            <a:ext cx="4874847" cy="3384000"/>
          </a:xfrm>
          <a:prstGeom prst="rect">
            <a:avLst/>
          </a:prstGeom>
        </p:spPr>
        <p:txBody>
          <a:bodyPr/>
          <a:lstStyle>
            <a:lvl1pPr>
              <a:defRPr sz="1200"/>
            </a:lvl1pPr>
            <a:lvl2pPr>
              <a:lnSpc>
                <a:spcPct val="105000"/>
              </a:lnSpc>
              <a:defRPr/>
            </a:lvl2pPr>
            <a:lvl3pPr>
              <a:lnSpc>
                <a:spcPct val="105000"/>
              </a:lnSpc>
              <a:defRPr/>
            </a:lvl3pPr>
            <a:lvl4pPr>
              <a:lnSpc>
                <a:spcPct val="105000"/>
              </a:lnSpc>
              <a:defRPr/>
            </a:lvl4pPr>
            <a:lvl5pPr>
              <a:lnSpc>
                <a:spcPct val="105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Headshot" descr="PitchPerfect|Bio|Headshot">
            <a:extLst>
              <a:ext uri="{FF2B5EF4-FFF2-40B4-BE49-F238E27FC236}">
                <a16:creationId xmlns:a16="http://schemas.microsoft.com/office/drawing/2014/main" id="{34D355F8-BC45-4CB7-8FDA-3DDC88E15BEC}"/>
              </a:ext>
            </a:extLst>
          </p:cNvPr>
          <p:cNvSpPr>
            <a:spLocks noGrp="1" noChangeAspect="1"/>
          </p:cNvSpPr>
          <p:nvPr>
            <p:ph type="pic" sz="quarter" idx="21"/>
          </p:nvPr>
        </p:nvSpPr>
        <p:spPr>
          <a:xfrm>
            <a:off x="778486" y="1420865"/>
            <a:ext cx="1356598" cy="1101600"/>
          </a:xfrm>
          <a:prstGeom prst="ellipse">
            <a:avLst/>
          </a:prstGeom>
        </p:spPr>
        <p:txBody>
          <a:bodyPr/>
          <a:lstStyle/>
          <a:p>
            <a:r>
              <a:rPr lang="en-US"/>
              <a:t>Click icon to add picture</a:t>
            </a:r>
            <a:endParaRPr lang="en-GB" dirty="0"/>
          </a:p>
        </p:txBody>
      </p:sp>
      <p:sp>
        <p:nvSpPr>
          <p:cNvPr id="10" name="Name" descr="PitchPerfect|Bio|Name">
            <a:extLst>
              <a:ext uri="{FF2B5EF4-FFF2-40B4-BE49-F238E27FC236}">
                <a16:creationId xmlns:a16="http://schemas.microsoft.com/office/drawing/2014/main" id="{43B73FC1-F8B4-4FAE-8C81-9C1241BD0405}"/>
              </a:ext>
            </a:extLst>
          </p:cNvPr>
          <p:cNvSpPr>
            <a:spLocks noGrp="1"/>
          </p:cNvSpPr>
          <p:nvPr>
            <p:ph type="body" sz="quarter" idx="22" hasCustomPrompt="1"/>
          </p:nvPr>
        </p:nvSpPr>
        <p:spPr>
          <a:xfrm>
            <a:off x="2285115" y="1450889"/>
            <a:ext cx="3503559" cy="241980"/>
          </a:xfrm>
          <a:prstGeom prst="rect">
            <a:avLst/>
          </a:prstGeom>
        </p:spPr>
        <p:txBody>
          <a:bodyPr>
            <a:spAutoFit/>
          </a:bodyPr>
          <a:lstStyle>
            <a:lvl1pPr marL="0" indent="0">
              <a:buNone/>
              <a:defRPr sz="1100" b="1">
                <a:solidFill>
                  <a:srgbClr val="000000"/>
                </a:solidFill>
                <a:latin typeface="+mj-lt"/>
              </a:defRPr>
            </a:lvl1pPr>
          </a:lstStyle>
          <a:p>
            <a:pPr lvl="0"/>
            <a:r>
              <a:rPr lang="en-GB" dirty="0"/>
              <a:t>Name</a:t>
            </a:r>
          </a:p>
        </p:txBody>
      </p:sp>
      <p:sp>
        <p:nvSpPr>
          <p:cNvPr id="11" name="Position" descr="PitchPerfect|Bio|Position">
            <a:extLst>
              <a:ext uri="{FF2B5EF4-FFF2-40B4-BE49-F238E27FC236}">
                <a16:creationId xmlns:a16="http://schemas.microsoft.com/office/drawing/2014/main" id="{098DA078-B44C-4D4B-A869-EB29338F93B4}"/>
              </a:ext>
            </a:extLst>
          </p:cNvPr>
          <p:cNvSpPr>
            <a:spLocks noGrp="1"/>
          </p:cNvSpPr>
          <p:nvPr>
            <p:ph type="body" sz="quarter" idx="23" hasCustomPrompt="1"/>
          </p:nvPr>
        </p:nvSpPr>
        <p:spPr>
          <a:xfrm>
            <a:off x="2285115" y="1687330"/>
            <a:ext cx="3503559" cy="241980"/>
          </a:xfrm>
          <a:prstGeom prst="rect">
            <a:avLst/>
          </a:prstGeom>
        </p:spPr>
        <p:txBody>
          <a:bodyPr>
            <a:spAutoFit/>
          </a:bodyPr>
          <a:lstStyle>
            <a:lvl1pPr marL="0" indent="0">
              <a:buNone/>
              <a:defRPr sz="1100" b="0">
                <a:solidFill>
                  <a:srgbClr val="191919"/>
                </a:solidFill>
                <a:latin typeface="+mj-lt"/>
              </a:defRPr>
            </a:lvl1pPr>
          </a:lstStyle>
          <a:p>
            <a:pPr lvl="0"/>
            <a:r>
              <a:rPr lang="en-GB" dirty="0"/>
              <a:t>Job Title</a:t>
            </a:r>
          </a:p>
        </p:txBody>
      </p:sp>
      <p:sp>
        <p:nvSpPr>
          <p:cNvPr id="12" name="DirectDial" descr="PitchPerfect|Bio|DirectDial">
            <a:extLst>
              <a:ext uri="{FF2B5EF4-FFF2-40B4-BE49-F238E27FC236}">
                <a16:creationId xmlns:a16="http://schemas.microsoft.com/office/drawing/2014/main" id="{9B3C9E49-7902-4E35-805B-5A5F266D890A}"/>
              </a:ext>
            </a:extLst>
          </p:cNvPr>
          <p:cNvSpPr>
            <a:spLocks noGrp="1"/>
          </p:cNvSpPr>
          <p:nvPr>
            <p:ph type="body" sz="quarter" idx="24" hasCustomPrompt="1"/>
          </p:nvPr>
        </p:nvSpPr>
        <p:spPr>
          <a:xfrm>
            <a:off x="2447946" y="2117866"/>
            <a:ext cx="1744044" cy="241980"/>
          </a:xfrm>
          <a:prstGeom prst="rect">
            <a:avLst/>
          </a:prstGeom>
        </p:spPr>
        <p:txBody>
          <a:bodyPr>
            <a:spAutoFit/>
          </a:bodyPr>
          <a:lstStyle>
            <a:lvl1pPr marL="0" indent="0">
              <a:buNone/>
              <a:defRPr sz="1100" b="0">
                <a:solidFill>
                  <a:schemeClr val="tx1"/>
                </a:solidFill>
                <a:latin typeface="+mj-lt"/>
              </a:defRPr>
            </a:lvl1pPr>
          </a:lstStyle>
          <a:p>
            <a:pPr lvl="0"/>
            <a:r>
              <a:rPr lang="en-GB" dirty="0"/>
              <a:t>Phone</a:t>
            </a:r>
          </a:p>
        </p:txBody>
      </p:sp>
      <p:sp>
        <p:nvSpPr>
          <p:cNvPr id="13" name="Mobile" descr="PitchPerfect|Bio|Mobile">
            <a:extLst>
              <a:ext uri="{FF2B5EF4-FFF2-40B4-BE49-F238E27FC236}">
                <a16:creationId xmlns:a16="http://schemas.microsoft.com/office/drawing/2014/main" id="{FCE0F141-9859-4AA5-8F7C-F4576D1EC705}"/>
              </a:ext>
            </a:extLst>
          </p:cNvPr>
          <p:cNvSpPr>
            <a:spLocks noGrp="1"/>
          </p:cNvSpPr>
          <p:nvPr>
            <p:ph type="body" sz="quarter" idx="25" hasCustomPrompt="1"/>
          </p:nvPr>
        </p:nvSpPr>
        <p:spPr>
          <a:xfrm>
            <a:off x="4185866" y="2117866"/>
            <a:ext cx="1742746" cy="241980"/>
          </a:xfrm>
          <a:prstGeom prst="rect">
            <a:avLst/>
          </a:prstGeom>
        </p:spPr>
        <p:txBody>
          <a:bodyPr>
            <a:spAutoFit/>
          </a:bodyPr>
          <a:lstStyle>
            <a:lvl1pPr marL="0" indent="0">
              <a:buNone/>
              <a:defRPr sz="1100" b="0">
                <a:solidFill>
                  <a:schemeClr val="tx1"/>
                </a:solidFill>
                <a:latin typeface="+mj-lt"/>
              </a:defRPr>
            </a:lvl1pPr>
          </a:lstStyle>
          <a:p>
            <a:pPr lvl="0"/>
            <a:r>
              <a:rPr lang="en-GB" dirty="0"/>
              <a:t>Mobile</a:t>
            </a:r>
          </a:p>
        </p:txBody>
      </p:sp>
      <p:sp>
        <p:nvSpPr>
          <p:cNvPr id="14" name="Email" descr="PitchPerfect|Bio|Email">
            <a:extLst>
              <a:ext uri="{FF2B5EF4-FFF2-40B4-BE49-F238E27FC236}">
                <a16:creationId xmlns:a16="http://schemas.microsoft.com/office/drawing/2014/main" id="{1A2F0B09-03CE-4605-A58B-0E06479A3866}"/>
              </a:ext>
            </a:extLst>
          </p:cNvPr>
          <p:cNvSpPr>
            <a:spLocks noGrp="1"/>
          </p:cNvSpPr>
          <p:nvPr>
            <p:ph type="body" sz="quarter" idx="26" hasCustomPrompt="1"/>
          </p:nvPr>
        </p:nvSpPr>
        <p:spPr>
          <a:xfrm>
            <a:off x="2453866" y="2348174"/>
            <a:ext cx="3165934" cy="241980"/>
          </a:xfrm>
          <a:prstGeom prst="rect">
            <a:avLst/>
          </a:prstGeom>
        </p:spPr>
        <p:txBody>
          <a:bodyPr>
            <a:spAutoFit/>
          </a:bodyPr>
          <a:lstStyle>
            <a:lvl1pPr marL="0" indent="0">
              <a:buNone/>
              <a:defRPr sz="1100" b="0">
                <a:solidFill>
                  <a:schemeClr val="tx1"/>
                </a:solidFill>
                <a:latin typeface="+mj-lt"/>
              </a:defRPr>
            </a:lvl1pPr>
          </a:lstStyle>
          <a:p>
            <a:pPr lvl="0"/>
            <a:r>
              <a:rPr lang="en-GB" dirty="0"/>
              <a:t>Email</a:t>
            </a:r>
          </a:p>
        </p:txBody>
      </p:sp>
      <p:sp>
        <p:nvSpPr>
          <p:cNvPr id="18" name="Practice" descr="PitchPerfect|Bio|Practice">
            <a:extLst>
              <a:ext uri="{FF2B5EF4-FFF2-40B4-BE49-F238E27FC236}">
                <a16:creationId xmlns:a16="http://schemas.microsoft.com/office/drawing/2014/main" id="{9C89E79B-4A14-409A-815E-145D718836C1}"/>
              </a:ext>
            </a:extLst>
          </p:cNvPr>
          <p:cNvSpPr>
            <a:spLocks noGrp="1"/>
          </p:cNvSpPr>
          <p:nvPr>
            <p:ph type="body" sz="quarter" idx="35" hasCustomPrompt="1"/>
          </p:nvPr>
        </p:nvSpPr>
        <p:spPr>
          <a:xfrm>
            <a:off x="2285115" y="1893078"/>
            <a:ext cx="3503559" cy="241980"/>
          </a:xfrm>
          <a:prstGeom prst="rect">
            <a:avLst/>
          </a:prstGeom>
        </p:spPr>
        <p:txBody>
          <a:bodyPr>
            <a:spAutoFit/>
          </a:bodyPr>
          <a:lstStyle>
            <a:lvl1pPr marL="0" indent="0">
              <a:buNone/>
              <a:defRPr sz="1100" b="0">
                <a:solidFill>
                  <a:schemeClr val="tx1"/>
                </a:solidFill>
                <a:latin typeface="+mj-lt"/>
              </a:defRPr>
            </a:lvl1pPr>
          </a:lstStyle>
          <a:p>
            <a:pPr lvl="0"/>
            <a:r>
              <a:rPr lang="en-GB" dirty="0"/>
              <a:t>Practice</a:t>
            </a:r>
          </a:p>
        </p:txBody>
      </p:sp>
      <p:sp>
        <p:nvSpPr>
          <p:cNvPr id="29" name="Headshot_1" descr="PitchPerfect|Bio|Headshot_1">
            <a:extLst>
              <a:ext uri="{FF2B5EF4-FFF2-40B4-BE49-F238E27FC236}">
                <a16:creationId xmlns:a16="http://schemas.microsoft.com/office/drawing/2014/main" id="{BADDD4EE-1EC4-4B3D-BD5F-A074D8808C34}"/>
              </a:ext>
            </a:extLst>
          </p:cNvPr>
          <p:cNvSpPr>
            <a:spLocks noGrp="1" noChangeAspect="1"/>
          </p:cNvSpPr>
          <p:nvPr>
            <p:ph type="pic" sz="quarter" idx="36"/>
          </p:nvPr>
        </p:nvSpPr>
        <p:spPr>
          <a:xfrm>
            <a:off x="6273251" y="1412776"/>
            <a:ext cx="1356598" cy="1101600"/>
          </a:xfrm>
          <a:prstGeom prst="ellipse">
            <a:avLst/>
          </a:prstGeom>
        </p:spPr>
        <p:txBody>
          <a:bodyPr/>
          <a:lstStyle/>
          <a:p>
            <a:r>
              <a:rPr lang="en-US"/>
              <a:t>Click icon to add picture</a:t>
            </a:r>
            <a:endParaRPr lang="en-GB"/>
          </a:p>
        </p:txBody>
      </p:sp>
      <p:sp>
        <p:nvSpPr>
          <p:cNvPr id="30" name="Name_1" descr="PitchPerfect|Bio|Name_1">
            <a:extLst>
              <a:ext uri="{FF2B5EF4-FFF2-40B4-BE49-F238E27FC236}">
                <a16:creationId xmlns:a16="http://schemas.microsoft.com/office/drawing/2014/main" id="{CD44A8C1-07E0-43E0-8D74-F69D98D1BF00}"/>
              </a:ext>
            </a:extLst>
          </p:cNvPr>
          <p:cNvSpPr>
            <a:spLocks noGrp="1"/>
          </p:cNvSpPr>
          <p:nvPr>
            <p:ph type="body" sz="quarter" idx="37" hasCustomPrompt="1"/>
          </p:nvPr>
        </p:nvSpPr>
        <p:spPr>
          <a:xfrm>
            <a:off x="7779880" y="1442800"/>
            <a:ext cx="3503559" cy="241980"/>
          </a:xfrm>
          <a:prstGeom prst="rect">
            <a:avLst/>
          </a:prstGeom>
        </p:spPr>
        <p:txBody>
          <a:bodyPr>
            <a:spAutoFit/>
          </a:bodyPr>
          <a:lstStyle>
            <a:lvl1pPr marL="0" indent="0">
              <a:buNone/>
              <a:defRPr sz="1100" b="1">
                <a:solidFill>
                  <a:srgbClr val="000000"/>
                </a:solidFill>
                <a:latin typeface="+mj-lt"/>
              </a:defRPr>
            </a:lvl1pPr>
          </a:lstStyle>
          <a:p>
            <a:pPr lvl="0"/>
            <a:r>
              <a:rPr lang="en-GB" dirty="0"/>
              <a:t>Name</a:t>
            </a:r>
          </a:p>
        </p:txBody>
      </p:sp>
      <p:sp>
        <p:nvSpPr>
          <p:cNvPr id="31" name="Position_1" descr="PitchPerfect|Bio|Position_1">
            <a:extLst>
              <a:ext uri="{FF2B5EF4-FFF2-40B4-BE49-F238E27FC236}">
                <a16:creationId xmlns:a16="http://schemas.microsoft.com/office/drawing/2014/main" id="{720EDB0E-166B-4544-A5A7-712920146F47}"/>
              </a:ext>
            </a:extLst>
          </p:cNvPr>
          <p:cNvSpPr>
            <a:spLocks noGrp="1"/>
          </p:cNvSpPr>
          <p:nvPr>
            <p:ph type="body" sz="quarter" idx="38" hasCustomPrompt="1"/>
          </p:nvPr>
        </p:nvSpPr>
        <p:spPr>
          <a:xfrm>
            <a:off x="7779880" y="1679241"/>
            <a:ext cx="3503559" cy="241980"/>
          </a:xfrm>
          <a:prstGeom prst="rect">
            <a:avLst/>
          </a:prstGeom>
        </p:spPr>
        <p:txBody>
          <a:bodyPr>
            <a:spAutoFit/>
          </a:bodyPr>
          <a:lstStyle>
            <a:lvl1pPr marL="0" indent="0">
              <a:buNone/>
              <a:defRPr sz="1100" b="0">
                <a:solidFill>
                  <a:srgbClr val="191919"/>
                </a:solidFill>
                <a:latin typeface="+mj-lt"/>
              </a:defRPr>
            </a:lvl1pPr>
          </a:lstStyle>
          <a:p>
            <a:pPr lvl="0"/>
            <a:r>
              <a:rPr lang="en-GB" dirty="0"/>
              <a:t>Job Title</a:t>
            </a:r>
          </a:p>
        </p:txBody>
      </p:sp>
      <p:sp>
        <p:nvSpPr>
          <p:cNvPr id="32" name="DirectDial_1" descr="PitchPerfect|Bio|DirectDial_1">
            <a:extLst>
              <a:ext uri="{FF2B5EF4-FFF2-40B4-BE49-F238E27FC236}">
                <a16:creationId xmlns:a16="http://schemas.microsoft.com/office/drawing/2014/main" id="{0E9DC65A-872E-4D2D-A896-5B2A45778D9F}"/>
              </a:ext>
            </a:extLst>
          </p:cNvPr>
          <p:cNvSpPr>
            <a:spLocks noGrp="1"/>
          </p:cNvSpPr>
          <p:nvPr>
            <p:ph type="body" sz="quarter" idx="39" hasCustomPrompt="1"/>
          </p:nvPr>
        </p:nvSpPr>
        <p:spPr>
          <a:xfrm>
            <a:off x="7942710" y="2117866"/>
            <a:ext cx="1744044" cy="241980"/>
          </a:xfrm>
          <a:prstGeom prst="rect">
            <a:avLst/>
          </a:prstGeom>
        </p:spPr>
        <p:txBody>
          <a:bodyPr>
            <a:spAutoFit/>
          </a:bodyPr>
          <a:lstStyle>
            <a:lvl1pPr marL="0" indent="0">
              <a:buNone/>
              <a:defRPr sz="1100" b="0">
                <a:solidFill>
                  <a:schemeClr val="tx1"/>
                </a:solidFill>
                <a:latin typeface="+mj-lt"/>
              </a:defRPr>
            </a:lvl1pPr>
          </a:lstStyle>
          <a:p>
            <a:pPr lvl="0"/>
            <a:r>
              <a:rPr lang="en-GB" dirty="0"/>
              <a:t>Phone</a:t>
            </a:r>
          </a:p>
        </p:txBody>
      </p:sp>
      <p:sp>
        <p:nvSpPr>
          <p:cNvPr id="33" name="Mobile_1" descr="PitchPerfect|Bio|Mobile_1">
            <a:extLst>
              <a:ext uri="{FF2B5EF4-FFF2-40B4-BE49-F238E27FC236}">
                <a16:creationId xmlns:a16="http://schemas.microsoft.com/office/drawing/2014/main" id="{DF6B444D-32C4-4C34-9C28-B59D142CBE09}"/>
              </a:ext>
            </a:extLst>
          </p:cNvPr>
          <p:cNvSpPr>
            <a:spLocks noGrp="1"/>
          </p:cNvSpPr>
          <p:nvPr>
            <p:ph type="body" sz="quarter" idx="40" hasCustomPrompt="1"/>
          </p:nvPr>
        </p:nvSpPr>
        <p:spPr>
          <a:xfrm>
            <a:off x="9680631" y="2117866"/>
            <a:ext cx="1742746" cy="241980"/>
          </a:xfrm>
          <a:prstGeom prst="rect">
            <a:avLst/>
          </a:prstGeom>
        </p:spPr>
        <p:txBody>
          <a:bodyPr>
            <a:spAutoFit/>
          </a:bodyPr>
          <a:lstStyle>
            <a:lvl1pPr marL="0" indent="0">
              <a:buNone/>
              <a:defRPr sz="1100" b="0">
                <a:solidFill>
                  <a:schemeClr val="tx1"/>
                </a:solidFill>
                <a:latin typeface="+mj-lt"/>
              </a:defRPr>
            </a:lvl1pPr>
          </a:lstStyle>
          <a:p>
            <a:pPr lvl="0"/>
            <a:r>
              <a:rPr lang="en-GB" dirty="0"/>
              <a:t>Mobile</a:t>
            </a:r>
          </a:p>
        </p:txBody>
      </p:sp>
      <p:sp>
        <p:nvSpPr>
          <p:cNvPr id="34" name="Email_1" descr="PitchPerfect|Bio|Email_1">
            <a:extLst>
              <a:ext uri="{FF2B5EF4-FFF2-40B4-BE49-F238E27FC236}">
                <a16:creationId xmlns:a16="http://schemas.microsoft.com/office/drawing/2014/main" id="{4C6BE76F-C5CF-433F-BB33-18FBDBEB677A}"/>
              </a:ext>
            </a:extLst>
          </p:cNvPr>
          <p:cNvSpPr>
            <a:spLocks noGrp="1"/>
          </p:cNvSpPr>
          <p:nvPr>
            <p:ph type="body" sz="quarter" idx="41" hasCustomPrompt="1"/>
          </p:nvPr>
        </p:nvSpPr>
        <p:spPr>
          <a:xfrm>
            <a:off x="7948631" y="2348174"/>
            <a:ext cx="3165934" cy="241980"/>
          </a:xfrm>
          <a:prstGeom prst="rect">
            <a:avLst/>
          </a:prstGeom>
        </p:spPr>
        <p:txBody>
          <a:bodyPr>
            <a:spAutoFit/>
          </a:bodyPr>
          <a:lstStyle>
            <a:lvl1pPr marL="0" indent="0">
              <a:buNone/>
              <a:defRPr sz="1100" b="0">
                <a:solidFill>
                  <a:schemeClr val="tx1"/>
                </a:solidFill>
                <a:latin typeface="+mj-lt"/>
              </a:defRPr>
            </a:lvl1pPr>
          </a:lstStyle>
          <a:p>
            <a:pPr lvl="0"/>
            <a:r>
              <a:rPr lang="en-GB" dirty="0"/>
              <a:t>Email</a:t>
            </a:r>
          </a:p>
        </p:txBody>
      </p:sp>
      <p:sp>
        <p:nvSpPr>
          <p:cNvPr id="38" name="Practice_1" descr="PitchPerfect|Bio|Practice_1">
            <a:extLst>
              <a:ext uri="{FF2B5EF4-FFF2-40B4-BE49-F238E27FC236}">
                <a16:creationId xmlns:a16="http://schemas.microsoft.com/office/drawing/2014/main" id="{6B9770E5-0250-45DD-9E36-5641EBB3B782}"/>
              </a:ext>
            </a:extLst>
          </p:cNvPr>
          <p:cNvSpPr>
            <a:spLocks noGrp="1"/>
          </p:cNvSpPr>
          <p:nvPr>
            <p:ph type="body" sz="quarter" idx="42" hasCustomPrompt="1"/>
          </p:nvPr>
        </p:nvSpPr>
        <p:spPr>
          <a:xfrm>
            <a:off x="7779880" y="1884989"/>
            <a:ext cx="3503559" cy="241980"/>
          </a:xfrm>
          <a:prstGeom prst="rect">
            <a:avLst/>
          </a:prstGeom>
        </p:spPr>
        <p:txBody>
          <a:bodyPr>
            <a:spAutoFit/>
          </a:bodyPr>
          <a:lstStyle>
            <a:lvl1pPr marL="0" indent="0">
              <a:buNone/>
              <a:defRPr sz="1100" b="0">
                <a:solidFill>
                  <a:schemeClr val="tx1"/>
                </a:solidFill>
                <a:latin typeface="+mj-lt"/>
              </a:defRPr>
            </a:lvl1pPr>
          </a:lstStyle>
          <a:p>
            <a:pPr lvl="0"/>
            <a:r>
              <a:rPr lang="en-GB" dirty="0"/>
              <a:t>Practice</a:t>
            </a:r>
          </a:p>
        </p:txBody>
      </p:sp>
      <p:sp>
        <p:nvSpPr>
          <p:cNvPr id="41" name="KeyContactsHeading" descr="PitchPerfect|Bio|KeyContactsHeading">
            <a:extLst>
              <a:ext uri="{FF2B5EF4-FFF2-40B4-BE49-F238E27FC236}">
                <a16:creationId xmlns:a16="http://schemas.microsoft.com/office/drawing/2014/main" id="{6A720E16-3F93-4208-B7AF-2CC598942E57}"/>
              </a:ext>
            </a:extLst>
          </p:cNvPr>
          <p:cNvSpPr>
            <a:spLocks noGrp="1"/>
          </p:cNvSpPr>
          <p:nvPr>
            <p:ph type="body" sz="quarter" idx="43"/>
          </p:nvPr>
        </p:nvSpPr>
        <p:spPr>
          <a:xfrm>
            <a:off x="798150" y="620689"/>
            <a:ext cx="8161216" cy="268719"/>
          </a:xfrm>
        </p:spPr>
        <p:txBody>
          <a:bodyPr/>
          <a:lstStyle>
            <a:lvl1pPr>
              <a:defRPr b="1" cap="all" baseline="0"/>
            </a:lvl1pPr>
          </a:lstStyle>
          <a:p>
            <a:pPr lvl="0"/>
            <a:r>
              <a:rPr lang="en-US"/>
              <a:t>Edit Master text styles</a:t>
            </a:r>
          </a:p>
        </p:txBody>
      </p:sp>
      <p:sp>
        <p:nvSpPr>
          <p:cNvPr id="26" name="PP_E" descr="PitchPerfect|Bio|PP_E">
            <a:extLst>
              <a:ext uri="{FF2B5EF4-FFF2-40B4-BE49-F238E27FC236}">
                <a16:creationId xmlns:a16="http://schemas.microsoft.com/office/drawing/2014/main" id="{07F84486-367A-4061-93D0-4E589182EE98}"/>
              </a:ext>
            </a:extLst>
          </p:cNvPr>
          <p:cNvSpPr>
            <a:spLocks noGrp="1"/>
          </p:cNvSpPr>
          <p:nvPr>
            <p:ph type="body" sz="quarter" idx="33" hasCustomPrompt="1"/>
          </p:nvPr>
        </p:nvSpPr>
        <p:spPr>
          <a:xfrm>
            <a:off x="2270715" y="2348175"/>
            <a:ext cx="177231" cy="169277"/>
          </a:xfrm>
        </p:spPr>
        <p:txBody>
          <a:bodyPr wrap="square" bIns="0">
            <a:spAutoFit/>
          </a:bodyPr>
          <a:lstStyle>
            <a:lvl1pPr>
              <a:defRPr sz="1100" b="1"/>
            </a:lvl1pPr>
          </a:lstStyle>
          <a:p>
            <a:pPr lvl="0"/>
            <a:r>
              <a:rPr lang="en-US" dirty="0"/>
              <a:t>E</a:t>
            </a:r>
            <a:endParaRPr lang="en-GB" dirty="0"/>
          </a:p>
        </p:txBody>
      </p:sp>
      <p:sp>
        <p:nvSpPr>
          <p:cNvPr id="27" name="PP_M" descr="PitchPerfect|Bio|PP_M">
            <a:extLst>
              <a:ext uri="{FF2B5EF4-FFF2-40B4-BE49-F238E27FC236}">
                <a16:creationId xmlns:a16="http://schemas.microsoft.com/office/drawing/2014/main" id="{AADBA6E6-36FA-40DE-9556-1DC698CB8FBE}"/>
              </a:ext>
            </a:extLst>
          </p:cNvPr>
          <p:cNvSpPr>
            <a:spLocks noGrp="1"/>
          </p:cNvSpPr>
          <p:nvPr>
            <p:ph type="body" sz="quarter" idx="34" hasCustomPrompt="1"/>
          </p:nvPr>
        </p:nvSpPr>
        <p:spPr>
          <a:xfrm>
            <a:off x="3947220" y="2117867"/>
            <a:ext cx="177231" cy="169277"/>
          </a:xfrm>
        </p:spPr>
        <p:txBody>
          <a:bodyPr wrap="square" bIns="0">
            <a:spAutoFit/>
          </a:bodyPr>
          <a:lstStyle>
            <a:lvl1pPr>
              <a:defRPr sz="1100" b="1"/>
            </a:lvl1pPr>
          </a:lstStyle>
          <a:p>
            <a:pPr lvl="0"/>
            <a:r>
              <a:rPr lang="en-US" dirty="0"/>
              <a:t>M</a:t>
            </a:r>
            <a:endParaRPr lang="en-GB" dirty="0"/>
          </a:p>
        </p:txBody>
      </p:sp>
      <p:sp>
        <p:nvSpPr>
          <p:cNvPr id="28" name="PP_T" descr="PitchPerfect|Bio|PP_T">
            <a:extLst>
              <a:ext uri="{FF2B5EF4-FFF2-40B4-BE49-F238E27FC236}">
                <a16:creationId xmlns:a16="http://schemas.microsoft.com/office/drawing/2014/main" id="{3D55E587-B31C-49C0-BA0B-258CF5127368}"/>
              </a:ext>
            </a:extLst>
          </p:cNvPr>
          <p:cNvSpPr>
            <a:spLocks noGrp="1"/>
          </p:cNvSpPr>
          <p:nvPr>
            <p:ph type="body" sz="quarter" idx="44" hasCustomPrompt="1"/>
          </p:nvPr>
        </p:nvSpPr>
        <p:spPr>
          <a:xfrm>
            <a:off x="2270715" y="2117867"/>
            <a:ext cx="177231" cy="169277"/>
          </a:xfrm>
        </p:spPr>
        <p:txBody>
          <a:bodyPr wrap="square" bIns="0">
            <a:spAutoFit/>
          </a:bodyPr>
          <a:lstStyle>
            <a:lvl1pPr>
              <a:defRPr sz="1100" b="1"/>
            </a:lvl1pPr>
          </a:lstStyle>
          <a:p>
            <a:pPr lvl="0"/>
            <a:r>
              <a:rPr lang="en-US" dirty="0"/>
              <a:t>T</a:t>
            </a:r>
            <a:endParaRPr lang="en-GB" dirty="0"/>
          </a:p>
        </p:txBody>
      </p:sp>
      <p:sp>
        <p:nvSpPr>
          <p:cNvPr id="39" name="PP_E_1" descr="PitchPerfect|Bio|PP_E_1">
            <a:extLst>
              <a:ext uri="{FF2B5EF4-FFF2-40B4-BE49-F238E27FC236}">
                <a16:creationId xmlns:a16="http://schemas.microsoft.com/office/drawing/2014/main" id="{16D1B31A-29A2-4059-8C8C-4CB1F91CF2D9}"/>
              </a:ext>
            </a:extLst>
          </p:cNvPr>
          <p:cNvSpPr>
            <a:spLocks noGrp="1"/>
          </p:cNvSpPr>
          <p:nvPr>
            <p:ph type="body" sz="quarter" idx="45" hasCustomPrompt="1"/>
          </p:nvPr>
        </p:nvSpPr>
        <p:spPr>
          <a:xfrm>
            <a:off x="7787274" y="2348175"/>
            <a:ext cx="177231" cy="169277"/>
          </a:xfrm>
        </p:spPr>
        <p:txBody>
          <a:bodyPr wrap="square" bIns="0">
            <a:spAutoFit/>
          </a:bodyPr>
          <a:lstStyle>
            <a:lvl1pPr>
              <a:defRPr sz="1100" b="1"/>
            </a:lvl1pPr>
          </a:lstStyle>
          <a:p>
            <a:pPr lvl="0"/>
            <a:r>
              <a:rPr lang="en-US" dirty="0"/>
              <a:t>E</a:t>
            </a:r>
            <a:endParaRPr lang="en-GB" dirty="0"/>
          </a:p>
        </p:txBody>
      </p:sp>
      <p:sp>
        <p:nvSpPr>
          <p:cNvPr id="40" name="PP_M_1" descr="PitchPerfect|Bio|PP_M_1">
            <a:extLst>
              <a:ext uri="{FF2B5EF4-FFF2-40B4-BE49-F238E27FC236}">
                <a16:creationId xmlns:a16="http://schemas.microsoft.com/office/drawing/2014/main" id="{5B4C2E68-80BA-44EC-B0F1-93959D26CC6A}"/>
              </a:ext>
            </a:extLst>
          </p:cNvPr>
          <p:cNvSpPr>
            <a:spLocks noGrp="1"/>
          </p:cNvSpPr>
          <p:nvPr>
            <p:ph type="body" sz="quarter" idx="46" hasCustomPrompt="1"/>
          </p:nvPr>
        </p:nvSpPr>
        <p:spPr>
          <a:xfrm>
            <a:off x="9463778" y="2117867"/>
            <a:ext cx="177231" cy="169277"/>
          </a:xfrm>
        </p:spPr>
        <p:txBody>
          <a:bodyPr wrap="square" bIns="0">
            <a:spAutoFit/>
          </a:bodyPr>
          <a:lstStyle>
            <a:lvl1pPr>
              <a:defRPr sz="1100" b="1"/>
            </a:lvl1pPr>
          </a:lstStyle>
          <a:p>
            <a:pPr lvl="0"/>
            <a:r>
              <a:rPr lang="en-US" dirty="0"/>
              <a:t>M</a:t>
            </a:r>
            <a:endParaRPr lang="en-GB" dirty="0"/>
          </a:p>
        </p:txBody>
      </p:sp>
      <p:sp>
        <p:nvSpPr>
          <p:cNvPr id="42" name="PP_T_1" descr="PitchPerfect|Bio|PP_T_1">
            <a:extLst>
              <a:ext uri="{FF2B5EF4-FFF2-40B4-BE49-F238E27FC236}">
                <a16:creationId xmlns:a16="http://schemas.microsoft.com/office/drawing/2014/main" id="{20B1B2CF-5419-40CD-BE54-AD1E7D9E9E97}"/>
              </a:ext>
            </a:extLst>
          </p:cNvPr>
          <p:cNvSpPr>
            <a:spLocks noGrp="1"/>
          </p:cNvSpPr>
          <p:nvPr>
            <p:ph type="body" sz="quarter" idx="47" hasCustomPrompt="1"/>
          </p:nvPr>
        </p:nvSpPr>
        <p:spPr>
          <a:xfrm>
            <a:off x="7787274" y="2117867"/>
            <a:ext cx="177231" cy="169277"/>
          </a:xfrm>
        </p:spPr>
        <p:txBody>
          <a:bodyPr wrap="square" bIns="0">
            <a:spAutoFit/>
          </a:bodyPr>
          <a:lstStyle>
            <a:lvl1pPr>
              <a:defRPr sz="1100" b="1"/>
            </a:lvl1pPr>
          </a:lstStyle>
          <a:p>
            <a:pPr lvl="0"/>
            <a:r>
              <a:rPr lang="en-US" dirty="0"/>
              <a:t>T</a:t>
            </a:r>
            <a:endParaRPr lang="en-GB" dirty="0"/>
          </a:p>
        </p:txBody>
      </p:sp>
    </p:spTree>
    <p:extLst>
      <p:ext uri="{BB962C8B-B14F-4D97-AF65-F5344CB8AC3E}">
        <p14:creationId xmlns:p14="http://schemas.microsoft.com/office/powerpoint/2010/main" val="1181270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Contacts - 3 Contacts (1/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BD05C0F-908B-4D23-849B-BBAD77F945E5}"/>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15" name="Headshot" descr="PitchPerfect|Biox3|Headshot">
            <a:extLst>
              <a:ext uri="{FF2B5EF4-FFF2-40B4-BE49-F238E27FC236}">
                <a16:creationId xmlns:a16="http://schemas.microsoft.com/office/drawing/2014/main" id="{85A7D57D-C36C-4786-8743-1FB59F5694FA}"/>
              </a:ext>
            </a:extLst>
          </p:cNvPr>
          <p:cNvSpPr>
            <a:spLocks noGrp="1" noChangeAspect="1"/>
          </p:cNvSpPr>
          <p:nvPr>
            <p:ph type="pic" sz="quarter" idx="21"/>
          </p:nvPr>
        </p:nvSpPr>
        <p:spPr>
          <a:xfrm>
            <a:off x="1664739" y="2060848"/>
            <a:ext cx="1240615" cy="1008000"/>
          </a:xfrm>
          <a:prstGeom prst="ellipse">
            <a:avLst/>
          </a:prstGeom>
        </p:spPr>
        <p:txBody>
          <a:bodyPr/>
          <a:lstStyle/>
          <a:p>
            <a:r>
              <a:rPr lang="en-US"/>
              <a:t>Click icon to add picture</a:t>
            </a:r>
            <a:endParaRPr lang="en-GB"/>
          </a:p>
        </p:txBody>
      </p:sp>
      <p:sp>
        <p:nvSpPr>
          <p:cNvPr id="16" name="Name" descr="PitchPerfect|Biox3|Name">
            <a:extLst>
              <a:ext uri="{FF2B5EF4-FFF2-40B4-BE49-F238E27FC236}">
                <a16:creationId xmlns:a16="http://schemas.microsoft.com/office/drawing/2014/main" id="{D30D365E-049F-4D98-8358-F0DF736E8DD9}"/>
              </a:ext>
            </a:extLst>
          </p:cNvPr>
          <p:cNvSpPr>
            <a:spLocks noGrp="1"/>
          </p:cNvSpPr>
          <p:nvPr>
            <p:ph type="body" sz="quarter" idx="22" hasCustomPrompt="1"/>
          </p:nvPr>
        </p:nvSpPr>
        <p:spPr>
          <a:xfrm>
            <a:off x="3171368" y="2132857"/>
            <a:ext cx="3503559" cy="226591"/>
          </a:xfrm>
          <a:prstGeom prst="rect">
            <a:avLst/>
          </a:prstGeom>
        </p:spPr>
        <p:txBody>
          <a:bodyPr>
            <a:spAutoFit/>
          </a:bodyPr>
          <a:lstStyle>
            <a:lvl1pPr marL="0" indent="0">
              <a:buNone/>
              <a:defRPr sz="1000" b="1">
                <a:solidFill>
                  <a:srgbClr val="000000"/>
                </a:solidFill>
                <a:latin typeface="+mj-lt"/>
              </a:defRPr>
            </a:lvl1pPr>
          </a:lstStyle>
          <a:p>
            <a:pPr lvl="0"/>
            <a:r>
              <a:rPr lang="en-GB" dirty="0"/>
              <a:t>Name</a:t>
            </a:r>
          </a:p>
        </p:txBody>
      </p:sp>
      <p:sp>
        <p:nvSpPr>
          <p:cNvPr id="17" name="Position" descr="PitchPerfect|Biox3|Position">
            <a:extLst>
              <a:ext uri="{FF2B5EF4-FFF2-40B4-BE49-F238E27FC236}">
                <a16:creationId xmlns:a16="http://schemas.microsoft.com/office/drawing/2014/main" id="{54850C94-123B-464A-8A79-79D440BA3250}"/>
              </a:ext>
            </a:extLst>
          </p:cNvPr>
          <p:cNvSpPr>
            <a:spLocks noGrp="1"/>
          </p:cNvSpPr>
          <p:nvPr>
            <p:ph type="body" sz="quarter" idx="23" hasCustomPrompt="1"/>
          </p:nvPr>
        </p:nvSpPr>
        <p:spPr>
          <a:xfrm>
            <a:off x="3171368" y="2320187"/>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Job Title</a:t>
            </a:r>
          </a:p>
        </p:txBody>
      </p:sp>
      <p:sp>
        <p:nvSpPr>
          <p:cNvPr id="18" name="DirectDial" descr="PitchPerfect|Biox3|DirectDial">
            <a:extLst>
              <a:ext uri="{FF2B5EF4-FFF2-40B4-BE49-F238E27FC236}">
                <a16:creationId xmlns:a16="http://schemas.microsoft.com/office/drawing/2014/main" id="{D8DB7642-1C11-41B2-B66D-C13BD3785792}"/>
              </a:ext>
            </a:extLst>
          </p:cNvPr>
          <p:cNvSpPr>
            <a:spLocks noGrp="1"/>
          </p:cNvSpPr>
          <p:nvPr>
            <p:ph type="body" sz="quarter" idx="24" hasCustomPrompt="1"/>
          </p:nvPr>
        </p:nvSpPr>
        <p:spPr>
          <a:xfrm>
            <a:off x="3334198" y="2717246"/>
            <a:ext cx="1744044"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Phone</a:t>
            </a:r>
          </a:p>
        </p:txBody>
      </p:sp>
      <p:sp>
        <p:nvSpPr>
          <p:cNvPr id="19" name="Mobile" descr="PitchPerfect|Biox3|Mobile">
            <a:extLst>
              <a:ext uri="{FF2B5EF4-FFF2-40B4-BE49-F238E27FC236}">
                <a16:creationId xmlns:a16="http://schemas.microsoft.com/office/drawing/2014/main" id="{72AB2DD0-65DC-442E-919D-EF355FB8AC9E}"/>
              </a:ext>
            </a:extLst>
          </p:cNvPr>
          <p:cNvSpPr>
            <a:spLocks noGrp="1"/>
          </p:cNvSpPr>
          <p:nvPr>
            <p:ph type="body" sz="quarter" idx="25" hasCustomPrompt="1"/>
          </p:nvPr>
        </p:nvSpPr>
        <p:spPr>
          <a:xfrm>
            <a:off x="5072119" y="2717246"/>
            <a:ext cx="1742746"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Mobile</a:t>
            </a:r>
          </a:p>
        </p:txBody>
      </p:sp>
      <p:sp>
        <p:nvSpPr>
          <p:cNvPr id="20" name="Email" descr="PitchPerfect|Biox3|Email">
            <a:extLst>
              <a:ext uri="{FF2B5EF4-FFF2-40B4-BE49-F238E27FC236}">
                <a16:creationId xmlns:a16="http://schemas.microsoft.com/office/drawing/2014/main" id="{8CD7B572-7273-4993-9D06-2A124FB391E7}"/>
              </a:ext>
            </a:extLst>
          </p:cNvPr>
          <p:cNvSpPr>
            <a:spLocks noGrp="1"/>
          </p:cNvSpPr>
          <p:nvPr>
            <p:ph type="body" sz="quarter" idx="26" hasCustomPrompt="1"/>
          </p:nvPr>
        </p:nvSpPr>
        <p:spPr>
          <a:xfrm>
            <a:off x="3340119" y="2881170"/>
            <a:ext cx="3165934"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Email</a:t>
            </a:r>
          </a:p>
        </p:txBody>
      </p:sp>
      <p:sp>
        <p:nvSpPr>
          <p:cNvPr id="24" name="Practice" descr="PitchPerfect|Biox3|Practice">
            <a:extLst>
              <a:ext uri="{FF2B5EF4-FFF2-40B4-BE49-F238E27FC236}">
                <a16:creationId xmlns:a16="http://schemas.microsoft.com/office/drawing/2014/main" id="{0B2FD93F-0687-4001-969B-4D66873515B0}"/>
              </a:ext>
            </a:extLst>
          </p:cNvPr>
          <p:cNvSpPr>
            <a:spLocks noGrp="1"/>
          </p:cNvSpPr>
          <p:nvPr>
            <p:ph type="body" sz="quarter" idx="35" hasCustomPrompt="1"/>
          </p:nvPr>
        </p:nvSpPr>
        <p:spPr>
          <a:xfrm>
            <a:off x="3171368" y="2505978"/>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Practice</a:t>
            </a:r>
          </a:p>
        </p:txBody>
      </p:sp>
      <p:sp>
        <p:nvSpPr>
          <p:cNvPr id="45" name="Headshot_1" descr="PitchPerfect|Biox3|Headshot_1">
            <a:extLst>
              <a:ext uri="{FF2B5EF4-FFF2-40B4-BE49-F238E27FC236}">
                <a16:creationId xmlns:a16="http://schemas.microsoft.com/office/drawing/2014/main" id="{A8C5C300-CC31-4A85-86CA-987B3DF96A50}"/>
              </a:ext>
            </a:extLst>
          </p:cNvPr>
          <p:cNvSpPr>
            <a:spLocks noGrp="1" noChangeAspect="1"/>
          </p:cNvSpPr>
          <p:nvPr>
            <p:ph type="pic" sz="quarter" idx="36"/>
          </p:nvPr>
        </p:nvSpPr>
        <p:spPr>
          <a:xfrm>
            <a:off x="1664739" y="3224518"/>
            <a:ext cx="1240615" cy="1008000"/>
          </a:xfrm>
          <a:prstGeom prst="ellipse">
            <a:avLst/>
          </a:prstGeom>
        </p:spPr>
        <p:txBody>
          <a:bodyPr/>
          <a:lstStyle/>
          <a:p>
            <a:r>
              <a:rPr lang="en-US"/>
              <a:t>Click icon to add picture</a:t>
            </a:r>
            <a:endParaRPr lang="en-GB"/>
          </a:p>
        </p:txBody>
      </p:sp>
      <p:sp>
        <p:nvSpPr>
          <p:cNvPr id="46" name="Name_1" descr="PitchPerfect|Biox3|Name_1">
            <a:extLst>
              <a:ext uri="{FF2B5EF4-FFF2-40B4-BE49-F238E27FC236}">
                <a16:creationId xmlns:a16="http://schemas.microsoft.com/office/drawing/2014/main" id="{D48526E2-133B-46A4-93CC-4A52DBDAC73F}"/>
              </a:ext>
            </a:extLst>
          </p:cNvPr>
          <p:cNvSpPr>
            <a:spLocks noGrp="1"/>
          </p:cNvSpPr>
          <p:nvPr>
            <p:ph type="body" sz="quarter" idx="37" hasCustomPrompt="1"/>
          </p:nvPr>
        </p:nvSpPr>
        <p:spPr>
          <a:xfrm>
            <a:off x="3171368" y="3296527"/>
            <a:ext cx="3503559" cy="226591"/>
          </a:xfrm>
          <a:prstGeom prst="rect">
            <a:avLst/>
          </a:prstGeom>
        </p:spPr>
        <p:txBody>
          <a:bodyPr>
            <a:spAutoFit/>
          </a:bodyPr>
          <a:lstStyle>
            <a:lvl1pPr marL="0" indent="0">
              <a:buNone/>
              <a:defRPr sz="1000" b="1">
                <a:solidFill>
                  <a:srgbClr val="000000"/>
                </a:solidFill>
                <a:latin typeface="+mj-lt"/>
              </a:defRPr>
            </a:lvl1pPr>
          </a:lstStyle>
          <a:p>
            <a:pPr lvl="0"/>
            <a:r>
              <a:rPr lang="en-GB" dirty="0"/>
              <a:t>Name</a:t>
            </a:r>
          </a:p>
        </p:txBody>
      </p:sp>
      <p:sp>
        <p:nvSpPr>
          <p:cNvPr id="47" name="Position_1" descr="PitchPerfect|Biox3|Position_1">
            <a:extLst>
              <a:ext uri="{FF2B5EF4-FFF2-40B4-BE49-F238E27FC236}">
                <a16:creationId xmlns:a16="http://schemas.microsoft.com/office/drawing/2014/main" id="{D38AA1BE-E474-4798-BBA4-667206BB7C64}"/>
              </a:ext>
            </a:extLst>
          </p:cNvPr>
          <p:cNvSpPr>
            <a:spLocks noGrp="1"/>
          </p:cNvSpPr>
          <p:nvPr>
            <p:ph type="body" sz="quarter" idx="38" hasCustomPrompt="1"/>
          </p:nvPr>
        </p:nvSpPr>
        <p:spPr>
          <a:xfrm>
            <a:off x="3171368" y="3483857"/>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Job Title</a:t>
            </a:r>
          </a:p>
        </p:txBody>
      </p:sp>
      <p:sp>
        <p:nvSpPr>
          <p:cNvPr id="48" name="DirectDial_1" descr="PitchPerfect|Biox3|DirectDial_1">
            <a:extLst>
              <a:ext uri="{FF2B5EF4-FFF2-40B4-BE49-F238E27FC236}">
                <a16:creationId xmlns:a16="http://schemas.microsoft.com/office/drawing/2014/main" id="{CB3DCCB3-928B-4572-80EF-F992A90E9595}"/>
              </a:ext>
            </a:extLst>
          </p:cNvPr>
          <p:cNvSpPr>
            <a:spLocks noGrp="1"/>
          </p:cNvSpPr>
          <p:nvPr>
            <p:ph type="body" sz="quarter" idx="39" hasCustomPrompt="1"/>
          </p:nvPr>
        </p:nvSpPr>
        <p:spPr>
          <a:xfrm>
            <a:off x="3334198" y="3882422"/>
            <a:ext cx="1744044"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Phone</a:t>
            </a:r>
          </a:p>
        </p:txBody>
      </p:sp>
      <p:sp>
        <p:nvSpPr>
          <p:cNvPr id="49" name="Mobile_1" descr="PitchPerfect|Biox3|Mobile_1">
            <a:extLst>
              <a:ext uri="{FF2B5EF4-FFF2-40B4-BE49-F238E27FC236}">
                <a16:creationId xmlns:a16="http://schemas.microsoft.com/office/drawing/2014/main" id="{54241195-0ECC-4E71-B16A-CC7ABA3959B6}"/>
              </a:ext>
            </a:extLst>
          </p:cNvPr>
          <p:cNvSpPr>
            <a:spLocks noGrp="1"/>
          </p:cNvSpPr>
          <p:nvPr>
            <p:ph type="body" sz="quarter" idx="40" hasCustomPrompt="1"/>
          </p:nvPr>
        </p:nvSpPr>
        <p:spPr>
          <a:xfrm>
            <a:off x="5072119" y="3882422"/>
            <a:ext cx="1742746"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Mobile</a:t>
            </a:r>
          </a:p>
        </p:txBody>
      </p:sp>
      <p:sp>
        <p:nvSpPr>
          <p:cNvPr id="50" name="Email_1" descr="PitchPerfect|Biox3|Email_1">
            <a:extLst>
              <a:ext uri="{FF2B5EF4-FFF2-40B4-BE49-F238E27FC236}">
                <a16:creationId xmlns:a16="http://schemas.microsoft.com/office/drawing/2014/main" id="{1343BCCF-9451-4441-976A-770C11FC6227}"/>
              </a:ext>
            </a:extLst>
          </p:cNvPr>
          <p:cNvSpPr>
            <a:spLocks noGrp="1"/>
          </p:cNvSpPr>
          <p:nvPr>
            <p:ph type="body" sz="quarter" idx="41" hasCustomPrompt="1"/>
          </p:nvPr>
        </p:nvSpPr>
        <p:spPr>
          <a:xfrm>
            <a:off x="3340119" y="4046346"/>
            <a:ext cx="3165934"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Email</a:t>
            </a:r>
          </a:p>
        </p:txBody>
      </p:sp>
      <p:sp>
        <p:nvSpPr>
          <p:cNvPr id="54" name="Practice_1" descr="PitchPerfect|Biox3|Practice_1">
            <a:extLst>
              <a:ext uri="{FF2B5EF4-FFF2-40B4-BE49-F238E27FC236}">
                <a16:creationId xmlns:a16="http://schemas.microsoft.com/office/drawing/2014/main" id="{0DE2AEDD-2DCB-4B4D-B42E-9509FFCF1161}"/>
              </a:ext>
            </a:extLst>
          </p:cNvPr>
          <p:cNvSpPr>
            <a:spLocks noGrp="1"/>
          </p:cNvSpPr>
          <p:nvPr>
            <p:ph type="body" sz="quarter" idx="42" hasCustomPrompt="1"/>
          </p:nvPr>
        </p:nvSpPr>
        <p:spPr>
          <a:xfrm>
            <a:off x="3171368" y="3669648"/>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Practice</a:t>
            </a:r>
          </a:p>
        </p:txBody>
      </p:sp>
      <p:sp>
        <p:nvSpPr>
          <p:cNvPr id="55" name="Headshot_2" descr="PitchPerfect|Biox3|Headshot_2">
            <a:extLst>
              <a:ext uri="{FF2B5EF4-FFF2-40B4-BE49-F238E27FC236}">
                <a16:creationId xmlns:a16="http://schemas.microsoft.com/office/drawing/2014/main" id="{EF54F065-1057-45B6-ACA9-4E40F5B89CAB}"/>
              </a:ext>
            </a:extLst>
          </p:cNvPr>
          <p:cNvSpPr>
            <a:spLocks noGrp="1" noChangeAspect="1"/>
          </p:cNvSpPr>
          <p:nvPr>
            <p:ph type="pic" sz="quarter" idx="43"/>
          </p:nvPr>
        </p:nvSpPr>
        <p:spPr>
          <a:xfrm>
            <a:off x="1664739" y="4393797"/>
            <a:ext cx="1240615" cy="1008000"/>
          </a:xfrm>
          <a:prstGeom prst="ellipse">
            <a:avLst/>
          </a:prstGeom>
        </p:spPr>
        <p:txBody>
          <a:bodyPr/>
          <a:lstStyle/>
          <a:p>
            <a:r>
              <a:rPr lang="en-US"/>
              <a:t>Click icon to add picture</a:t>
            </a:r>
            <a:endParaRPr lang="en-GB"/>
          </a:p>
        </p:txBody>
      </p:sp>
      <p:sp>
        <p:nvSpPr>
          <p:cNvPr id="56" name="Name_2" descr="PitchPerfect|Biox3|Name_2">
            <a:extLst>
              <a:ext uri="{FF2B5EF4-FFF2-40B4-BE49-F238E27FC236}">
                <a16:creationId xmlns:a16="http://schemas.microsoft.com/office/drawing/2014/main" id="{44E58D8C-7B36-484D-AE21-2B61552468DB}"/>
              </a:ext>
            </a:extLst>
          </p:cNvPr>
          <p:cNvSpPr>
            <a:spLocks noGrp="1"/>
          </p:cNvSpPr>
          <p:nvPr>
            <p:ph type="body" sz="quarter" idx="44" hasCustomPrompt="1"/>
          </p:nvPr>
        </p:nvSpPr>
        <p:spPr>
          <a:xfrm>
            <a:off x="3171368" y="4465806"/>
            <a:ext cx="3503559" cy="226591"/>
          </a:xfrm>
          <a:prstGeom prst="rect">
            <a:avLst/>
          </a:prstGeom>
        </p:spPr>
        <p:txBody>
          <a:bodyPr>
            <a:spAutoFit/>
          </a:bodyPr>
          <a:lstStyle>
            <a:lvl1pPr marL="0" indent="0">
              <a:buNone/>
              <a:defRPr sz="1000" b="1">
                <a:solidFill>
                  <a:srgbClr val="000000"/>
                </a:solidFill>
                <a:latin typeface="+mj-lt"/>
              </a:defRPr>
            </a:lvl1pPr>
          </a:lstStyle>
          <a:p>
            <a:pPr lvl="0"/>
            <a:r>
              <a:rPr lang="en-GB" dirty="0"/>
              <a:t>Name</a:t>
            </a:r>
          </a:p>
        </p:txBody>
      </p:sp>
      <p:sp>
        <p:nvSpPr>
          <p:cNvPr id="57" name="Position_2" descr="PitchPerfect|Biox3|Position_2">
            <a:extLst>
              <a:ext uri="{FF2B5EF4-FFF2-40B4-BE49-F238E27FC236}">
                <a16:creationId xmlns:a16="http://schemas.microsoft.com/office/drawing/2014/main" id="{3FAF663E-8B5E-4DE2-AA02-73D47B5355CA}"/>
              </a:ext>
            </a:extLst>
          </p:cNvPr>
          <p:cNvSpPr>
            <a:spLocks noGrp="1"/>
          </p:cNvSpPr>
          <p:nvPr>
            <p:ph type="body" sz="quarter" idx="45" hasCustomPrompt="1"/>
          </p:nvPr>
        </p:nvSpPr>
        <p:spPr>
          <a:xfrm>
            <a:off x="3171368" y="4653136"/>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Job Title</a:t>
            </a:r>
          </a:p>
        </p:txBody>
      </p:sp>
      <p:sp>
        <p:nvSpPr>
          <p:cNvPr id="58" name="DirectDial_2" descr="PitchPerfect|Biox3|DirectDial_2">
            <a:extLst>
              <a:ext uri="{FF2B5EF4-FFF2-40B4-BE49-F238E27FC236}">
                <a16:creationId xmlns:a16="http://schemas.microsoft.com/office/drawing/2014/main" id="{FA0188A3-EDD9-458A-8940-D7A327C2E6B7}"/>
              </a:ext>
            </a:extLst>
          </p:cNvPr>
          <p:cNvSpPr>
            <a:spLocks noGrp="1"/>
          </p:cNvSpPr>
          <p:nvPr>
            <p:ph type="body" sz="quarter" idx="46" hasCustomPrompt="1"/>
          </p:nvPr>
        </p:nvSpPr>
        <p:spPr>
          <a:xfrm>
            <a:off x="3334198" y="5050154"/>
            <a:ext cx="1744044"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Phone</a:t>
            </a:r>
          </a:p>
        </p:txBody>
      </p:sp>
      <p:sp>
        <p:nvSpPr>
          <p:cNvPr id="59" name="Mobile_2" descr="PitchPerfect|Biox3|Mobile_2">
            <a:extLst>
              <a:ext uri="{FF2B5EF4-FFF2-40B4-BE49-F238E27FC236}">
                <a16:creationId xmlns:a16="http://schemas.microsoft.com/office/drawing/2014/main" id="{9B910AC1-6B00-4760-B096-2F953E24F3FA}"/>
              </a:ext>
            </a:extLst>
          </p:cNvPr>
          <p:cNvSpPr>
            <a:spLocks noGrp="1"/>
          </p:cNvSpPr>
          <p:nvPr>
            <p:ph type="body" sz="quarter" idx="47" hasCustomPrompt="1"/>
          </p:nvPr>
        </p:nvSpPr>
        <p:spPr>
          <a:xfrm>
            <a:off x="5072119" y="5050154"/>
            <a:ext cx="1742746"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Mobile</a:t>
            </a:r>
          </a:p>
        </p:txBody>
      </p:sp>
      <p:sp>
        <p:nvSpPr>
          <p:cNvPr id="60" name="Email_2" descr="PitchPerfect|Biox3|Email_2">
            <a:extLst>
              <a:ext uri="{FF2B5EF4-FFF2-40B4-BE49-F238E27FC236}">
                <a16:creationId xmlns:a16="http://schemas.microsoft.com/office/drawing/2014/main" id="{1EDAFB49-28A0-470B-A02D-E556FC6BB9D8}"/>
              </a:ext>
            </a:extLst>
          </p:cNvPr>
          <p:cNvSpPr>
            <a:spLocks noGrp="1"/>
          </p:cNvSpPr>
          <p:nvPr>
            <p:ph type="body" sz="quarter" idx="48" hasCustomPrompt="1"/>
          </p:nvPr>
        </p:nvSpPr>
        <p:spPr>
          <a:xfrm>
            <a:off x="3340119" y="5214078"/>
            <a:ext cx="3165934" cy="153888"/>
          </a:xfrm>
          <a:prstGeom prst="rect">
            <a:avLst/>
          </a:prstGeom>
        </p:spPr>
        <p:txBody>
          <a:bodyPr bIns="0">
            <a:spAutoFit/>
          </a:bodyPr>
          <a:lstStyle>
            <a:lvl1pPr marL="0" indent="0">
              <a:buNone/>
              <a:defRPr sz="1000" b="0">
                <a:solidFill>
                  <a:schemeClr val="tx1"/>
                </a:solidFill>
                <a:latin typeface="+mj-lt"/>
              </a:defRPr>
            </a:lvl1pPr>
          </a:lstStyle>
          <a:p>
            <a:pPr lvl="0"/>
            <a:r>
              <a:rPr lang="en-GB" dirty="0"/>
              <a:t>Email</a:t>
            </a:r>
          </a:p>
        </p:txBody>
      </p:sp>
      <p:sp>
        <p:nvSpPr>
          <p:cNvPr id="64" name="Practice_2" descr="PitchPerfect|Biox3|Practice_2">
            <a:extLst>
              <a:ext uri="{FF2B5EF4-FFF2-40B4-BE49-F238E27FC236}">
                <a16:creationId xmlns:a16="http://schemas.microsoft.com/office/drawing/2014/main" id="{F0337954-C243-4B6D-8001-1EB4F00DF84F}"/>
              </a:ext>
            </a:extLst>
          </p:cNvPr>
          <p:cNvSpPr>
            <a:spLocks noGrp="1"/>
          </p:cNvSpPr>
          <p:nvPr>
            <p:ph type="body" sz="quarter" idx="49" hasCustomPrompt="1"/>
          </p:nvPr>
        </p:nvSpPr>
        <p:spPr>
          <a:xfrm>
            <a:off x="3171368" y="4838927"/>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Practice</a:t>
            </a:r>
          </a:p>
        </p:txBody>
      </p:sp>
      <p:cxnSp>
        <p:nvCxnSpPr>
          <p:cNvPr id="65" name="Straight Connector 64">
            <a:extLst>
              <a:ext uri="{FF2B5EF4-FFF2-40B4-BE49-F238E27FC236}">
                <a16:creationId xmlns:a16="http://schemas.microsoft.com/office/drawing/2014/main" id="{AC590E4B-B73A-4FBC-B0C5-AC12187DA518}"/>
              </a:ext>
            </a:extLst>
          </p:cNvPr>
          <p:cNvCxnSpPr>
            <a:cxnSpLocks/>
          </p:cNvCxnSpPr>
          <p:nvPr userDrawn="1"/>
        </p:nvCxnSpPr>
        <p:spPr>
          <a:xfrm>
            <a:off x="7612475" y="2060848"/>
            <a:ext cx="0" cy="328354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A20357F-F0A7-4F62-AD1B-B990EE5E8AEC}"/>
              </a:ext>
            </a:extLst>
          </p:cNvPr>
          <p:cNvCxnSpPr>
            <a:cxnSpLocks/>
          </p:cNvCxnSpPr>
          <p:nvPr userDrawn="1"/>
        </p:nvCxnSpPr>
        <p:spPr>
          <a:xfrm flipH="1">
            <a:off x="7612476" y="3645024"/>
            <a:ext cx="6051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06B06FD9-9372-4799-96EF-BA3110D816EA}"/>
              </a:ext>
            </a:extLst>
          </p:cNvPr>
          <p:cNvSpPr txBox="1"/>
          <p:nvPr userDrawn="1"/>
        </p:nvSpPr>
        <p:spPr>
          <a:xfrm>
            <a:off x="8234418" y="3501008"/>
            <a:ext cx="2767723" cy="323165"/>
          </a:xfrm>
          <a:prstGeom prst="rect">
            <a:avLst/>
          </a:prstGeom>
          <a:noFill/>
        </p:spPr>
        <p:txBody>
          <a:bodyPr wrap="square" rtlCol="0">
            <a:spAutoFit/>
          </a:bodyPr>
          <a:lstStyle/>
          <a:p>
            <a:r>
              <a:rPr lang="en-GB" sz="1500" b="1" dirty="0">
                <a:solidFill>
                  <a:srgbClr val="E60000"/>
                </a:solidFill>
                <a:latin typeface="+mj-lt"/>
              </a:rPr>
              <a:t>KEY CONTACTS</a:t>
            </a:r>
          </a:p>
        </p:txBody>
      </p:sp>
      <p:sp>
        <p:nvSpPr>
          <p:cNvPr id="40" name="PP_E" descr="PitchPerfect|Biox3|PP_E">
            <a:extLst>
              <a:ext uri="{FF2B5EF4-FFF2-40B4-BE49-F238E27FC236}">
                <a16:creationId xmlns:a16="http://schemas.microsoft.com/office/drawing/2014/main" id="{DCF3B35E-68ED-4CFA-BF03-506E32F4E527}"/>
              </a:ext>
            </a:extLst>
          </p:cNvPr>
          <p:cNvSpPr>
            <a:spLocks noGrp="1"/>
          </p:cNvSpPr>
          <p:nvPr>
            <p:ph type="body" sz="quarter" idx="54" hasCustomPrompt="1"/>
          </p:nvPr>
        </p:nvSpPr>
        <p:spPr>
          <a:xfrm>
            <a:off x="3178762" y="2857707"/>
            <a:ext cx="177231" cy="184666"/>
          </a:xfrm>
        </p:spPr>
        <p:txBody>
          <a:bodyPr wrap="square" bIns="0">
            <a:spAutoFit/>
          </a:bodyPr>
          <a:lstStyle>
            <a:lvl1pPr>
              <a:defRPr sz="1200" b="1"/>
            </a:lvl1pPr>
          </a:lstStyle>
          <a:p>
            <a:pPr lvl="0"/>
            <a:r>
              <a:rPr lang="en-US" dirty="0"/>
              <a:t>E</a:t>
            </a:r>
            <a:endParaRPr lang="en-GB" dirty="0"/>
          </a:p>
        </p:txBody>
      </p:sp>
      <p:sp>
        <p:nvSpPr>
          <p:cNvPr id="41" name="PP_M" descr="PitchPerfect|Biox3|PP_M">
            <a:extLst>
              <a:ext uri="{FF2B5EF4-FFF2-40B4-BE49-F238E27FC236}">
                <a16:creationId xmlns:a16="http://schemas.microsoft.com/office/drawing/2014/main" id="{AA766196-6FB2-40E5-8ED6-4DB4DAA0372B}"/>
              </a:ext>
            </a:extLst>
          </p:cNvPr>
          <p:cNvSpPr>
            <a:spLocks noGrp="1"/>
          </p:cNvSpPr>
          <p:nvPr>
            <p:ph type="body" sz="quarter" idx="55" hasCustomPrompt="1"/>
          </p:nvPr>
        </p:nvSpPr>
        <p:spPr>
          <a:xfrm>
            <a:off x="4855266" y="2693783"/>
            <a:ext cx="177231" cy="184666"/>
          </a:xfrm>
        </p:spPr>
        <p:txBody>
          <a:bodyPr wrap="square" bIns="0">
            <a:spAutoFit/>
          </a:bodyPr>
          <a:lstStyle>
            <a:lvl1pPr>
              <a:defRPr sz="1200" b="1"/>
            </a:lvl1pPr>
          </a:lstStyle>
          <a:p>
            <a:pPr lvl="0"/>
            <a:r>
              <a:rPr lang="en-US" dirty="0"/>
              <a:t>M</a:t>
            </a:r>
            <a:endParaRPr lang="en-GB" dirty="0"/>
          </a:p>
        </p:txBody>
      </p:sp>
      <p:sp>
        <p:nvSpPr>
          <p:cNvPr id="42" name="PP_T" descr="PitchPerfect|Biox3|PP_T">
            <a:extLst>
              <a:ext uri="{FF2B5EF4-FFF2-40B4-BE49-F238E27FC236}">
                <a16:creationId xmlns:a16="http://schemas.microsoft.com/office/drawing/2014/main" id="{A6C720CA-E28E-4A3C-90A2-0C1D7C6F2335}"/>
              </a:ext>
            </a:extLst>
          </p:cNvPr>
          <p:cNvSpPr>
            <a:spLocks noGrp="1"/>
          </p:cNvSpPr>
          <p:nvPr>
            <p:ph type="body" sz="quarter" idx="56" hasCustomPrompt="1"/>
          </p:nvPr>
        </p:nvSpPr>
        <p:spPr>
          <a:xfrm>
            <a:off x="3178762" y="2693783"/>
            <a:ext cx="177231" cy="184666"/>
          </a:xfrm>
        </p:spPr>
        <p:txBody>
          <a:bodyPr wrap="square" bIns="0">
            <a:spAutoFit/>
          </a:bodyPr>
          <a:lstStyle>
            <a:lvl1pPr>
              <a:defRPr sz="1200" b="1"/>
            </a:lvl1pPr>
          </a:lstStyle>
          <a:p>
            <a:pPr lvl="0"/>
            <a:r>
              <a:rPr lang="en-US" dirty="0"/>
              <a:t>T</a:t>
            </a:r>
            <a:endParaRPr lang="en-GB" dirty="0"/>
          </a:p>
        </p:txBody>
      </p:sp>
      <p:sp>
        <p:nvSpPr>
          <p:cNvPr id="43" name="PP_E_1" descr="PitchPerfect|Biox3|PP_E_1">
            <a:extLst>
              <a:ext uri="{FF2B5EF4-FFF2-40B4-BE49-F238E27FC236}">
                <a16:creationId xmlns:a16="http://schemas.microsoft.com/office/drawing/2014/main" id="{639FD7F4-55FA-4D02-8716-170DC3BC3576}"/>
              </a:ext>
            </a:extLst>
          </p:cNvPr>
          <p:cNvSpPr>
            <a:spLocks noGrp="1"/>
          </p:cNvSpPr>
          <p:nvPr>
            <p:ph type="body" sz="quarter" idx="57" hasCustomPrompt="1"/>
          </p:nvPr>
        </p:nvSpPr>
        <p:spPr>
          <a:xfrm>
            <a:off x="3171367" y="4022883"/>
            <a:ext cx="177231" cy="184666"/>
          </a:xfrm>
        </p:spPr>
        <p:txBody>
          <a:bodyPr wrap="square" bIns="0">
            <a:spAutoFit/>
          </a:bodyPr>
          <a:lstStyle>
            <a:lvl1pPr>
              <a:defRPr sz="1200" b="1"/>
            </a:lvl1pPr>
          </a:lstStyle>
          <a:p>
            <a:pPr lvl="0"/>
            <a:r>
              <a:rPr lang="en-US" dirty="0"/>
              <a:t>E</a:t>
            </a:r>
            <a:endParaRPr lang="en-GB" dirty="0"/>
          </a:p>
        </p:txBody>
      </p:sp>
      <p:sp>
        <p:nvSpPr>
          <p:cNvPr id="44" name="PP_M_1" descr="PitchPerfect|Biox3|PP_M_1">
            <a:extLst>
              <a:ext uri="{FF2B5EF4-FFF2-40B4-BE49-F238E27FC236}">
                <a16:creationId xmlns:a16="http://schemas.microsoft.com/office/drawing/2014/main" id="{BFDAF8F2-2C61-45F6-9F9E-D6D38FF3DA59}"/>
              </a:ext>
            </a:extLst>
          </p:cNvPr>
          <p:cNvSpPr>
            <a:spLocks noGrp="1"/>
          </p:cNvSpPr>
          <p:nvPr>
            <p:ph type="body" sz="quarter" idx="58" hasCustomPrompt="1"/>
          </p:nvPr>
        </p:nvSpPr>
        <p:spPr>
          <a:xfrm>
            <a:off x="4847872" y="3858959"/>
            <a:ext cx="177231" cy="184666"/>
          </a:xfrm>
        </p:spPr>
        <p:txBody>
          <a:bodyPr wrap="square" bIns="0">
            <a:spAutoFit/>
          </a:bodyPr>
          <a:lstStyle>
            <a:lvl1pPr>
              <a:defRPr sz="1200" b="1"/>
            </a:lvl1pPr>
          </a:lstStyle>
          <a:p>
            <a:pPr lvl="0"/>
            <a:r>
              <a:rPr lang="en-US" dirty="0"/>
              <a:t>M</a:t>
            </a:r>
            <a:endParaRPr lang="en-GB" dirty="0"/>
          </a:p>
        </p:txBody>
      </p:sp>
      <p:sp>
        <p:nvSpPr>
          <p:cNvPr id="68" name="PP_T_1" descr="PitchPerfect|Biox3|PP_T_1">
            <a:extLst>
              <a:ext uri="{FF2B5EF4-FFF2-40B4-BE49-F238E27FC236}">
                <a16:creationId xmlns:a16="http://schemas.microsoft.com/office/drawing/2014/main" id="{7928BF46-1282-4FA3-AB0A-38986CB2E665}"/>
              </a:ext>
            </a:extLst>
          </p:cNvPr>
          <p:cNvSpPr>
            <a:spLocks noGrp="1"/>
          </p:cNvSpPr>
          <p:nvPr>
            <p:ph type="body" sz="quarter" idx="59" hasCustomPrompt="1"/>
          </p:nvPr>
        </p:nvSpPr>
        <p:spPr>
          <a:xfrm>
            <a:off x="3171367" y="3858959"/>
            <a:ext cx="177231" cy="184666"/>
          </a:xfrm>
        </p:spPr>
        <p:txBody>
          <a:bodyPr wrap="square" bIns="0">
            <a:spAutoFit/>
          </a:bodyPr>
          <a:lstStyle>
            <a:lvl1pPr>
              <a:defRPr sz="1200" b="1"/>
            </a:lvl1pPr>
          </a:lstStyle>
          <a:p>
            <a:pPr lvl="0"/>
            <a:r>
              <a:rPr lang="en-US" dirty="0"/>
              <a:t>T</a:t>
            </a:r>
            <a:endParaRPr lang="en-GB" dirty="0"/>
          </a:p>
        </p:txBody>
      </p:sp>
      <p:sp>
        <p:nvSpPr>
          <p:cNvPr id="69" name="PP_E_2" descr="PitchPerfect|Biox3|PP_E_2">
            <a:extLst>
              <a:ext uri="{FF2B5EF4-FFF2-40B4-BE49-F238E27FC236}">
                <a16:creationId xmlns:a16="http://schemas.microsoft.com/office/drawing/2014/main" id="{BFDC5A85-57C8-4B2C-9903-EB4FD53C3814}"/>
              </a:ext>
            </a:extLst>
          </p:cNvPr>
          <p:cNvSpPr>
            <a:spLocks noGrp="1"/>
          </p:cNvSpPr>
          <p:nvPr>
            <p:ph type="body" sz="quarter" idx="60" hasCustomPrompt="1"/>
          </p:nvPr>
        </p:nvSpPr>
        <p:spPr>
          <a:xfrm>
            <a:off x="3171367" y="5190615"/>
            <a:ext cx="177231" cy="184666"/>
          </a:xfrm>
        </p:spPr>
        <p:txBody>
          <a:bodyPr wrap="square" bIns="0">
            <a:spAutoFit/>
          </a:bodyPr>
          <a:lstStyle>
            <a:lvl1pPr>
              <a:defRPr sz="1200" b="1"/>
            </a:lvl1pPr>
          </a:lstStyle>
          <a:p>
            <a:pPr lvl="0"/>
            <a:r>
              <a:rPr lang="en-US" dirty="0"/>
              <a:t>E</a:t>
            </a:r>
            <a:endParaRPr lang="en-GB" dirty="0"/>
          </a:p>
        </p:txBody>
      </p:sp>
      <p:sp>
        <p:nvSpPr>
          <p:cNvPr id="70" name="PP_M_2" descr="PitchPerfect|Biox3|PP_M_2">
            <a:extLst>
              <a:ext uri="{FF2B5EF4-FFF2-40B4-BE49-F238E27FC236}">
                <a16:creationId xmlns:a16="http://schemas.microsoft.com/office/drawing/2014/main" id="{671DA80B-3513-40A4-BDEA-74DE443FEB91}"/>
              </a:ext>
            </a:extLst>
          </p:cNvPr>
          <p:cNvSpPr>
            <a:spLocks noGrp="1"/>
          </p:cNvSpPr>
          <p:nvPr>
            <p:ph type="body" sz="quarter" idx="61" hasCustomPrompt="1"/>
          </p:nvPr>
        </p:nvSpPr>
        <p:spPr>
          <a:xfrm>
            <a:off x="4847872" y="5026691"/>
            <a:ext cx="177231" cy="184666"/>
          </a:xfrm>
        </p:spPr>
        <p:txBody>
          <a:bodyPr wrap="square" bIns="0">
            <a:spAutoFit/>
          </a:bodyPr>
          <a:lstStyle>
            <a:lvl1pPr>
              <a:defRPr sz="1200" b="1"/>
            </a:lvl1pPr>
          </a:lstStyle>
          <a:p>
            <a:pPr lvl="0"/>
            <a:r>
              <a:rPr lang="en-US" dirty="0"/>
              <a:t>M</a:t>
            </a:r>
            <a:endParaRPr lang="en-GB" dirty="0"/>
          </a:p>
        </p:txBody>
      </p:sp>
      <p:sp>
        <p:nvSpPr>
          <p:cNvPr id="71" name="PP_T_2" descr="PitchPerfect|Biox3|PP_T_2">
            <a:extLst>
              <a:ext uri="{FF2B5EF4-FFF2-40B4-BE49-F238E27FC236}">
                <a16:creationId xmlns:a16="http://schemas.microsoft.com/office/drawing/2014/main" id="{8B2A5E86-AF33-4C56-97CA-33965FDF662F}"/>
              </a:ext>
            </a:extLst>
          </p:cNvPr>
          <p:cNvSpPr>
            <a:spLocks noGrp="1"/>
          </p:cNvSpPr>
          <p:nvPr>
            <p:ph type="body" sz="quarter" idx="62" hasCustomPrompt="1"/>
          </p:nvPr>
        </p:nvSpPr>
        <p:spPr>
          <a:xfrm>
            <a:off x="3171367" y="5026691"/>
            <a:ext cx="177231" cy="184666"/>
          </a:xfrm>
        </p:spPr>
        <p:txBody>
          <a:bodyPr wrap="square" bIns="0">
            <a:spAutoFit/>
          </a:bodyPr>
          <a:lstStyle>
            <a:lvl1pPr>
              <a:defRPr sz="1200" b="1"/>
            </a:lvl1pPr>
          </a:lstStyle>
          <a:p>
            <a:pPr lvl="0"/>
            <a:r>
              <a:rPr lang="en-US" dirty="0"/>
              <a:t>T</a:t>
            </a:r>
            <a:endParaRPr lang="en-GB" dirty="0"/>
          </a:p>
        </p:txBody>
      </p:sp>
    </p:spTree>
    <p:extLst>
      <p:ext uri="{BB962C8B-B14F-4D97-AF65-F5344CB8AC3E}">
        <p14:creationId xmlns:p14="http://schemas.microsoft.com/office/powerpoint/2010/main" val="31404888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Contacts - 3 Contacts (2/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B2CFE02-F9D8-42E4-8799-836680991BEF}"/>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Name" descr="PitchPerfect|Biox3|Name">
            <a:extLst>
              <a:ext uri="{FF2B5EF4-FFF2-40B4-BE49-F238E27FC236}">
                <a16:creationId xmlns:a16="http://schemas.microsoft.com/office/drawing/2014/main" id="{4C92491C-E914-4F08-A28D-CF8451143A47}"/>
              </a:ext>
            </a:extLst>
          </p:cNvPr>
          <p:cNvSpPr>
            <a:spLocks noGrp="1"/>
          </p:cNvSpPr>
          <p:nvPr>
            <p:ph type="body" sz="quarter" idx="22" hasCustomPrompt="1"/>
          </p:nvPr>
        </p:nvSpPr>
        <p:spPr>
          <a:xfrm>
            <a:off x="788543" y="1412777"/>
            <a:ext cx="3278769" cy="257369"/>
          </a:xfrm>
          <a:prstGeom prst="rect">
            <a:avLst/>
          </a:prstGeom>
        </p:spPr>
        <p:txBody>
          <a:bodyPr>
            <a:spAutoFit/>
          </a:bodyPr>
          <a:lstStyle>
            <a:lvl1pPr marL="0" indent="0">
              <a:buNone/>
              <a:defRPr sz="1200" b="1">
                <a:solidFill>
                  <a:srgbClr val="000000"/>
                </a:solidFill>
                <a:latin typeface="+mj-lt"/>
              </a:defRPr>
            </a:lvl1pPr>
          </a:lstStyle>
          <a:p>
            <a:pPr lvl="0"/>
            <a:r>
              <a:rPr lang="en-GB" dirty="0"/>
              <a:t>Name</a:t>
            </a:r>
          </a:p>
        </p:txBody>
      </p:sp>
      <p:sp>
        <p:nvSpPr>
          <p:cNvPr id="8" name="JobTitlePractice" descr="PitchPerfect|Biox3|JobTitlePractice">
            <a:extLst>
              <a:ext uri="{FF2B5EF4-FFF2-40B4-BE49-F238E27FC236}">
                <a16:creationId xmlns:a16="http://schemas.microsoft.com/office/drawing/2014/main" id="{A9DB4A83-286E-4E52-90DF-7F7A98A90837}"/>
              </a:ext>
            </a:extLst>
          </p:cNvPr>
          <p:cNvSpPr>
            <a:spLocks noGrp="1"/>
          </p:cNvSpPr>
          <p:nvPr>
            <p:ph type="body" sz="quarter" idx="40" hasCustomPrompt="1"/>
          </p:nvPr>
        </p:nvSpPr>
        <p:spPr>
          <a:xfrm>
            <a:off x="788543" y="1745798"/>
            <a:ext cx="3278769" cy="257369"/>
          </a:xfrm>
          <a:prstGeom prst="rect">
            <a:avLst/>
          </a:prstGeom>
        </p:spPr>
        <p:txBody>
          <a:bodyPr>
            <a:spAutoFit/>
          </a:bodyPr>
          <a:lstStyle>
            <a:lvl1pPr marL="0" indent="0" algn="l">
              <a:spcBef>
                <a:spcPts val="0"/>
              </a:spcBef>
              <a:buNone/>
              <a:defRPr sz="1200" b="0">
                <a:solidFill>
                  <a:srgbClr val="191919"/>
                </a:solidFill>
                <a:latin typeface="+mj-lt"/>
              </a:defRPr>
            </a:lvl1pPr>
          </a:lstStyle>
          <a:p>
            <a:pPr lvl="0"/>
            <a:r>
              <a:rPr lang="en-GB" dirty="0"/>
              <a:t>Practice</a:t>
            </a:r>
          </a:p>
        </p:txBody>
      </p:sp>
      <p:sp>
        <p:nvSpPr>
          <p:cNvPr id="9" name="ShortBio" descr="PitchPerfect|Biox3|ShortBio">
            <a:extLst>
              <a:ext uri="{FF2B5EF4-FFF2-40B4-BE49-F238E27FC236}">
                <a16:creationId xmlns:a16="http://schemas.microsoft.com/office/drawing/2014/main" id="{32FDB86F-5278-4294-80A2-53F12879EDE7}"/>
              </a:ext>
            </a:extLst>
          </p:cNvPr>
          <p:cNvSpPr>
            <a:spLocks noGrp="1"/>
          </p:cNvSpPr>
          <p:nvPr>
            <p:ph type="body" sz="quarter" idx="21"/>
          </p:nvPr>
        </p:nvSpPr>
        <p:spPr>
          <a:xfrm>
            <a:off x="788543" y="2385541"/>
            <a:ext cx="3278769" cy="3779763"/>
          </a:xfrm>
          <a:prstGeom prst="rect">
            <a:avLst/>
          </a:prstGeom>
        </p:spPr>
        <p:txBody>
          <a:bodyPr/>
          <a:lstStyle>
            <a:lvl1pPr>
              <a:defRPr sz="1100" b="0">
                <a:solidFill>
                  <a:schemeClr val="tx1"/>
                </a:solidFill>
                <a:latin typeface="+mn-lt"/>
              </a:defRPr>
            </a:lvl1pPr>
          </a:lstStyle>
          <a:p>
            <a:pPr lvl="0"/>
            <a:r>
              <a:rPr lang="en-US"/>
              <a:t>Edit Master text styles</a:t>
            </a:r>
          </a:p>
        </p:txBody>
      </p:sp>
      <p:sp>
        <p:nvSpPr>
          <p:cNvPr id="10" name="ShortBio_1" descr="PitchPerfect|Biox3|ShortBio_1">
            <a:extLst>
              <a:ext uri="{FF2B5EF4-FFF2-40B4-BE49-F238E27FC236}">
                <a16:creationId xmlns:a16="http://schemas.microsoft.com/office/drawing/2014/main" id="{7574A23C-8993-4369-B069-2089E6EAFFC1}"/>
              </a:ext>
            </a:extLst>
          </p:cNvPr>
          <p:cNvSpPr>
            <a:spLocks noGrp="1"/>
          </p:cNvSpPr>
          <p:nvPr>
            <p:ph type="body" sz="quarter" idx="41"/>
          </p:nvPr>
        </p:nvSpPr>
        <p:spPr>
          <a:xfrm>
            <a:off x="4456616" y="2385541"/>
            <a:ext cx="3278769" cy="3779762"/>
          </a:xfrm>
          <a:prstGeom prst="rect">
            <a:avLst/>
          </a:prstGeom>
        </p:spPr>
        <p:txBody>
          <a:bodyPr/>
          <a:lstStyle>
            <a:lvl1pPr>
              <a:defRPr sz="1100" b="0">
                <a:solidFill>
                  <a:schemeClr val="tx1"/>
                </a:solidFill>
                <a:latin typeface="+mn-lt"/>
              </a:defRPr>
            </a:lvl1pPr>
          </a:lstStyle>
          <a:p>
            <a:pPr lvl="0"/>
            <a:r>
              <a:rPr lang="en-US"/>
              <a:t>Edit Master text styles</a:t>
            </a:r>
          </a:p>
        </p:txBody>
      </p:sp>
      <p:sp>
        <p:nvSpPr>
          <p:cNvPr id="11" name="ShortBio_2" descr="PitchPerfect|Biox3|ShortBio_2">
            <a:extLst>
              <a:ext uri="{FF2B5EF4-FFF2-40B4-BE49-F238E27FC236}">
                <a16:creationId xmlns:a16="http://schemas.microsoft.com/office/drawing/2014/main" id="{CA6D3113-0068-428C-A76F-D02F1003CE2A}"/>
              </a:ext>
            </a:extLst>
          </p:cNvPr>
          <p:cNvSpPr>
            <a:spLocks noGrp="1"/>
          </p:cNvSpPr>
          <p:nvPr>
            <p:ph type="body" sz="quarter" idx="42"/>
          </p:nvPr>
        </p:nvSpPr>
        <p:spPr>
          <a:xfrm>
            <a:off x="8124688" y="2385541"/>
            <a:ext cx="3278769" cy="3779762"/>
          </a:xfrm>
          <a:prstGeom prst="rect">
            <a:avLst/>
          </a:prstGeom>
        </p:spPr>
        <p:txBody>
          <a:bodyPr/>
          <a:lstStyle>
            <a:lvl1pPr>
              <a:defRPr sz="1100" b="0">
                <a:solidFill>
                  <a:schemeClr val="tx1"/>
                </a:solidFill>
                <a:latin typeface="+mn-lt"/>
              </a:defRPr>
            </a:lvl1pPr>
          </a:lstStyle>
          <a:p>
            <a:pPr lvl="0"/>
            <a:r>
              <a:rPr lang="en-US"/>
              <a:t>Edit Master text styles</a:t>
            </a:r>
          </a:p>
        </p:txBody>
      </p:sp>
      <p:sp>
        <p:nvSpPr>
          <p:cNvPr id="12" name="Name_1" descr="PitchPerfect|Biox3|Name_1">
            <a:extLst>
              <a:ext uri="{FF2B5EF4-FFF2-40B4-BE49-F238E27FC236}">
                <a16:creationId xmlns:a16="http://schemas.microsoft.com/office/drawing/2014/main" id="{EB43EF6D-33D6-470E-B108-8C2F2E4D8589}"/>
              </a:ext>
            </a:extLst>
          </p:cNvPr>
          <p:cNvSpPr>
            <a:spLocks noGrp="1"/>
          </p:cNvSpPr>
          <p:nvPr>
            <p:ph type="body" sz="quarter" idx="43" hasCustomPrompt="1"/>
          </p:nvPr>
        </p:nvSpPr>
        <p:spPr>
          <a:xfrm>
            <a:off x="4456616" y="1412777"/>
            <a:ext cx="3278769" cy="257369"/>
          </a:xfrm>
          <a:prstGeom prst="rect">
            <a:avLst/>
          </a:prstGeom>
        </p:spPr>
        <p:txBody>
          <a:bodyPr>
            <a:spAutoFit/>
          </a:bodyPr>
          <a:lstStyle>
            <a:lvl1pPr marL="0" indent="0">
              <a:buNone/>
              <a:defRPr sz="1200" b="1">
                <a:solidFill>
                  <a:srgbClr val="000000"/>
                </a:solidFill>
                <a:latin typeface="+mj-lt"/>
              </a:defRPr>
            </a:lvl1pPr>
          </a:lstStyle>
          <a:p>
            <a:pPr lvl="0"/>
            <a:r>
              <a:rPr lang="en-GB" dirty="0"/>
              <a:t>Name</a:t>
            </a:r>
          </a:p>
        </p:txBody>
      </p:sp>
      <p:sp>
        <p:nvSpPr>
          <p:cNvPr id="13" name="JobTitlePractice_1" descr="PitchPerfect|Biox3|JobTitlePractice_1">
            <a:extLst>
              <a:ext uri="{FF2B5EF4-FFF2-40B4-BE49-F238E27FC236}">
                <a16:creationId xmlns:a16="http://schemas.microsoft.com/office/drawing/2014/main" id="{9327F61E-A359-4136-850E-C6985FC09518}"/>
              </a:ext>
            </a:extLst>
          </p:cNvPr>
          <p:cNvSpPr>
            <a:spLocks noGrp="1"/>
          </p:cNvSpPr>
          <p:nvPr>
            <p:ph type="body" sz="quarter" idx="44" hasCustomPrompt="1"/>
          </p:nvPr>
        </p:nvSpPr>
        <p:spPr>
          <a:xfrm>
            <a:off x="4456616" y="1745798"/>
            <a:ext cx="3278769" cy="257369"/>
          </a:xfrm>
          <a:prstGeom prst="rect">
            <a:avLst/>
          </a:prstGeom>
        </p:spPr>
        <p:txBody>
          <a:bodyPr>
            <a:spAutoFit/>
          </a:bodyPr>
          <a:lstStyle>
            <a:lvl1pPr marL="0" indent="0" algn="l">
              <a:spcBef>
                <a:spcPts val="0"/>
              </a:spcBef>
              <a:buNone/>
              <a:defRPr sz="1200" b="0">
                <a:solidFill>
                  <a:srgbClr val="191919"/>
                </a:solidFill>
                <a:latin typeface="+mj-lt"/>
              </a:defRPr>
            </a:lvl1pPr>
          </a:lstStyle>
          <a:p>
            <a:pPr lvl="0"/>
            <a:r>
              <a:rPr lang="en-GB" dirty="0"/>
              <a:t>Practice</a:t>
            </a:r>
          </a:p>
        </p:txBody>
      </p:sp>
      <p:sp>
        <p:nvSpPr>
          <p:cNvPr id="14" name="Name_2" descr="PitchPerfect|Biox3|Name_2">
            <a:extLst>
              <a:ext uri="{FF2B5EF4-FFF2-40B4-BE49-F238E27FC236}">
                <a16:creationId xmlns:a16="http://schemas.microsoft.com/office/drawing/2014/main" id="{7B934C75-ADFB-43A1-9E7E-63E3431A3265}"/>
              </a:ext>
            </a:extLst>
          </p:cNvPr>
          <p:cNvSpPr>
            <a:spLocks noGrp="1"/>
          </p:cNvSpPr>
          <p:nvPr>
            <p:ph type="body" sz="quarter" idx="45" hasCustomPrompt="1"/>
          </p:nvPr>
        </p:nvSpPr>
        <p:spPr>
          <a:xfrm>
            <a:off x="8135600" y="1412777"/>
            <a:ext cx="3278769" cy="257369"/>
          </a:xfrm>
          <a:prstGeom prst="rect">
            <a:avLst/>
          </a:prstGeom>
        </p:spPr>
        <p:txBody>
          <a:bodyPr>
            <a:spAutoFit/>
          </a:bodyPr>
          <a:lstStyle>
            <a:lvl1pPr marL="0" indent="0">
              <a:buNone/>
              <a:defRPr sz="1200" b="1">
                <a:solidFill>
                  <a:srgbClr val="000000"/>
                </a:solidFill>
                <a:latin typeface="+mj-lt"/>
              </a:defRPr>
            </a:lvl1pPr>
          </a:lstStyle>
          <a:p>
            <a:pPr lvl="0"/>
            <a:r>
              <a:rPr lang="en-GB" dirty="0"/>
              <a:t>Name</a:t>
            </a:r>
          </a:p>
        </p:txBody>
      </p:sp>
      <p:sp>
        <p:nvSpPr>
          <p:cNvPr id="15" name="JobTitlePractice_2" descr="PitchPerfect|Biox3|JobTitlePractice_2">
            <a:extLst>
              <a:ext uri="{FF2B5EF4-FFF2-40B4-BE49-F238E27FC236}">
                <a16:creationId xmlns:a16="http://schemas.microsoft.com/office/drawing/2014/main" id="{237D2895-9715-4C70-8AD0-A04E84EBAEF3}"/>
              </a:ext>
            </a:extLst>
          </p:cNvPr>
          <p:cNvSpPr>
            <a:spLocks noGrp="1"/>
          </p:cNvSpPr>
          <p:nvPr>
            <p:ph type="body" sz="quarter" idx="46" hasCustomPrompt="1"/>
          </p:nvPr>
        </p:nvSpPr>
        <p:spPr>
          <a:xfrm>
            <a:off x="8135600" y="1750450"/>
            <a:ext cx="3278769" cy="257369"/>
          </a:xfrm>
          <a:prstGeom prst="rect">
            <a:avLst/>
          </a:prstGeom>
        </p:spPr>
        <p:txBody>
          <a:bodyPr>
            <a:spAutoFit/>
          </a:bodyPr>
          <a:lstStyle>
            <a:lvl1pPr marL="0" indent="0" algn="l">
              <a:spcBef>
                <a:spcPts val="0"/>
              </a:spcBef>
              <a:buNone/>
              <a:defRPr sz="1200" b="0">
                <a:solidFill>
                  <a:srgbClr val="191919"/>
                </a:solidFill>
                <a:latin typeface="+mj-lt"/>
              </a:defRPr>
            </a:lvl1pPr>
          </a:lstStyle>
          <a:p>
            <a:pPr lvl="0"/>
            <a:r>
              <a:rPr lang="en-GB" dirty="0"/>
              <a:t>Practice</a:t>
            </a:r>
          </a:p>
        </p:txBody>
      </p:sp>
      <p:sp>
        <p:nvSpPr>
          <p:cNvPr id="17" name="KeyContactsHeading" descr="PitchPerfect|Biox3|KeyContactsHeading">
            <a:extLst>
              <a:ext uri="{FF2B5EF4-FFF2-40B4-BE49-F238E27FC236}">
                <a16:creationId xmlns:a16="http://schemas.microsoft.com/office/drawing/2014/main" id="{3B0B3290-297F-4546-9A97-98CE8BADE5E0}"/>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22435317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_large">
    <p:bg>
      <p:bgPr>
        <a:solidFill>
          <a:schemeClr val="bg2"/>
        </a:solidFill>
        <a:effectLst/>
      </p:bgPr>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6C2B568A-0147-42B3-9F7A-A5D8C9D99F6D}"/>
              </a:ext>
            </a:extLst>
          </p:cNvPr>
          <p:cNvSpPr>
            <a:spLocks noGrp="1"/>
          </p:cNvSpPr>
          <p:nvPr>
            <p:ph type="dt" sz="half" idx="10"/>
            <p:custDataLst>
              <p:tags r:id="rId1"/>
            </p:custDataLst>
          </p:nvPr>
        </p:nvSpPr>
        <p:spPr/>
        <p:txBody>
          <a:bodyPr/>
          <a:lstStyle>
            <a:lvl1pPr>
              <a:defRPr lang="en-GB" dirty="0"/>
            </a:lvl1pPr>
          </a:lstStyle>
          <a:p>
            <a:endParaRPr lang="de-AT"/>
          </a:p>
        </p:txBody>
      </p:sp>
      <p:sp>
        <p:nvSpPr>
          <p:cNvPr id="6" name="Foliennummernplatzhalter 5">
            <a:extLst>
              <a:ext uri="{FF2B5EF4-FFF2-40B4-BE49-F238E27FC236}">
                <a16:creationId xmlns:a16="http://schemas.microsoft.com/office/drawing/2014/main" id="{C2BCD42F-6371-4FD7-AFEC-F5CF851D7985}"/>
              </a:ext>
            </a:extLst>
          </p:cNvPr>
          <p:cNvSpPr>
            <a:spLocks noGrp="1"/>
          </p:cNvSpPr>
          <p:nvPr>
            <p:ph type="sldNum" sz="quarter" idx="12"/>
            <p:custDataLst>
              <p:tags r:id="rId2"/>
            </p:custDataLst>
          </p:nvPr>
        </p:nvSpPr>
        <p:spPr/>
        <p:txBody>
          <a:bodyPr/>
          <a:lstStyle/>
          <a:p>
            <a:fld id="{B459E51B-A277-4897-9DDF-ABA4750400EB}" type="slidenum">
              <a:rPr lang="en-GB" smtClean="0"/>
              <a:t>‹Nr.›</a:t>
            </a:fld>
            <a:endParaRPr lang="en-GB" dirty="0"/>
          </a:p>
        </p:txBody>
      </p:sp>
      <p:sp>
        <p:nvSpPr>
          <p:cNvPr id="10" name="Text Placeholder 9">
            <a:extLst>
              <a:ext uri="{FF2B5EF4-FFF2-40B4-BE49-F238E27FC236}">
                <a16:creationId xmlns:a16="http://schemas.microsoft.com/office/drawing/2014/main" id="{1A2082F7-6D8D-40F4-A3CA-E50976CC1F5A}"/>
              </a:ext>
            </a:extLst>
          </p:cNvPr>
          <p:cNvSpPr>
            <a:spLocks noGrp="1"/>
          </p:cNvSpPr>
          <p:nvPr>
            <p:ph type="body" sz="quarter" idx="13" hasCustomPrompt="1"/>
            <p:custDataLst>
              <p:tags r:id="rId3"/>
            </p:custDataLst>
          </p:nvPr>
        </p:nvSpPr>
        <p:spPr>
          <a:xfrm>
            <a:off x="461639" y="895350"/>
            <a:ext cx="9853612" cy="400050"/>
          </a:xfrm>
        </p:spPr>
        <p:txBody>
          <a:bodyPr>
            <a:noAutofit/>
          </a:bodyPr>
          <a:lstStyle>
            <a:lvl1pPr marL="0" indent="0">
              <a:buNone/>
              <a:defRPr sz="2000">
                <a:latin typeface="Georgia" panose="02040502050405020303" pitchFamily="18" charset="0"/>
              </a:defRPr>
            </a:lvl1pPr>
            <a:lvl2pPr marL="266693" indent="0">
              <a:buFont typeface="Arial" panose="020B0604020202020204" pitchFamily="34" charset="0"/>
              <a:buNone/>
              <a:defRPr sz="2400">
                <a:latin typeface="Georgia" panose="02040502050405020303" pitchFamily="18" charset="0"/>
              </a:defRPr>
            </a:lvl2pPr>
            <a:lvl3pPr marL="541325" indent="0">
              <a:buFont typeface="Arial" panose="020B0604020202020204" pitchFamily="34" charset="0"/>
              <a:buNone/>
              <a:defRPr sz="2400">
                <a:latin typeface="Georgia" panose="02040502050405020303" pitchFamily="18" charset="0"/>
              </a:defRPr>
            </a:lvl3pPr>
            <a:lvl4pPr marL="808018" indent="0">
              <a:buFont typeface="Arial" panose="020B0604020202020204" pitchFamily="34" charset="0"/>
              <a:buNone/>
              <a:defRPr sz="2400">
                <a:latin typeface="Georgia" panose="02040502050405020303" pitchFamily="18" charset="0"/>
              </a:defRPr>
            </a:lvl4pPr>
            <a:lvl5pPr marL="1074710" indent="0">
              <a:buFont typeface="Arial" panose="020B0604020202020204" pitchFamily="34" charset="0"/>
              <a:buNone/>
              <a:defRPr sz="2400">
                <a:latin typeface="Georgia" panose="02040502050405020303" pitchFamily="18" charset="0"/>
              </a:defRPr>
            </a:lvl5pPr>
          </a:lstStyle>
          <a:p>
            <a:pPr lvl="0"/>
            <a:r>
              <a:rPr lang="en-GB" dirty="0"/>
              <a:t>Subtitle (optional)</a:t>
            </a:r>
          </a:p>
        </p:txBody>
      </p:sp>
      <p:sp>
        <p:nvSpPr>
          <p:cNvPr id="2" name="Title 1">
            <a:extLst>
              <a:ext uri="{FF2B5EF4-FFF2-40B4-BE49-F238E27FC236}">
                <a16:creationId xmlns:a16="http://schemas.microsoft.com/office/drawing/2014/main" id="{B9FBF93C-9D51-4CB5-B6F3-6BDEBB9709EE}"/>
              </a:ext>
            </a:extLst>
          </p:cNvPr>
          <p:cNvSpPr>
            <a:spLocks noGrp="1"/>
          </p:cNvSpPr>
          <p:nvPr>
            <p:ph type="title"/>
            <p:custDataLst>
              <p:tags r:id="rId4"/>
            </p:custDataLst>
          </p:nvPr>
        </p:nvSpPr>
        <p:spPr/>
        <p:txBody>
          <a:bodyPr/>
          <a:lstStyle/>
          <a:p>
            <a:r>
              <a:rPr lang="en-US"/>
              <a:t>Click to edit Master title style</a:t>
            </a:r>
            <a:endParaRPr lang="en-GB" dirty="0"/>
          </a:p>
        </p:txBody>
      </p:sp>
      <p:sp>
        <p:nvSpPr>
          <p:cNvPr id="9" name="Content Placeholder 8">
            <a:extLst>
              <a:ext uri="{FF2B5EF4-FFF2-40B4-BE49-F238E27FC236}">
                <a16:creationId xmlns:a16="http://schemas.microsoft.com/office/drawing/2014/main" id="{60F0E487-2FB6-4E84-A081-AE75050252B2}"/>
              </a:ext>
            </a:extLst>
          </p:cNvPr>
          <p:cNvSpPr>
            <a:spLocks noGrp="1"/>
          </p:cNvSpPr>
          <p:nvPr>
            <p:ph sz="quarter" idx="14"/>
            <p:custDataLst>
              <p:tags r:id="rId5"/>
            </p:custDataLst>
          </p:nvPr>
        </p:nvSpPr>
        <p:spPr>
          <a:xfrm>
            <a:off x="461640" y="1592265"/>
            <a:ext cx="11287448" cy="41532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768648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Contacts - 5 Contacts (1/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BD05C0F-908B-4D23-849B-BBAD77F945E5}"/>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46" name="Name_2" descr="PitchPerfect|Biox5|Name_2">
            <a:extLst>
              <a:ext uri="{FF2B5EF4-FFF2-40B4-BE49-F238E27FC236}">
                <a16:creationId xmlns:a16="http://schemas.microsoft.com/office/drawing/2014/main" id="{D48526E2-133B-46A4-93CC-4A52DBDAC73F}"/>
              </a:ext>
            </a:extLst>
          </p:cNvPr>
          <p:cNvSpPr>
            <a:spLocks noGrp="1"/>
          </p:cNvSpPr>
          <p:nvPr>
            <p:ph type="body" sz="quarter" idx="37" hasCustomPrompt="1"/>
          </p:nvPr>
        </p:nvSpPr>
        <p:spPr>
          <a:xfrm>
            <a:off x="3198941" y="3412189"/>
            <a:ext cx="3503559" cy="153888"/>
          </a:xfrm>
          <a:prstGeom prst="rect">
            <a:avLst/>
          </a:prstGeom>
        </p:spPr>
        <p:txBody>
          <a:bodyPr bIns="0">
            <a:spAutoFit/>
          </a:bodyPr>
          <a:lstStyle>
            <a:lvl1pPr marL="0" indent="0">
              <a:buNone/>
              <a:defRPr sz="1000" b="1">
                <a:solidFill>
                  <a:srgbClr val="000000"/>
                </a:solidFill>
                <a:latin typeface="Corporate S" pitchFamily="50" charset="0"/>
              </a:defRPr>
            </a:lvl1pPr>
          </a:lstStyle>
          <a:p>
            <a:pPr lvl="0"/>
            <a:r>
              <a:rPr lang="en-GB" dirty="0"/>
              <a:t>Name</a:t>
            </a:r>
          </a:p>
        </p:txBody>
      </p:sp>
      <p:sp>
        <p:nvSpPr>
          <p:cNvPr id="47" name="Position_2" descr="PitchPerfect|Biox5|Position_2">
            <a:extLst>
              <a:ext uri="{FF2B5EF4-FFF2-40B4-BE49-F238E27FC236}">
                <a16:creationId xmlns:a16="http://schemas.microsoft.com/office/drawing/2014/main" id="{D38AA1BE-E474-4798-BBA4-667206BB7C64}"/>
              </a:ext>
            </a:extLst>
          </p:cNvPr>
          <p:cNvSpPr>
            <a:spLocks noGrp="1"/>
          </p:cNvSpPr>
          <p:nvPr>
            <p:ph type="body" sz="quarter" idx="38" hasCustomPrompt="1"/>
          </p:nvPr>
        </p:nvSpPr>
        <p:spPr>
          <a:xfrm>
            <a:off x="3198941" y="3572333"/>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Job Title</a:t>
            </a:r>
          </a:p>
        </p:txBody>
      </p:sp>
      <p:sp>
        <p:nvSpPr>
          <p:cNvPr id="48" name="DirectDial_2" descr="PitchPerfect|Biox5|DirectDial_2">
            <a:extLst>
              <a:ext uri="{FF2B5EF4-FFF2-40B4-BE49-F238E27FC236}">
                <a16:creationId xmlns:a16="http://schemas.microsoft.com/office/drawing/2014/main" id="{CB3DCCB3-928B-4572-80EF-F992A90E9595}"/>
              </a:ext>
            </a:extLst>
          </p:cNvPr>
          <p:cNvSpPr>
            <a:spLocks noGrp="1"/>
          </p:cNvSpPr>
          <p:nvPr>
            <p:ph type="body" sz="quarter" idx="39" hasCustomPrompt="1"/>
          </p:nvPr>
        </p:nvSpPr>
        <p:spPr>
          <a:xfrm>
            <a:off x="3361771" y="3907116"/>
            <a:ext cx="174404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Phone</a:t>
            </a:r>
          </a:p>
        </p:txBody>
      </p:sp>
      <p:sp>
        <p:nvSpPr>
          <p:cNvPr id="49" name="Mobile_2" descr="PitchPerfect|Biox5|Mobile_2">
            <a:extLst>
              <a:ext uri="{FF2B5EF4-FFF2-40B4-BE49-F238E27FC236}">
                <a16:creationId xmlns:a16="http://schemas.microsoft.com/office/drawing/2014/main" id="{54241195-0ECC-4E71-B16A-CC7ABA3959B6}"/>
              </a:ext>
            </a:extLst>
          </p:cNvPr>
          <p:cNvSpPr>
            <a:spLocks noGrp="1"/>
          </p:cNvSpPr>
          <p:nvPr>
            <p:ph type="body" sz="quarter" idx="40" hasCustomPrompt="1"/>
          </p:nvPr>
        </p:nvSpPr>
        <p:spPr>
          <a:xfrm>
            <a:off x="5099692" y="3897689"/>
            <a:ext cx="1742746"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Mobile</a:t>
            </a:r>
          </a:p>
        </p:txBody>
      </p:sp>
      <p:sp>
        <p:nvSpPr>
          <p:cNvPr id="50" name="Email_2" descr="PitchPerfect|Biox5|Email_2">
            <a:extLst>
              <a:ext uri="{FF2B5EF4-FFF2-40B4-BE49-F238E27FC236}">
                <a16:creationId xmlns:a16="http://schemas.microsoft.com/office/drawing/2014/main" id="{1343BCCF-9451-4441-976A-770C11FC6227}"/>
              </a:ext>
            </a:extLst>
          </p:cNvPr>
          <p:cNvSpPr>
            <a:spLocks noGrp="1"/>
          </p:cNvSpPr>
          <p:nvPr>
            <p:ph type="body" sz="quarter" idx="41" hasCustomPrompt="1"/>
          </p:nvPr>
        </p:nvSpPr>
        <p:spPr>
          <a:xfrm>
            <a:off x="3367691" y="4065589"/>
            <a:ext cx="316593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Email</a:t>
            </a:r>
          </a:p>
        </p:txBody>
      </p:sp>
      <p:sp>
        <p:nvSpPr>
          <p:cNvPr id="54" name="Practice_2" descr="PitchPerfect|Biox5|Practice_2">
            <a:extLst>
              <a:ext uri="{FF2B5EF4-FFF2-40B4-BE49-F238E27FC236}">
                <a16:creationId xmlns:a16="http://schemas.microsoft.com/office/drawing/2014/main" id="{0DE2AEDD-2DCB-4B4D-B42E-9509FFCF1161}"/>
              </a:ext>
            </a:extLst>
          </p:cNvPr>
          <p:cNvSpPr>
            <a:spLocks noGrp="1"/>
          </p:cNvSpPr>
          <p:nvPr>
            <p:ph type="body" sz="quarter" idx="42" hasCustomPrompt="1"/>
          </p:nvPr>
        </p:nvSpPr>
        <p:spPr>
          <a:xfrm>
            <a:off x="3198941" y="3721702"/>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Practice</a:t>
            </a:r>
          </a:p>
        </p:txBody>
      </p:sp>
      <p:cxnSp>
        <p:nvCxnSpPr>
          <p:cNvPr id="65" name="Straight Connector 64">
            <a:extLst>
              <a:ext uri="{FF2B5EF4-FFF2-40B4-BE49-F238E27FC236}">
                <a16:creationId xmlns:a16="http://schemas.microsoft.com/office/drawing/2014/main" id="{AC590E4B-B73A-4FBC-B0C5-AC12187DA518}"/>
              </a:ext>
            </a:extLst>
          </p:cNvPr>
          <p:cNvCxnSpPr>
            <a:cxnSpLocks/>
          </p:cNvCxnSpPr>
          <p:nvPr userDrawn="1"/>
        </p:nvCxnSpPr>
        <p:spPr>
          <a:xfrm>
            <a:off x="7612475" y="1478857"/>
            <a:ext cx="0" cy="462931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A20357F-F0A7-4F62-AD1B-B990EE5E8AEC}"/>
              </a:ext>
            </a:extLst>
          </p:cNvPr>
          <p:cNvCxnSpPr>
            <a:cxnSpLocks/>
          </p:cNvCxnSpPr>
          <p:nvPr userDrawn="1"/>
        </p:nvCxnSpPr>
        <p:spPr>
          <a:xfrm flipH="1">
            <a:off x="7612476" y="3694125"/>
            <a:ext cx="6051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7" name="Key Contacts" descr="PitchPerfect|">
            <a:extLst>
              <a:ext uri="{FF2B5EF4-FFF2-40B4-BE49-F238E27FC236}">
                <a16:creationId xmlns:a16="http://schemas.microsoft.com/office/drawing/2014/main" id="{06B06FD9-9372-4799-96EF-BA3110D816EA}"/>
              </a:ext>
            </a:extLst>
          </p:cNvPr>
          <p:cNvSpPr txBox="1"/>
          <p:nvPr userDrawn="1"/>
        </p:nvSpPr>
        <p:spPr>
          <a:xfrm>
            <a:off x="8234418" y="3550110"/>
            <a:ext cx="2767723" cy="323165"/>
          </a:xfrm>
          <a:prstGeom prst="rect">
            <a:avLst/>
          </a:prstGeom>
          <a:noFill/>
        </p:spPr>
        <p:txBody>
          <a:bodyPr wrap="square" rtlCol="0">
            <a:spAutoFit/>
          </a:bodyPr>
          <a:lstStyle/>
          <a:p>
            <a:r>
              <a:rPr lang="en-GB" sz="1500" b="1" dirty="0">
                <a:solidFill>
                  <a:srgbClr val="E60000"/>
                </a:solidFill>
                <a:latin typeface="+mj-lt"/>
              </a:rPr>
              <a:t>KEY CONTACTS</a:t>
            </a:r>
          </a:p>
        </p:txBody>
      </p:sp>
      <p:sp>
        <p:nvSpPr>
          <p:cNvPr id="37" name="Name_3" descr="PitchPerfect|Biox5|Name_3">
            <a:extLst>
              <a:ext uri="{FF2B5EF4-FFF2-40B4-BE49-F238E27FC236}">
                <a16:creationId xmlns:a16="http://schemas.microsoft.com/office/drawing/2014/main" id="{1888EE9D-0C04-43D7-A66C-D78CB5074BE4}"/>
              </a:ext>
            </a:extLst>
          </p:cNvPr>
          <p:cNvSpPr>
            <a:spLocks noGrp="1"/>
          </p:cNvSpPr>
          <p:nvPr>
            <p:ph type="body" sz="quarter" idx="44" hasCustomPrompt="1"/>
          </p:nvPr>
        </p:nvSpPr>
        <p:spPr>
          <a:xfrm>
            <a:off x="3198941" y="4377237"/>
            <a:ext cx="3503559" cy="153888"/>
          </a:xfrm>
          <a:prstGeom prst="rect">
            <a:avLst/>
          </a:prstGeom>
        </p:spPr>
        <p:txBody>
          <a:bodyPr bIns="0">
            <a:spAutoFit/>
          </a:bodyPr>
          <a:lstStyle>
            <a:lvl1pPr marL="0" indent="0">
              <a:buNone/>
              <a:defRPr sz="1000" b="1">
                <a:solidFill>
                  <a:srgbClr val="000000"/>
                </a:solidFill>
                <a:latin typeface="Corporate S" pitchFamily="50" charset="0"/>
              </a:defRPr>
            </a:lvl1pPr>
          </a:lstStyle>
          <a:p>
            <a:pPr lvl="0"/>
            <a:r>
              <a:rPr lang="en-GB" dirty="0"/>
              <a:t>Name</a:t>
            </a:r>
          </a:p>
        </p:txBody>
      </p:sp>
      <p:sp>
        <p:nvSpPr>
          <p:cNvPr id="38" name="Position_3" descr="PitchPerfect|Biox5|Position_3">
            <a:extLst>
              <a:ext uri="{FF2B5EF4-FFF2-40B4-BE49-F238E27FC236}">
                <a16:creationId xmlns:a16="http://schemas.microsoft.com/office/drawing/2014/main" id="{CFACBFC7-87A7-4CA4-9A15-93CB1C3A5064}"/>
              </a:ext>
            </a:extLst>
          </p:cNvPr>
          <p:cNvSpPr>
            <a:spLocks noGrp="1"/>
          </p:cNvSpPr>
          <p:nvPr>
            <p:ph type="body" sz="quarter" idx="45" hasCustomPrompt="1"/>
          </p:nvPr>
        </p:nvSpPr>
        <p:spPr>
          <a:xfrm>
            <a:off x="3198941" y="4537381"/>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Job Title</a:t>
            </a:r>
          </a:p>
        </p:txBody>
      </p:sp>
      <p:sp>
        <p:nvSpPr>
          <p:cNvPr id="39" name="DirectDial_3" descr="PitchPerfect|Biox5|DirectDial_3">
            <a:extLst>
              <a:ext uri="{FF2B5EF4-FFF2-40B4-BE49-F238E27FC236}">
                <a16:creationId xmlns:a16="http://schemas.microsoft.com/office/drawing/2014/main" id="{A1B5A9C2-E875-4549-A781-7C7FB28FD7F0}"/>
              </a:ext>
            </a:extLst>
          </p:cNvPr>
          <p:cNvSpPr>
            <a:spLocks noGrp="1"/>
          </p:cNvSpPr>
          <p:nvPr>
            <p:ph type="body" sz="quarter" idx="46" hasCustomPrompt="1"/>
          </p:nvPr>
        </p:nvSpPr>
        <p:spPr>
          <a:xfrm>
            <a:off x="3361771" y="4859855"/>
            <a:ext cx="174404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Phone</a:t>
            </a:r>
          </a:p>
        </p:txBody>
      </p:sp>
      <p:sp>
        <p:nvSpPr>
          <p:cNvPr id="40" name="Mobile_3" descr="PitchPerfect|Biox5|Mobile_3">
            <a:extLst>
              <a:ext uri="{FF2B5EF4-FFF2-40B4-BE49-F238E27FC236}">
                <a16:creationId xmlns:a16="http://schemas.microsoft.com/office/drawing/2014/main" id="{59A28068-E700-44D6-B4A6-AC95C9620C55}"/>
              </a:ext>
            </a:extLst>
          </p:cNvPr>
          <p:cNvSpPr>
            <a:spLocks noGrp="1"/>
          </p:cNvSpPr>
          <p:nvPr>
            <p:ph type="body" sz="quarter" idx="47" hasCustomPrompt="1"/>
          </p:nvPr>
        </p:nvSpPr>
        <p:spPr>
          <a:xfrm>
            <a:off x="5099692" y="4859855"/>
            <a:ext cx="1742746"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Mobile</a:t>
            </a:r>
          </a:p>
        </p:txBody>
      </p:sp>
      <p:sp>
        <p:nvSpPr>
          <p:cNvPr id="41" name="Email_3" descr="PitchPerfect|Biox5|Email_3">
            <a:extLst>
              <a:ext uri="{FF2B5EF4-FFF2-40B4-BE49-F238E27FC236}">
                <a16:creationId xmlns:a16="http://schemas.microsoft.com/office/drawing/2014/main" id="{CD233FB1-7E10-48D0-818B-4ABDAFD7087B}"/>
              </a:ext>
            </a:extLst>
          </p:cNvPr>
          <p:cNvSpPr>
            <a:spLocks noGrp="1"/>
          </p:cNvSpPr>
          <p:nvPr>
            <p:ph type="body" sz="quarter" idx="48" hasCustomPrompt="1"/>
          </p:nvPr>
        </p:nvSpPr>
        <p:spPr>
          <a:xfrm>
            <a:off x="3367691" y="5035504"/>
            <a:ext cx="316593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Email</a:t>
            </a:r>
          </a:p>
        </p:txBody>
      </p:sp>
      <p:sp>
        <p:nvSpPr>
          <p:cNvPr id="68" name="Practice_3" descr="PitchPerfect|Biox5|Practice_3">
            <a:extLst>
              <a:ext uri="{FF2B5EF4-FFF2-40B4-BE49-F238E27FC236}">
                <a16:creationId xmlns:a16="http://schemas.microsoft.com/office/drawing/2014/main" id="{3AF248CC-3020-4679-9DCE-0DBB1840A76F}"/>
              </a:ext>
            </a:extLst>
          </p:cNvPr>
          <p:cNvSpPr>
            <a:spLocks noGrp="1"/>
          </p:cNvSpPr>
          <p:nvPr>
            <p:ph type="body" sz="quarter" idx="49" hasCustomPrompt="1"/>
          </p:nvPr>
        </p:nvSpPr>
        <p:spPr>
          <a:xfrm>
            <a:off x="3198941" y="4696177"/>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Practice</a:t>
            </a:r>
          </a:p>
        </p:txBody>
      </p:sp>
      <p:sp>
        <p:nvSpPr>
          <p:cNvPr id="70" name="Name_4" descr="PitchPerfect|Biox5|Name_4">
            <a:extLst>
              <a:ext uri="{FF2B5EF4-FFF2-40B4-BE49-F238E27FC236}">
                <a16:creationId xmlns:a16="http://schemas.microsoft.com/office/drawing/2014/main" id="{1342771E-B145-46D0-AEB5-3EC106DD9C82}"/>
              </a:ext>
            </a:extLst>
          </p:cNvPr>
          <p:cNvSpPr>
            <a:spLocks noGrp="1"/>
          </p:cNvSpPr>
          <p:nvPr>
            <p:ph type="body" sz="quarter" idx="51" hasCustomPrompt="1"/>
          </p:nvPr>
        </p:nvSpPr>
        <p:spPr>
          <a:xfrm>
            <a:off x="3198941" y="5337304"/>
            <a:ext cx="3503559" cy="153888"/>
          </a:xfrm>
          <a:prstGeom prst="rect">
            <a:avLst/>
          </a:prstGeom>
        </p:spPr>
        <p:txBody>
          <a:bodyPr bIns="0">
            <a:spAutoFit/>
          </a:bodyPr>
          <a:lstStyle>
            <a:lvl1pPr marL="0" indent="0">
              <a:buNone/>
              <a:defRPr sz="1000" b="1">
                <a:solidFill>
                  <a:srgbClr val="000000"/>
                </a:solidFill>
                <a:latin typeface="Corporate S" pitchFamily="50" charset="0"/>
              </a:defRPr>
            </a:lvl1pPr>
          </a:lstStyle>
          <a:p>
            <a:pPr lvl="0"/>
            <a:r>
              <a:rPr lang="en-GB" dirty="0"/>
              <a:t>Name</a:t>
            </a:r>
          </a:p>
        </p:txBody>
      </p:sp>
      <p:sp>
        <p:nvSpPr>
          <p:cNvPr id="71" name="Position_4" descr="PitchPerfect|Biox5|Position_4">
            <a:extLst>
              <a:ext uri="{FF2B5EF4-FFF2-40B4-BE49-F238E27FC236}">
                <a16:creationId xmlns:a16="http://schemas.microsoft.com/office/drawing/2014/main" id="{D8390DA7-567A-4F78-B84E-C2B6DAF10CD3}"/>
              </a:ext>
            </a:extLst>
          </p:cNvPr>
          <p:cNvSpPr>
            <a:spLocks noGrp="1"/>
          </p:cNvSpPr>
          <p:nvPr>
            <p:ph type="body" sz="quarter" idx="52" hasCustomPrompt="1"/>
          </p:nvPr>
        </p:nvSpPr>
        <p:spPr>
          <a:xfrm>
            <a:off x="3198941" y="5497448"/>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Job Title</a:t>
            </a:r>
          </a:p>
        </p:txBody>
      </p:sp>
      <p:sp>
        <p:nvSpPr>
          <p:cNvPr id="72" name="DirectDial_4" descr="PitchPerfect|Biox5|DirectDial_4">
            <a:extLst>
              <a:ext uri="{FF2B5EF4-FFF2-40B4-BE49-F238E27FC236}">
                <a16:creationId xmlns:a16="http://schemas.microsoft.com/office/drawing/2014/main" id="{465F9A3C-CC2B-401F-8846-E01557BC0EBC}"/>
              </a:ext>
            </a:extLst>
          </p:cNvPr>
          <p:cNvSpPr>
            <a:spLocks noGrp="1"/>
          </p:cNvSpPr>
          <p:nvPr>
            <p:ph type="body" sz="quarter" idx="53" hasCustomPrompt="1"/>
          </p:nvPr>
        </p:nvSpPr>
        <p:spPr>
          <a:xfrm>
            <a:off x="3361771" y="5826001"/>
            <a:ext cx="174404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Phone</a:t>
            </a:r>
          </a:p>
        </p:txBody>
      </p:sp>
      <p:sp>
        <p:nvSpPr>
          <p:cNvPr id="73" name="Mobile_4" descr="PitchPerfect|Biox5|Mobile_4">
            <a:extLst>
              <a:ext uri="{FF2B5EF4-FFF2-40B4-BE49-F238E27FC236}">
                <a16:creationId xmlns:a16="http://schemas.microsoft.com/office/drawing/2014/main" id="{B70A4A73-9012-4EE6-A30F-BB0F0065EE5B}"/>
              </a:ext>
            </a:extLst>
          </p:cNvPr>
          <p:cNvSpPr>
            <a:spLocks noGrp="1"/>
          </p:cNvSpPr>
          <p:nvPr>
            <p:ph type="body" sz="quarter" idx="54" hasCustomPrompt="1"/>
          </p:nvPr>
        </p:nvSpPr>
        <p:spPr>
          <a:xfrm>
            <a:off x="5099692" y="5826001"/>
            <a:ext cx="1742746"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Mobile</a:t>
            </a:r>
          </a:p>
        </p:txBody>
      </p:sp>
      <p:sp>
        <p:nvSpPr>
          <p:cNvPr id="74" name="Email_4" descr="PitchPerfect|Biox5|Email_4">
            <a:extLst>
              <a:ext uri="{FF2B5EF4-FFF2-40B4-BE49-F238E27FC236}">
                <a16:creationId xmlns:a16="http://schemas.microsoft.com/office/drawing/2014/main" id="{CBCD2CB1-126B-42E7-9FB3-3F9031EA9AD7}"/>
              </a:ext>
            </a:extLst>
          </p:cNvPr>
          <p:cNvSpPr>
            <a:spLocks noGrp="1"/>
          </p:cNvSpPr>
          <p:nvPr>
            <p:ph type="body" sz="quarter" idx="55" hasCustomPrompt="1"/>
          </p:nvPr>
        </p:nvSpPr>
        <p:spPr>
          <a:xfrm>
            <a:off x="3367691" y="5993901"/>
            <a:ext cx="316593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Email</a:t>
            </a:r>
          </a:p>
        </p:txBody>
      </p:sp>
      <p:sp>
        <p:nvSpPr>
          <p:cNvPr id="78" name="Practice_4" descr="PitchPerfect|Biox5|Practice_4">
            <a:extLst>
              <a:ext uri="{FF2B5EF4-FFF2-40B4-BE49-F238E27FC236}">
                <a16:creationId xmlns:a16="http://schemas.microsoft.com/office/drawing/2014/main" id="{942629EF-8F83-4467-8D65-C62516BCE760}"/>
              </a:ext>
            </a:extLst>
          </p:cNvPr>
          <p:cNvSpPr>
            <a:spLocks noGrp="1"/>
          </p:cNvSpPr>
          <p:nvPr>
            <p:ph type="body" sz="quarter" idx="56" hasCustomPrompt="1"/>
          </p:nvPr>
        </p:nvSpPr>
        <p:spPr>
          <a:xfrm>
            <a:off x="3198941" y="5656244"/>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Practice</a:t>
            </a:r>
          </a:p>
        </p:txBody>
      </p:sp>
      <p:sp>
        <p:nvSpPr>
          <p:cNvPr id="80" name="Name_1" descr="PitchPerfect|Biox5|Name_1">
            <a:extLst>
              <a:ext uri="{FF2B5EF4-FFF2-40B4-BE49-F238E27FC236}">
                <a16:creationId xmlns:a16="http://schemas.microsoft.com/office/drawing/2014/main" id="{D41D6958-C513-4AD8-824C-AE79F824E328}"/>
              </a:ext>
            </a:extLst>
          </p:cNvPr>
          <p:cNvSpPr>
            <a:spLocks noGrp="1"/>
          </p:cNvSpPr>
          <p:nvPr>
            <p:ph type="body" sz="quarter" idx="58" hasCustomPrompt="1"/>
          </p:nvPr>
        </p:nvSpPr>
        <p:spPr>
          <a:xfrm>
            <a:off x="3198941" y="2445523"/>
            <a:ext cx="3503559" cy="153888"/>
          </a:xfrm>
          <a:prstGeom prst="rect">
            <a:avLst/>
          </a:prstGeom>
        </p:spPr>
        <p:txBody>
          <a:bodyPr bIns="0">
            <a:spAutoFit/>
          </a:bodyPr>
          <a:lstStyle>
            <a:lvl1pPr marL="0" indent="0">
              <a:buNone/>
              <a:defRPr sz="1000" b="1">
                <a:solidFill>
                  <a:srgbClr val="000000"/>
                </a:solidFill>
                <a:latin typeface="Corporate S" pitchFamily="50" charset="0"/>
              </a:defRPr>
            </a:lvl1pPr>
          </a:lstStyle>
          <a:p>
            <a:pPr lvl="0"/>
            <a:r>
              <a:rPr lang="en-GB" dirty="0"/>
              <a:t>Name</a:t>
            </a:r>
          </a:p>
        </p:txBody>
      </p:sp>
      <p:sp>
        <p:nvSpPr>
          <p:cNvPr id="81" name="Position_1" descr="PitchPerfect|Biox5|Position_1">
            <a:extLst>
              <a:ext uri="{FF2B5EF4-FFF2-40B4-BE49-F238E27FC236}">
                <a16:creationId xmlns:a16="http://schemas.microsoft.com/office/drawing/2014/main" id="{417643A1-0A38-4A8D-81FD-2EF1D3887871}"/>
              </a:ext>
            </a:extLst>
          </p:cNvPr>
          <p:cNvSpPr>
            <a:spLocks noGrp="1"/>
          </p:cNvSpPr>
          <p:nvPr>
            <p:ph type="body" sz="quarter" idx="59" hasCustomPrompt="1"/>
          </p:nvPr>
        </p:nvSpPr>
        <p:spPr>
          <a:xfrm>
            <a:off x="3198941" y="2605667"/>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Job Title</a:t>
            </a:r>
          </a:p>
        </p:txBody>
      </p:sp>
      <p:sp>
        <p:nvSpPr>
          <p:cNvPr id="82" name="DirectDial_1" descr="PitchPerfect|Biox5|DirectDial_1">
            <a:extLst>
              <a:ext uri="{FF2B5EF4-FFF2-40B4-BE49-F238E27FC236}">
                <a16:creationId xmlns:a16="http://schemas.microsoft.com/office/drawing/2014/main" id="{647AE39A-A970-4B67-ADEF-D42EED8D042E}"/>
              </a:ext>
            </a:extLst>
          </p:cNvPr>
          <p:cNvSpPr>
            <a:spLocks noGrp="1"/>
          </p:cNvSpPr>
          <p:nvPr>
            <p:ph type="body" sz="quarter" idx="60" hasCustomPrompt="1"/>
          </p:nvPr>
        </p:nvSpPr>
        <p:spPr>
          <a:xfrm>
            <a:off x="3361771" y="2930121"/>
            <a:ext cx="174404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Phone</a:t>
            </a:r>
          </a:p>
        </p:txBody>
      </p:sp>
      <p:sp>
        <p:nvSpPr>
          <p:cNvPr id="83" name="Mobile_1" descr="PitchPerfect|Biox5|Mobile_1">
            <a:extLst>
              <a:ext uri="{FF2B5EF4-FFF2-40B4-BE49-F238E27FC236}">
                <a16:creationId xmlns:a16="http://schemas.microsoft.com/office/drawing/2014/main" id="{79D4EC9D-D3F2-48AF-A60F-36C4BC0FE175}"/>
              </a:ext>
            </a:extLst>
          </p:cNvPr>
          <p:cNvSpPr>
            <a:spLocks noGrp="1"/>
          </p:cNvSpPr>
          <p:nvPr>
            <p:ph type="body" sz="quarter" idx="61" hasCustomPrompt="1"/>
          </p:nvPr>
        </p:nvSpPr>
        <p:spPr>
          <a:xfrm>
            <a:off x="5099692" y="2930121"/>
            <a:ext cx="1742746"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Mobile</a:t>
            </a:r>
          </a:p>
        </p:txBody>
      </p:sp>
      <p:sp>
        <p:nvSpPr>
          <p:cNvPr id="84" name="Email_1" descr="PitchPerfect|Biox5|Email_1">
            <a:extLst>
              <a:ext uri="{FF2B5EF4-FFF2-40B4-BE49-F238E27FC236}">
                <a16:creationId xmlns:a16="http://schemas.microsoft.com/office/drawing/2014/main" id="{11B48B46-8BAA-4A9D-B08E-E36AC8C1475F}"/>
              </a:ext>
            </a:extLst>
          </p:cNvPr>
          <p:cNvSpPr>
            <a:spLocks noGrp="1"/>
          </p:cNvSpPr>
          <p:nvPr>
            <p:ph type="body" sz="quarter" idx="62" hasCustomPrompt="1"/>
          </p:nvPr>
        </p:nvSpPr>
        <p:spPr>
          <a:xfrm>
            <a:off x="3367691" y="3098021"/>
            <a:ext cx="316593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Email</a:t>
            </a:r>
          </a:p>
        </p:txBody>
      </p:sp>
      <p:sp>
        <p:nvSpPr>
          <p:cNvPr id="88" name="Practice_1" descr="PitchPerfect|Biox5|Practice_1">
            <a:extLst>
              <a:ext uri="{FF2B5EF4-FFF2-40B4-BE49-F238E27FC236}">
                <a16:creationId xmlns:a16="http://schemas.microsoft.com/office/drawing/2014/main" id="{BFDE612D-2458-4C84-B7CB-02629888CEDA}"/>
              </a:ext>
            </a:extLst>
          </p:cNvPr>
          <p:cNvSpPr>
            <a:spLocks noGrp="1"/>
          </p:cNvSpPr>
          <p:nvPr>
            <p:ph type="body" sz="quarter" idx="63" hasCustomPrompt="1"/>
          </p:nvPr>
        </p:nvSpPr>
        <p:spPr>
          <a:xfrm>
            <a:off x="3198941" y="2764463"/>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Practice</a:t>
            </a:r>
          </a:p>
        </p:txBody>
      </p:sp>
      <p:sp>
        <p:nvSpPr>
          <p:cNvPr id="90" name="Name" descr="PitchPerfect|Biox5|Name">
            <a:extLst>
              <a:ext uri="{FF2B5EF4-FFF2-40B4-BE49-F238E27FC236}">
                <a16:creationId xmlns:a16="http://schemas.microsoft.com/office/drawing/2014/main" id="{526176AD-FADE-4221-A39D-3D8ABF3E98A7}"/>
              </a:ext>
            </a:extLst>
          </p:cNvPr>
          <p:cNvSpPr>
            <a:spLocks noGrp="1"/>
          </p:cNvSpPr>
          <p:nvPr>
            <p:ph type="body" sz="quarter" idx="65" hasCustomPrompt="1"/>
          </p:nvPr>
        </p:nvSpPr>
        <p:spPr>
          <a:xfrm>
            <a:off x="3198941" y="1478857"/>
            <a:ext cx="3503559" cy="153888"/>
          </a:xfrm>
          <a:prstGeom prst="rect">
            <a:avLst/>
          </a:prstGeom>
        </p:spPr>
        <p:txBody>
          <a:bodyPr bIns="0">
            <a:spAutoFit/>
          </a:bodyPr>
          <a:lstStyle>
            <a:lvl1pPr marL="0" indent="0">
              <a:buNone/>
              <a:defRPr sz="1000" b="1">
                <a:solidFill>
                  <a:srgbClr val="000000"/>
                </a:solidFill>
                <a:latin typeface="Corporate S" pitchFamily="50" charset="0"/>
              </a:defRPr>
            </a:lvl1pPr>
          </a:lstStyle>
          <a:p>
            <a:pPr lvl="0"/>
            <a:r>
              <a:rPr lang="en-GB" dirty="0"/>
              <a:t>Name</a:t>
            </a:r>
          </a:p>
        </p:txBody>
      </p:sp>
      <p:sp>
        <p:nvSpPr>
          <p:cNvPr id="91" name="Position" descr="PitchPerfect|Biox5|Position">
            <a:extLst>
              <a:ext uri="{FF2B5EF4-FFF2-40B4-BE49-F238E27FC236}">
                <a16:creationId xmlns:a16="http://schemas.microsoft.com/office/drawing/2014/main" id="{4496E9A3-D55D-42E6-916D-F25C83CFDD2C}"/>
              </a:ext>
            </a:extLst>
          </p:cNvPr>
          <p:cNvSpPr>
            <a:spLocks noGrp="1"/>
          </p:cNvSpPr>
          <p:nvPr>
            <p:ph type="body" sz="quarter" idx="66" hasCustomPrompt="1"/>
          </p:nvPr>
        </p:nvSpPr>
        <p:spPr>
          <a:xfrm>
            <a:off x="3198941" y="1629573"/>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Job Title</a:t>
            </a:r>
          </a:p>
        </p:txBody>
      </p:sp>
      <p:sp>
        <p:nvSpPr>
          <p:cNvPr id="92" name="DirectDial" descr="PitchPerfect|Biox5|DirectDial">
            <a:extLst>
              <a:ext uri="{FF2B5EF4-FFF2-40B4-BE49-F238E27FC236}">
                <a16:creationId xmlns:a16="http://schemas.microsoft.com/office/drawing/2014/main" id="{241CBCD0-7D61-4769-AEA7-105049B87AF8}"/>
              </a:ext>
            </a:extLst>
          </p:cNvPr>
          <p:cNvSpPr>
            <a:spLocks noGrp="1"/>
          </p:cNvSpPr>
          <p:nvPr>
            <p:ph type="body" sz="quarter" idx="67" hasCustomPrompt="1"/>
          </p:nvPr>
        </p:nvSpPr>
        <p:spPr>
          <a:xfrm>
            <a:off x="3361771" y="1974786"/>
            <a:ext cx="174404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Phone</a:t>
            </a:r>
          </a:p>
        </p:txBody>
      </p:sp>
      <p:sp>
        <p:nvSpPr>
          <p:cNvPr id="93" name="Mobile" descr="PitchPerfect|Biox5|Mobile">
            <a:extLst>
              <a:ext uri="{FF2B5EF4-FFF2-40B4-BE49-F238E27FC236}">
                <a16:creationId xmlns:a16="http://schemas.microsoft.com/office/drawing/2014/main" id="{C3D10605-6610-4A61-A431-68D7EA88663F}"/>
              </a:ext>
            </a:extLst>
          </p:cNvPr>
          <p:cNvSpPr>
            <a:spLocks noGrp="1"/>
          </p:cNvSpPr>
          <p:nvPr>
            <p:ph type="body" sz="quarter" idx="68" hasCustomPrompt="1"/>
          </p:nvPr>
        </p:nvSpPr>
        <p:spPr>
          <a:xfrm>
            <a:off x="5099692" y="1965359"/>
            <a:ext cx="1742746"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Mobile</a:t>
            </a:r>
          </a:p>
        </p:txBody>
      </p:sp>
      <p:sp>
        <p:nvSpPr>
          <p:cNvPr id="94" name="Email" descr="PitchPerfect|Biox5|Email">
            <a:extLst>
              <a:ext uri="{FF2B5EF4-FFF2-40B4-BE49-F238E27FC236}">
                <a16:creationId xmlns:a16="http://schemas.microsoft.com/office/drawing/2014/main" id="{E2361F58-3A91-4D10-9F82-749CDC9332C2}"/>
              </a:ext>
            </a:extLst>
          </p:cNvPr>
          <p:cNvSpPr>
            <a:spLocks noGrp="1"/>
          </p:cNvSpPr>
          <p:nvPr>
            <p:ph type="body" sz="quarter" idx="69" hasCustomPrompt="1"/>
          </p:nvPr>
        </p:nvSpPr>
        <p:spPr>
          <a:xfrm>
            <a:off x="3367691" y="2133259"/>
            <a:ext cx="3165934" cy="153888"/>
          </a:xfrm>
          <a:prstGeom prst="rect">
            <a:avLst/>
          </a:prstGeom>
        </p:spPr>
        <p:txBody>
          <a:bodyPr bIns="0">
            <a:spAutoFit/>
          </a:bodyPr>
          <a:lstStyle>
            <a:lvl1pPr marL="0" indent="0">
              <a:buNone/>
              <a:defRPr sz="1000" b="0">
                <a:solidFill>
                  <a:schemeClr val="tx1"/>
                </a:solidFill>
                <a:latin typeface="Corporate S" pitchFamily="50" charset="0"/>
              </a:defRPr>
            </a:lvl1pPr>
          </a:lstStyle>
          <a:p>
            <a:pPr lvl="0"/>
            <a:r>
              <a:rPr lang="en-GB" dirty="0"/>
              <a:t>Email</a:t>
            </a:r>
          </a:p>
        </p:txBody>
      </p:sp>
      <p:sp>
        <p:nvSpPr>
          <p:cNvPr id="98" name="Practice" descr="PitchPerfect|Biox5|Practice">
            <a:extLst>
              <a:ext uri="{FF2B5EF4-FFF2-40B4-BE49-F238E27FC236}">
                <a16:creationId xmlns:a16="http://schemas.microsoft.com/office/drawing/2014/main" id="{75F62851-2DA1-4D17-AEE5-E5A932C15DE4}"/>
              </a:ext>
            </a:extLst>
          </p:cNvPr>
          <p:cNvSpPr>
            <a:spLocks noGrp="1"/>
          </p:cNvSpPr>
          <p:nvPr>
            <p:ph type="body" sz="quarter" idx="70" hasCustomPrompt="1"/>
          </p:nvPr>
        </p:nvSpPr>
        <p:spPr>
          <a:xfrm>
            <a:off x="3198941" y="1797797"/>
            <a:ext cx="3503559" cy="226591"/>
          </a:xfrm>
          <a:prstGeom prst="rect">
            <a:avLst/>
          </a:prstGeom>
        </p:spPr>
        <p:txBody>
          <a:bodyPr>
            <a:spAutoFit/>
          </a:bodyPr>
          <a:lstStyle>
            <a:lvl1pPr marL="0" indent="0">
              <a:buNone/>
              <a:defRPr sz="1000" b="0">
                <a:solidFill>
                  <a:srgbClr val="191919"/>
                </a:solidFill>
                <a:latin typeface="+mj-lt"/>
              </a:defRPr>
            </a:lvl1pPr>
          </a:lstStyle>
          <a:p>
            <a:pPr lvl="0"/>
            <a:r>
              <a:rPr lang="en-GB" dirty="0"/>
              <a:t>Practice</a:t>
            </a:r>
          </a:p>
        </p:txBody>
      </p:sp>
      <p:sp>
        <p:nvSpPr>
          <p:cNvPr id="57" name="PP_E" descr="PitchPerfect|Biox5|PP_E">
            <a:extLst>
              <a:ext uri="{FF2B5EF4-FFF2-40B4-BE49-F238E27FC236}">
                <a16:creationId xmlns:a16="http://schemas.microsoft.com/office/drawing/2014/main" id="{14933961-C342-41D7-B440-FA8602F62FB5}"/>
              </a:ext>
            </a:extLst>
          </p:cNvPr>
          <p:cNvSpPr>
            <a:spLocks noGrp="1"/>
          </p:cNvSpPr>
          <p:nvPr>
            <p:ph type="body" sz="quarter" idx="71" hasCustomPrompt="1"/>
          </p:nvPr>
        </p:nvSpPr>
        <p:spPr>
          <a:xfrm>
            <a:off x="3206262" y="2111908"/>
            <a:ext cx="177231" cy="184666"/>
          </a:xfrm>
        </p:spPr>
        <p:txBody>
          <a:bodyPr wrap="square" bIns="0">
            <a:spAutoFit/>
          </a:bodyPr>
          <a:lstStyle>
            <a:lvl1pPr>
              <a:defRPr sz="1200" b="1"/>
            </a:lvl1pPr>
          </a:lstStyle>
          <a:p>
            <a:pPr lvl="0"/>
            <a:r>
              <a:rPr lang="en-US" dirty="0"/>
              <a:t>E</a:t>
            </a:r>
            <a:endParaRPr lang="en-GB" dirty="0"/>
          </a:p>
        </p:txBody>
      </p:sp>
      <p:sp>
        <p:nvSpPr>
          <p:cNvPr id="58" name="PP_M" descr="PitchPerfect|Biox5|PP_M">
            <a:extLst>
              <a:ext uri="{FF2B5EF4-FFF2-40B4-BE49-F238E27FC236}">
                <a16:creationId xmlns:a16="http://schemas.microsoft.com/office/drawing/2014/main" id="{2A44AED7-2E9A-4950-929A-9FCE6592F1FA}"/>
              </a:ext>
            </a:extLst>
          </p:cNvPr>
          <p:cNvSpPr>
            <a:spLocks noGrp="1"/>
          </p:cNvSpPr>
          <p:nvPr>
            <p:ph type="body" sz="quarter" idx="72" hasCustomPrompt="1"/>
          </p:nvPr>
        </p:nvSpPr>
        <p:spPr>
          <a:xfrm>
            <a:off x="4882767" y="1944008"/>
            <a:ext cx="177231" cy="184666"/>
          </a:xfrm>
        </p:spPr>
        <p:txBody>
          <a:bodyPr wrap="square" bIns="0">
            <a:spAutoFit/>
          </a:bodyPr>
          <a:lstStyle>
            <a:lvl1pPr>
              <a:defRPr sz="1200" b="1"/>
            </a:lvl1pPr>
          </a:lstStyle>
          <a:p>
            <a:pPr lvl="0"/>
            <a:r>
              <a:rPr lang="en-US" dirty="0"/>
              <a:t>M</a:t>
            </a:r>
            <a:endParaRPr lang="en-GB" dirty="0"/>
          </a:p>
        </p:txBody>
      </p:sp>
      <p:sp>
        <p:nvSpPr>
          <p:cNvPr id="59" name="PP_T" descr="PitchPerfect|Biox5|PP_T">
            <a:extLst>
              <a:ext uri="{FF2B5EF4-FFF2-40B4-BE49-F238E27FC236}">
                <a16:creationId xmlns:a16="http://schemas.microsoft.com/office/drawing/2014/main" id="{D3D7BB4A-3595-408A-919F-57C116962D89}"/>
              </a:ext>
            </a:extLst>
          </p:cNvPr>
          <p:cNvSpPr>
            <a:spLocks noGrp="1"/>
          </p:cNvSpPr>
          <p:nvPr>
            <p:ph type="body" sz="quarter" idx="73" hasCustomPrompt="1"/>
          </p:nvPr>
        </p:nvSpPr>
        <p:spPr>
          <a:xfrm>
            <a:off x="3206262" y="1944008"/>
            <a:ext cx="177231" cy="184666"/>
          </a:xfrm>
        </p:spPr>
        <p:txBody>
          <a:bodyPr wrap="square" bIns="0">
            <a:spAutoFit/>
          </a:bodyPr>
          <a:lstStyle>
            <a:lvl1pPr>
              <a:defRPr sz="1200" b="1"/>
            </a:lvl1pPr>
          </a:lstStyle>
          <a:p>
            <a:pPr lvl="0"/>
            <a:r>
              <a:rPr lang="en-US" dirty="0"/>
              <a:t>T</a:t>
            </a:r>
            <a:endParaRPr lang="en-GB" dirty="0"/>
          </a:p>
        </p:txBody>
      </p:sp>
      <p:sp>
        <p:nvSpPr>
          <p:cNvPr id="60" name="PP_E_1" descr="PitchPerfect|Biox5|PP_E_1">
            <a:extLst>
              <a:ext uri="{FF2B5EF4-FFF2-40B4-BE49-F238E27FC236}">
                <a16:creationId xmlns:a16="http://schemas.microsoft.com/office/drawing/2014/main" id="{20AABAAB-3D56-4F70-A5FD-E70BC657A172}"/>
              </a:ext>
            </a:extLst>
          </p:cNvPr>
          <p:cNvSpPr>
            <a:spLocks noGrp="1"/>
          </p:cNvSpPr>
          <p:nvPr>
            <p:ph type="body" sz="quarter" idx="74" hasCustomPrompt="1"/>
          </p:nvPr>
        </p:nvSpPr>
        <p:spPr>
          <a:xfrm>
            <a:off x="3215045" y="3076670"/>
            <a:ext cx="177231" cy="184666"/>
          </a:xfrm>
        </p:spPr>
        <p:txBody>
          <a:bodyPr wrap="square" bIns="0">
            <a:spAutoFit/>
          </a:bodyPr>
          <a:lstStyle>
            <a:lvl1pPr>
              <a:defRPr sz="1200" b="1"/>
            </a:lvl1pPr>
          </a:lstStyle>
          <a:p>
            <a:pPr lvl="0"/>
            <a:r>
              <a:rPr lang="en-US" dirty="0"/>
              <a:t>E</a:t>
            </a:r>
            <a:endParaRPr lang="en-GB" dirty="0"/>
          </a:p>
        </p:txBody>
      </p:sp>
      <p:sp>
        <p:nvSpPr>
          <p:cNvPr id="61" name="PP_M_1" descr="PitchPerfect|Biox5|PP_M_1">
            <a:extLst>
              <a:ext uri="{FF2B5EF4-FFF2-40B4-BE49-F238E27FC236}">
                <a16:creationId xmlns:a16="http://schemas.microsoft.com/office/drawing/2014/main" id="{F423B5BA-12DF-4256-A6EA-4EA3A321201F}"/>
              </a:ext>
            </a:extLst>
          </p:cNvPr>
          <p:cNvSpPr>
            <a:spLocks noGrp="1"/>
          </p:cNvSpPr>
          <p:nvPr>
            <p:ph type="body" sz="quarter" idx="75" hasCustomPrompt="1"/>
          </p:nvPr>
        </p:nvSpPr>
        <p:spPr>
          <a:xfrm>
            <a:off x="4891549" y="2908770"/>
            <a:ext cx="177231" cy="184666"/>
          </a:xfrm>
        </p:spPr>
        <p:txBody>
          <a:bodyPr wrap="square" bIns="0">
            <a:spAutoFit/>
          </a:bodyPr>
          <a:lstStyle>
            <a:lvl1pPr>
              <a:defRPr sz="1200" b="1"/>
            </a:lvl1pPr>
          </a:lstStyle>
          <a:p>
            <a:pPr lvl="0"/>
            <a:r>
              <a:rPr lang="en-US" dirty="0"/>
              <a:t>M</a:t>
            </a:r>
            <a:endParaRPr lang="en-GB" dirty="0"/>
          </a:p>
        </p:txBody>
      </p:sp>
      <p:sp>
        <p:nvSpPr>
          <p:cNvPr id="62" name="PP_T_1" descr="PitchPerfect|Biox5|PP_T_1">
            <a:extLst>
              <a:ext uri="{FF2B5EF4-FFF2-40B4-BE49-F238E27FC236}">
                <a16:creationId xmlns:a16="http://schemas.microsoft.com/office/drawing/2014/main" id="{9B8F7E0B-443F-4625-AD4F-4181A2000A1C}"/>
              </a:ext>
            </a:extLst>
          </p:cNvPr>
          <p:cNvSpPr>
            <a:spLocks noGrp="1"/>
          </p:cNvSpPr>
          <p:nvPr>
            <p:ph type="body" sz="quarter" idx="76" hasCustomPrompt="1"/>
          </p:nvPr>
        </p:nvSpPr>
        <p:spPr>
          <a:xfrm>
            <a:off x="3215045" y="2908770"/>
            <a:ext cx="177231" cy="184666"/>
          </a:xfrm>
        </p:spPr>
        <p:txBody>
          <a:bodyPr wrap="square" bIns="0">
            <a:spAutoFit/>
          </a:bodyPr>
          <a:lstStyle>
            <a:lvl1pPr>
              <a:defRPr sz="1200" b="1"/>
            </a:lvl1pPr>
          </a:lstStyle>
          <a:p>
            <a:pPr lvl="0"/>
            <a:r>
              <a:rPr lang="en-US" dirty="0"/>
              <a:t>T</a:t>
            </a:r>
            <a:endParaRPr lang="en-GB" dirty="0"/>
          </a:p>
        </p:txBody>
      </p:sp>
      <p:sp>
        <p:nvSpPr>
          <p:cNvPr id="63" name="PP_E_2" descr="PitchPerfect|Biox5|PP_E_2">
            <a:extLst>
              <a:ext uri="{FF2B5EF4-FFF2-40B4-BE49-F238E27FC236}">
                <a16:creationId xmlns:a16="http://schemas.microsoft.com/office/drawing/2014/main" id="{79C445E0-A6CE-4240-9769-11E86A570901}"/>
              </a:ext>
            </a:extLst>
          </p:cNvPr>
          <p:cNvSpPr>
            <a:spLocks noGrp="1"/>
          </p:cNvSpPr>
          <p:nvPr>
            <p:ph type="body" sz="quarter" idx="77" hasCustomPrompt="1"/>
          </p:nvPr>
        </p:nvSpPr>
        <p:spPr>
          <a:xfrm>
            <a:off x="3218452" y="4044238"/>
            <a:ext cx="177231" cy="184666"/>
          </a:xfrm>
        </p:spPr>
        <p:txBody>
          <a:bodyPr wrap="square" bIns="0">
            <a:spAutoFit/>
          </a:bodyPr>
          <a:lstStyle>
            <a:lvl1pPr>
              <a:defRPr sz="1200" b="1"/>
            </a:lvl1pPr>
          </a:lstStyle>
          <a:p>
            <a:pPr lvl="0"/>
            <a:r>
              <a:rPr lang="en-US" dirty="0"/>
              <a:t>E</a:t>
            </a:r>
            <a:endParaRPr lang="en-GB" dirty="0"/>
          </a:p>
        </p:txBody>
      </p:sp>
      <p:sp>
        <p:nvSpPr>
          <p:cNvPr id="64" name="PP_M_2" descr="PitchPerfect|Biox5|PP_M_2">
            <a:extLst>
              <a:ext uri="{FF2B5EF4-FFF2-40B4-BE49-F238E27FC236}">
                <a16:creationId xmlns:a16="http://schemas.microsoft.com/office/drawing/2014/main" id="{D7A224BA-D2FC-4671-8E7B-205FF9BFCE3B}"/>
              </a:ext>
            </a:extLst>
          </p:cNvPr>
          <p:cNvSpPr>
            <a:spLocks noGrp="1"/>
          </p:cNvSpPr>
          <p:nvPr>
            <p:ph type="body" sz="quarter" idx="78" hasCustomPrompt="1"/>
          </p:nvPr>
        </p:nvSpPr>
        <p:spPr>
          <a:xfrm>
            <a:off x="4894956" y="3876338"/>
            <a:ext cx="177231" cy="184666"/>
          </a:xfrm>
        </p:spPr>
        <p:txBody>
          <a:bodyPr wrap="square" bIns="0">
            <a:spAutoFit/>
          </a:bodyPr>
          <a:lstStyle>
            <a:lvl1pPr>
              <a:defRPr sz="1200" b="1"/>
            </a:lvl1pPr>
          </a:lstStyle>
          <a:p>
            <a:pPr lvl="0"/>
            <a:r>
              <a:rPr lang="en-US" dirty="0"/>
              <a:t>M</a:t>
            </a:r>
            <a:endParaRPr lang="en-GB" dirty="0"/>
          </a:p>
        </p:txBody>
      </p:sp>
      <p:sp>
        <p:nvSpPr>
          <p:cNvPr id="99" name="PP_T_2" descr="PitchPerfect|Biox5|PP_T_2">
            <a:extLst>
              <a:ext uri="{FF2B5EF4-FFF2-40B4-BE49-F238E27FC236}">
                <a16:creationId xmlns:a16="http://schemas.microsoft.com/office/drawing/2014/main" id="{B8B91760-0BF4-4036-BA47-7E3D30D69355}"/>
              </a:ext>
            </a:extLst>
          </p:cNvPr>
          <p:cNvSpPr>
            <a:spLocks noGrp="1"/>
          </p:cNvSpPr>
          <p:nvPr>
            <p:ph type="body" sz="quarter" idx="79" hasCustomPrompt="1"/>
          </p:nvPr>
        </p:nvSpPr>
        <p:spPr>
          <a:xfrm>
            <a:off x="3218452" y="3876338"/>
            <a:ext cx="177231" cy="184666"/>
          </a:xfrm>
        </p:spPr>
        <p:txBody>
          <a:bodyPr wrap="square" bIns="0">
            <a:spAutoFit/>
          </a:bodyPr>
          <a:lstStyle>
            <a:lvl1pPr>
              <a:defRPr sz="1200" b="1"/>
            </a:lvl1pPr>
          </a:lstStyle>
          <a:p>
            <a:pPr lvl="0"/>
            <a:r>
              <a:rPr lang="en-US" dirty="0"/>
              <a:t>T</a:t>
            </a:r>
            <a:endParaRPr lang="en-GB" dirty="0"/>
          </a:p>
        </p:txBody>
      </p:sp>
      <p:sp>
        <p:nvSpPr>
          <p:cNvPr id="101" name="PP_E_3" descr="PitchPerfect|Biox5|PP_E_3">
            <a:extLst>
              <a:ext uri="{FF2B5EF4-FFF2-40B4-BE49-F238E27FC236}">
                <a16:creationId xmlns:a16="http://schemas.microsoft.com/office/drawing/2014/main" id="{5E134674-58E7-411E-A1E2-49E46C246502}"/>
              </a:ext>
            </a:extLst>
          </p:cNvPr>
          <p:cNvSpPr>
            <a:spLocks noGrp="1"/>
          </p:cNvSpPr>
          <p:nvPr>
            <p:ph type="body" sz="quarter" idx="80" hasCustomPrompt="1"/>
          </p:nvPr>
        </p:nvSpPr>
        <p:spPr>
          <a:xfrm>
            <a:off x="3211057" y="5014153"/>
            <a:ext cx="177231" cy="184666"/>
          </a:xfrm>
        </p:spPr>
        <p:txBody>
          <a:bodyPr wrap="square" bIns="0">
            <a:spAutoFit/>
          </a:bodyPr>
          <a:lstStyle>
            <a:lvl1pPr>
              <a:defRPr sz="1200" b="1"/>
            </a:lvl1pPr>
          </a:lstStyle>
          <a:p>
            <a:pPr lvl="0"/>
            <a:r>
              <a:rPr lang="en-US" dirty="0"/>
              <a:t>E</a:t>
            </a:r>
            <a:endParaRPr lang="en-GB" dirty="0"/>
          </a:p>
        </p:txBody>
      </p:sp>
      <p:sp>
        <p:nvSpPr>
          <p:cNvPr id="102" name="PP_M_3" descr="PitchPerfect|Biox5|PP_M_3">
            <a:extLst>
              <a:ext uri="{FF2B5EF4-FFF2-40B4-BE49-F238E27FC236}">
                <a16:creationId xmlns:a16="http://schemas.microsoft.com/office/drawing/2014/main" id="{18155AD0-9CC0-401C-BA40-4E34CA593907}"/>
              </a:ext>
            </a:extLst>
          </p:cNvPr>
          <p:cNvSpPr>
            <a:spLocks noGrp="1"/>
          </p:cNvSpPr>
          <p:nvPr>
            <p:ph type="body" sz="quarter" idx="81" hasCustomPrompt="1"/>
          </p:nvPr>
        </p:nvSpPr>
        <p:spPr>
          <a:xfrm>
            <a:off x="4887562" y="4838504"/>
            <a:ext cx="177231" cy="184666"/>
          </a:xfrm>
        </p:spPr>
        <p:txBody>
          <a:bodyPr wrap="square" bIns="0">
            <a:spAutoFit/>
          </a:bodyPr>
          <a:lstStyle>
            <a:lvl1pPr>
              <a:defRPr sz="1200" b="1"/>
            </a:lvl1pPr>
          </a:lstStyle>
          <a:p>
            <a:pPr lvl="0"/>
            <a:r>
              <a:rPr lang="en-US" dirty="0"/>
              <a:t>M</a:t>
            </a:r>
            <a:endParaRPr lang="en-GB" dirty="0"/>
          </a:p>
        </p:txBody>
      </p:sp>
      <p:sp>
        <p:nvSpPr>
          <p:cNvPr id="103" name="PP_T_3" descr="PitchPerfect|Biox5|PP_T_3">
            <a:extLst>
              <a:ext uri="{FF2B5EF4-FFF2-40B4-BE49-F238E27FC236}">
                <a16:creationId xmlns:a16="http://schemas.microsoft.com/office/drawing/2014/main" id="{45715FDD-1AD3-4C7A-A8FF-E49B6C785DD0}"/>
              </a:ext>
            </a:extLst>
          </p:cNvPr>
          <p:cNvSpPr>
            <a:spLocks noGrp="1"/>
          </p:cNvSpPr>
          <p:nvPr>
            <p:ph type="body" sz="quarter" idx="82" hasCustomPrompt="1"/>
          </p:nvPr>
        </p:nvSpPr>
        <p:spPr>
          <a:xfrm>
            <a:off x="3211057" y="4838504"/>
            <a:ext cx="177231" cy="184666"/>
          </a:xfrm>
        </p:spPr>
        <p:txBody>
          <a:bodyPr wrap="square" bIns="0">
            <a:spAutoFit/>
          </a:bodyPr>
          <a:lstStyle>
            <a:lvl1pPr>
              <a:defRPr sz="1200" b="1"/>
            </a:lvl1pPr>
          </a:lstStyle>
          <a:p>
            <a:pPr lvl="0"/>
            <a:r>
              <a:rPr lang="en-US" dirty="0"/>
              <a:t>T</a:t>
            </a:r>
            <a:endParaRPr lang="en-GB" dirty="0"/>
          </a:p>
        </p:txBody>
      </p:sp>
      <p:sp>
        <p:nvSpPr>
          <p:cNvPr id="104" name="PP_E_4" descr="PitchPerfect|Biox5|PP_E_4">
            <a:extLst>
              <a:ext uri="{FF2B5EF4-FFF2-40B4-BE49-F238E27FC236}">
                <a16:creationId xmlns:a16="http://schemas.microsoft.com/office/drawing/2014/main" id="{7C0088C9-6818-4A34-8082-66BE2D971732}"/>
              </a:ext>
            </a:extLst>
          </p:cNvPr>
          <p:cNvSpPr>
            <a:spLocks noGrp="1"/>
          </p:cNvSpPr>
          <p:nvPr>
            <p:ph type="body" sz="quarter" idx="83" hasCustomPrompt="1"/>
          </p:nvPr>
        </p:nvSpPr>
        <p:spPr>
          <a:xfrm>
            <a:off x="3213558" y="5963123"/>
            <a:ext cx="177231" cy="184666"/>
          </a:xfrm>
        </p:spPr>
        <p:txBody>
          <a:bodyPr wrap="square" bIns="0">
            <a:spAutoFit/>
          </a:bodyPr>
          <a:lstStyle>
            <a:lvl1pPr>
              <a:defRPr sz="1200" b="1"/>
            </a:lvl1pPr>
          </a:lstStyle>
          <a:p>
            <a:pPr lvl="0"/>
            <a:r>
              <a:rPr lang="en-US" dirty="0"/>
              <a:t>E</a:t>
            </a:r>
            <a:endParaRPr lang="en-GB" dirty="0"/>
          </a:p>
        </p:txBody>
      </p:sp>
      <p:sp>
        <p:nvSpPr>
          <p:cNvPr id="105" name="PP_M_4" descr="PitchPerfect|Biox5|PP_M_4">
            <a:extLst>
              <a:ext uri="{FF2B5EF4-FFF2-40B4-BE49-F238E27FC236}">
                <a16:creationId xmlns:a16="http://schemas.microsoft.com/office/drawing/2014/main" id="{F4F7EB82-6C78-489D-A007-3847CAE76FA4}"/>
              </a:ext>
            </a:extLst>
          </p:cNvPr>
          <p:cNvSpPr>
            <a:spLocks noGrp="1"/>
          </p:cNvSpPr>
          <p:nvPr>
            <p:ph type="body" sz="quarter" idx="84" hasCustomPrompt="1"/>
          </p:nvPr>
        </p:nvSpPr>
        <p:spPr>
          <a:xfrm>
            <a:off x="4890063" y="5804650"/>
            <a:ext cx="177231" cy="184666"/>
          </a:xfrm>
        </p:spPr>
        <p:txBody>
          <a:bodyPr wrap="square" bIns="0">
            <a:spAutoFit/>
          </a:bodyPr>
          <a:lstStyle>
            <a:lvl1pPr>
              <a:defRPr sz="1200" b="1"/>
            </a:lvl1pPr>
          </a:lstStyle>
          <a:p>
            <a:pPr lvl="0"/>
            <a:r>
              <a:rPr lang="en-US" dirty="0"/>
              <a:t>M</a:t>
            </a:r>
            <a:endParaRPr lang="en-GB" dirty="0"/>
          </a:p>
        </p:txBody>
      </p:sp>
      <p:sp>
        <p:nvSpPr>
          <p:cNvPr id="106" name="PP_T_4" descr="PitchPerfect|Biox5|PP_T_4">
            <a:extLst>
              <a:ext uri="{FF2B5EF4-FFF2-40B4-BE49-F238E27FC236}">
                <a16:creationId xmlns:a16="http://schemas.microsoft.com/office/drawing/2014/main" id="{583FEB62-D430-44AF-BAA9-A43D48F43705}"/>
              </a:ext>
            </a:extLst>
          </p:cNvPr>
          <p:cNvSpPr>
            <a:spLocks noGrp="1"/>
          </p:cNvSpPr>
          <p:nvPr>
            <p:ph type="body" sz="quarter" idx="85" hasCustomPrompt="1"/>
          </p:nvPr>
        </p:nvSpPr>
        <p:spPr>
          <a:xfrm>
            <a:off x="3213558" y="5804650"/>
            <a:ext cx="177231" cy="184666"/>
          </a:xfrm>
        </p:spPr>
        <p:txBody>
          <a:bodyPr wrap="square" bIns="0">
            <a:spAutoFit/>
          </a:bodyPr>
          <a:lstStyle>
            <a:lvl1pPr>
              <a:defRPr sz="1200" b="1"/>
            </a:lvl1pPr>
          </a:lstStyle>
          <a:p>
            <a:pPr lvl="0"/>
            <a:r>
              <a:rPr lang="en-US" dirty="0"/>
              <a:t>T</a:t>
            </a:r>
            <a:endParaRPr lang="en-GB" dirty="0"/>
          </a:p>
        </p:txBody>
      </p:sp>
      <p:sp>
        <p:nvSpPr>
          <p:cNvPr id="3" name="Headshot" descr="PitchPerfect|Biox5|Headshot">
            <a:extLst>
              <a:ext uri="{FF2B5EF4-FFF2-40B4-BE49-F238E27FC236}">
                <a16:creationId xmlns:a16="http://schemas.microsoft.com/office/drawing/2014/main" id="{3028F3FB-C386-4C8C-A4CD-27EB56253F5A}"/>
              </a:ext>
            </a:extLst>
          </p:cNvPr>
          <p:cNvSpPr>
            <a:spLocks noGrp="1"/>
          </p:cNvSpPr>
          <p:nvPr>
            <p:ph type="pic" sz="quarter" idx="86"/>
          </p:nvPr>
        </p:nvSpPr>
        <p:spPr>
          <a:xfrm>
            <a:off x="1709617" y="1462423"/>
            <a:ext cx="1017953" cy="828000"/>
          </a:xfrm>
          <a:prstGeom prst="ellipse">
            <a:avLst/>
          </a:prstGeom>
        </p:spPr>
        <p:txBody>
          <a:bodyPr/>
          <a:lstStyle/>
          <a:p>
            <a:r>
              <a:rPr lang="en-US"/>
              <a:t>Click icon to add picture</a:t>
            </a:r>
            <a:endParaRPr lang="en-GB"/>
          </a:p>
        </p:txBody>
      </p:sp>
      <p:sp>
        <p:nvSpPr>
          <p:cNvPr id="75" name="Headshot_1" descr="PitchPerfect|Biox5|Headshot_1">
            <a:extLst>
              <a:ext uri="{FF2B5EF4-FFF2-40B4-BE49-F238E27FC236}">
                <a16:creationId xmlns:a16="http://schemas.microsoft.com/office/drawing/2014/main" id="{2C26BE30-B49A-4092-BE06-9C8FB124398E}"/>
              </a:ext>
            </a:extLst>
          </p:cNvPr>
          <p:cNvSpPr>
            <a:spLocks noGrp="1"/>
          </p:cNvSpPr>
          <p:nvPr>
            <p:ph type="pic" sz="quarter" idx="87"/>
          </p:nvPr>
        </p:nvSpPr>
        <p:spPr>
          <a:xfrm>
            <a:off x="1709617" y="2434077"/>
            <a:ext cx="1017953" cy="828000"/>
          </a:xfrm>
          <a:prstGeom prst="ellipse">
            <a:avLst/>
          </a:prstGeom>
        </p:spPr>
        <p:txBody>
          <a:bodyPr/>
          <a:lstStyle/>
          <a:p>
            <a:r>
              <a:rPr lang="en-US"/>
              <a:t>Click icon to add picture</a:t>
            </a:r>
            <a:endParaRPr lang="en-GB"/>
          </a:p>
        </p:txBody>
      </p:sp>
      <p:sp>
        <p:nvSpPr>
          <p:cNvPr id="77" name="Headshot_2" descr="PitchPerfect|Biox5|Headshot_2">
            <a:extLst>
              <a:ext uri="{FF2B5EF4-FFF2-40B4-BE49-F238E27FC236}">
                <a16:creationId xmlns:a16="http://schemas.microsoft.com/office/drawing/2014/main" id="{18D6AD68-5004-4E01-8B79-DFACBBAE267E}"/>
              </a:ext>
            </a:extLst>
          </p:cNvPr>
          <p:cNvSpPr>
            <a:spLocks noGrp="1"/>
          </p:cNvSpPr>
          <p:nvPr>
            <p:ph type="pic" sz="quarter" idx="88"/>
          </p:nvPr>
        </p:nvSpPr>
        <p:spPr>
          <a:xfrm>
            <a:off x="1695806" y="3410211"/>
            <a:ext cx="1017953" cy="828000"/>
          </a:xfrm>
          <a:prstGeom prst="ellipse">
            <a:avLst/>
          </a:prstGeom>
        </p:spPr>
        <p:txBody>
          <a:bodyPr/>
          <a:lstStyle/>
          <a:p>
            <a:r>
              <a:rPr lang="en-US"/>
              <a:t>Click icon to add picture</a:t>
            </a:r>
            <a:endParaRPr lang="en-GB"/>
          </a:p>
        </p:txBody>
      </p:sp>
      <p:sp>
        <p:nvSpPr>
          <p:cNvPr id="79" name="Headshot_3" descr="PitchPerfect|Biox5|Headshot_3">
            <a:extLst>
              <a:ext uri="{FF2B5EF4-FFF2-40B4-BE49-F238E27FC236}">
                <a16:creationId xmlns:a16="http://schemas.microsoft.com/office/drawing/2014/main" id="{59617B82-F626-43A6-8166-86FAE0BE23E0}"/>
              </a:ext>
            </a:extLst>
          </p:cNvPr>
          <p:cNvSpPr>
            <a:spLocks noGrp="1"/>
          </p:cNvSpPr>
          <p:nvPr>
            <p:ph type="pic" sz="quarter" idx="89"/>
          </p:nvPr>
        </p:nvSpPr>
        <p:spPr>
          <a:xfrm>
            <a:off x="1697968" y="4377237"/>
            <a:ext cx="1017953" cy="828000"/>
          </a:xfrm>
          <a:prstGeom prst="ellipse">
            <a:avLst/>
          </a:prstGeom>
        </p:spPr>
        <p:txBody>
          <a:bodyPr/>
          <a:lstStyle/>
          <a:p>
            <a:r>
              <a:rPr lang="en-US"/>
              <a:t>Click icon to add picture</a:t>
            </a:r>
            <a:endParaRPr lang="en-GB"/>
          </a:p>
        </p:txBody>
      </p:sp>
      <p:sp>
        <p:nvSpPr>
          <p:cNvPr id="85" name="Headshot_4" descr="PitchPerfect|Biox5|Headshot_4">
            <a:extLst>
              <a:ext uri="{FF2B5EF4-FFF2-40B4-BE49-F238E27FC236}">
                <a16:creationId xmlns:a16="http://schemas.microsoft.com/office/drawing/2014/main" id="{4F310280-C9CD-43BB-9D42-22CFD5183938}"/>
              </a:ext>
            </a:extLst>
          </p:cNvPr>
          <p:cNvSpPr>
            <a:spLocks noGrp="1"/>
          </p:cNvSpPr>
          <p:nvPr>
            <p:ph type="pic" sz="quarter" idx="90"/>
          </p:nvPr>
        </p:nvSpPr>
        <p:spPr>
          <a:xfrm>
            <a:off x="1709617" y="5337304"/>
            <a:ext cx="1017953" cy="828000"/>
          </a:xfrm>
          <a:prstGeom prst="ellipse">
            <a:avLst/>
          </a:prstGeom>
        </p:spPr>
        <p:txBody>
          <a:bodyPr/>
          <a:lstStyle/>
          <a:p>
            <a:r>
              <a:rPr lang="en-US"/>
              <a:t>Click icon to add picture</a:t>
            </a:r>
            <a:endParaRPr lang="en-GB"/>
          </a:p>
        </p:txBody>
      </p:sp>
    </p:spTree>
    <p:extLst>
      <p:ext uri="{BB962C8B-B14F-4D97-AF65-F5344CB8AC3E}">
        <p14:creationId xmlns:p14="http://schemas.microsoft.com/office/powerpoint/2010/main" val="675940810"/>
      </p:ext>
    </p:extLst>
  </p:cSld>
  <p:clrMapOvr>
    <a:masterClrMapping/>
  </p:clrMapOvr>
  <p:extLst>
    <p:ext uri="{DCECCB84-F9BA-43D5-87BE-67443E8EF086}">
      <p15:sldGuideLst xmlns:p15="http://schemas.microsoft.com/office/powerpoint/2012/main">
        <p15:guide id="1" pos="852">
          <p15:clr>
            <a:srgbClr val="FBAE40"/>
          </p15:clr>
        </p15:guide>
        <p15:guide id="2" pos="1396">
          <p15:clr>
            <a:srgbClr val="FBAE40"/>
          </p15:clr>
        </p15:guide>
        <p15:guide id="3" orient="horz" pos="343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ey Contacts - 5 Contacts (2/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B2CFE02-F9D8-42E4-8799-836680991BEF}"/>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Name" descr="PitchPerfect|Biox3|Name">
            <a:extLst>
              <a:ext uri="{FF2B5EF4-FFF2-40B4-BE49-F238E27FC236}">
                <a16:creationId xmlns:a16="http://schemas.microsoft.com/office/drawing/2014/main" id="{4C92491C-E914-4F08-A28D-CF8451143A47}"/>
              </a:ext>
            </a:extLst>
          </p:cNvPr>
          <p:cNvSpPr>
            <a:spLocks noGrp="1"/>
          </p:cNvSpPr>
          <p:nvPr>
            <p:ph type="body" sz="quarter" idx="22" hasCustomPrompt="1"/>
          </p:nvPr>
        </p:nvSpPr>
        <p:spPr>
          <a:xfrm>
            <a:off x="788543" y="1412777"/>
            <a:ext cx="3278769" cy="257369"/>
          </a:xfrm>
          <a:prstGeom prst="rect">
            <a:avLst/>
          </a:prstGeom>
        </p:spPr>
        <p:txBody>
          <a:bodyPr>
            <a:spAutoFit/>
          </a:bodyPr>
          <a:lstStyle>
            <a:lvl1pPr marL="0" indent="0">
              <a:buNone/>
              <a:defRPr sz="1200" b="1">
                <a:solidFill>
                  <a:srgbClr val="000000"/>
                </a:solidFill>
                <a:latin typeface="+mj-lt"/>
              </a:defRPr>
            </a:lvl1pPr>
          </a:lstStyle>
          <a:p>
            <a:pPr lvl="0"/>
            <a:r>
              <a:rPr lang="en-GB" dirty="0"/>
              <a:t>Name</a:t>
            </a:r>
          </a:p>
        </p:txBody>
      </p:sp>
      <p:sp>
        <p:nvSpPr>
          <p:cNvPr id="8" name="JobTitlePractice" descr="PitchPerfect|Biox3|JobTitlePractice">
            <a:extLst>
              <a:ext uri="{FF2B5EF4-FFF2-40B4-BE49-F238E27FC236}">
                <a16:creationId xmlns:a16="http://schemas.microsoft.com/office/drawing/2014/main" id="{A9DB4A83-286E-4E52-90DF-7F7A98A90837}"/>
              </a:ext>
            </a:extLst>
          </p:cNvPr>
          <p:cNvSpPr>
            <a:spLocks noGrp="1"/>
          </p:cNvSpPr>
          <p:nvPr>
            <p:ph type="body" sz="quarter" idx="40" hasCustomPrompt="1"/>
          </p:nvPr>
        </p:nvSpPr>
        <p:spPr>
          <a:xfrm>
            <a:off x="788543" y="1745798"/>
            <a:ext cx="3278769" cy="257369"/>
          </a:xfrm>
          <a:prstGeom prst="rect">
            <a:avLst/>
          </a:prstGeom>
        </p:spPr>
        <p:txBody>
          <a:bodyPr>
            <a:spAutoFit/>
          </a:bodyPr>
          <a:lstStyle>
            <a:lvl1pPr marL="0" indent="0" algn="l">
              <a:spcBef>
                <a:spcPts val="0"/>
              </a:spcBef>
              <a:buNone/>
              <a:defRPr sz="1200" b="0">
                <a:solidFill>
                  <a:srgbClr val="191919"/>
                </a:solidFill>
                <a:latin typeface="+mj-lt"/>
              </a:defRPr>
            </a:lvl1pPr>
          </a:lstStyle>
          <a:p>
            <a:pPr lvl="0"/>
            <a:r>
              <a:rPr lang="en-GB" dirty="0"/>
              <a:t>Practice</a:t>
            </a:r>
          </a:p>
        </p:txBody>
      </p:sp>
      <p:sp>
        <p:nvSpPr>
          <p:cNvPr id="9" name="ShortBio" descr="PitchPerfect|Biox3|ShortBio">
            <a:extLst>
              <a:ext uri="{FF2B5EF4-FFF2-40B4-BE49-F238E27FC236}">
                <a16:creationId xmlns:a16="http://schemas.microsoft.com/office/drawing/2014/main" id="{32FDB86F-5278-4294-80A2-53F12879EDE7}"/>
              </a:ext>
            </a:extLst>
          </p:cNvPr>
          <p:cNvSpPr>
            <a:spLocks noGrp="1"/>
          </p:cNvSpPr>
          <p:nvPr>
            <p:ph type="body" sz="quarter" idx="21"/>
          </p:nvPr>
        </p:nvSpPr>
        <p:spPr>
          <a:xfrm>
            <a:off x="788543" y="2385541"/>
            <a:ext cx="3278769" cy="3779763"/>
          </a:xfrm>
          <a:prstGeom prst="rect">
            <a:avLst/>
          </a:prstGeom>
        </p:spPr>
        <p:txBody>
          <a:bodyPr/>
          <a:lstStyle>
            <a:lvl1pPr>
              <a:defRPr sz="1100" b="0">
                <a:solidFill>
                  <a:schemeClr val="tx1"/>
                </a:solidFill>
                <a:latin typeface="+mn-lt"/>
              </a:defRPr>
            </a:lvl1pPr>
          </a:lstStyle>
          <a:p>
            <a:pPr lvl="0"/>
            <a:r>
              <a:rPr lang="en-US"/>
              <a:t>Edit Master text styles</a:t>
            </a:r>
          </a:p>
        </p:txBody>
      </p:sp>
      <p:sp>
        <p:nvSpPr>
          <p:cNvPr id="10" name="ShortBio_1" descr="PitchPerfect|Biox3|ShortBio_1">
            <a:extLst>
              <a:ext uri="{FF2B5EF4-FFF2-40B4-BE49-F238E27FC236}">
                <a16:creationId xmlns:a16="http://schemas.microsoft.com/office/drawing/2014/main" id="{7574A23C-8993-4369-B069-2089E6EAFFC1}"/>
              </a:ext>
            </a:extLst>
          </p:cNvPr>
          <p:cNvSpPr>
            <a:spLocks noGrp="1"/>
          </p:cNvSpPr>
          <p:nvPr>
            <p:ph type="body" sz="quarter" idx="41"/>
          </p:nvPr>
        </p:nvSpPr>
        <p:spPr>
          <a:xfrm>
            <a:off x="4456616" y="2385541"/>
            <a:ext cx="3278769" cy="3779762"/>
          </a:xfrm>
          <a:prstGeom prst="rect">
            <a:avLst/>
          </a:prstGeom>
        </p:spPr>
        <p:txBody>
          <a:bodyPr/>
          <a:lstStyle>
            <a:lvl1pPr>
              <a:defRPr sz="1100" b="0">
                <a:solidFill>
                  <a:schemeClr val="tx1"/>
                </a:solidFill>
                <a:latin typeface="+mn-lt"/>
              </a:defRPr>
            </a:lvl1pPr>
          </a:lstStyle>
          <a:p>
            <a:pPr lvl="0"/>
            <a:r>
              <a:rPr lang="en-US"/>
              <a:t>Edit Master text styles</a:t>
            </a:r>
          </a:p>
        </p:txBody>
      </p:sp>
      <p:sp>
        <p:nvSpPr>
          <p:cNvPr id="11" name="ShortBio_2" descr="PitchPerfect|Biox3|ShortBio_2">
            <a:extLst>
              <a:ext uri="{FF2B5EF4-FFF2-40B4-BE49-F238E27FC236}">
                <a16:creationId xmlns:a16="http://schemas.microsoft.com/office/drawing/2014/main" id="{CA6D3113-0068-428C-A76F-D02F1003CE2A}"/>
              </a:ext>
            </a:extLst>
          </p:cNvPr>
          <p:cNvSpPr>
            <a:spLocks noGrp="1"/>
          </p:cNvSpPr>
          <p:nvPr>
            <p:ph type="body" sz="quarter" idx="42"/>
          </p:nvPr>
        </p:nvSpPr>
        <p:spPr>
          <a:xfrm>
            <a:off x="8124688" y="2385541"/>
            <a:ext cx="3278769" cy="3779763"/>
          </a:xfrm>
          <a:prstGeom prst="rect">
            <a:avLst/>
          </a:prstGeom>
        </p:spPr>
        <p:txBody>
          <a:bodyPr/>
          <a:lstStyle>
            <a:lvl1pPr>
              <a:defRPr sz="1100" b="0">
                <a:solidFill>
                  <a:schemeClr val="tx1"/>
                </a:solidFill>
                <a:latin typeface="+mn-lt"/>
              </a:defRPr>
            </a:lvl1pPr>
          </a:lstStyle>
          <a:p>
            <a:pPr lvl="0"/>
            <a:r>
              <a:rPr lang="en-US"/>
              <a:t>Edit Master text styles</a:t>
            </a:r>
          </a:p>
        </p:txBody>
      </p:sp>
      <p:sp>
        <p:nvSpPr>
          <p:cNvPr id="12" name="Name_1" descr="PitchPerfect|Biox3|Name_1">
            <a:extLst>
              <a:ext uri="{FF2B5EF4-FFF2-40B4-BE49-F238E27FC236}">
                <a16:creationId xmlns:a16="http://schemas.microsoft.com/office/drawing/2014/main" id="{EB43EF6D-33D6-470E-B108-8C2F2E4D8589}"/>
              </a:ext>
            </a:extLst>
          </p:cNvPr>
          <p:cNvSpPr>
            <a:spLocks noGrp="1"/>
          </p:cNvSpPr>
          <p:nvPr>
            <p:ph type="body" sz="quarter" idx="43" hasCustomPrompt="1"/>
          </p:nvPr>
        </p:nvSpPr>
        <p:spPr>
          <a:xfrm>
            <a:off x="4456616" y="1412777"/>
            <a:ext cx="3278769" cy="257369"/>
          </a:xfrm>
          <a:prstGeom prst="rect">
            <a:avLst/>
          </a:prstGeom>
        </p:spPr>
        <p:txBody>
          <a:bodyPr>
            <a:spAutoFit/>
          </a:bodyPr>
          <a:lstStyle>
            <a:lvl1pPr marL="0" indent="0">
              <a:buNone/>
              <a:defRPr sz="1200" b="1">
                <a:solidFill>
                  <a:srgbClr val="000000"/>
                </a:solidFill>
                <a:latin typeface="+mj-lt"/>
              </a:defRPr>
            </a:lvl1pPr>
          </a:lstStyle>
          <a:p>
            <a:pPr lvl="0"/>
            <a:r>
              <a:rPr lang="en-GB" dirty="0"/>
              <a:t>Name</a:t>
            </a:r>
          </a:p>
        </p:txBody>
      </p:sp>
      <p:sp>
        <p:nvSpPr>
          <p:cNvPr id="13" name="JobTitlePractice_1" descr="PitchPerfect|Biox3|JobTitlePractice_1">
            <a:extLst>
              <a:ext uri="{FF2B5EF4-FFF2-40B4-BE49-F238E27FC236}">
                <a16:creationId xmlns:a16="http://schemas.microsoft.com/office/drawing/2014/main" id="{9327F61E-A359-4136-850E-C6985FC09518}"/>
              </a:ext>
            </a:extLst>
          </p:cNvPr>
          <p:cNvSpPr>
            <a:spLocks noGrp="1"/>
          </p:cNvSpPr>
          <p:nvPr>
            <p:ph type="body" sz="quarter" idx="44" hasCustomPrompt="1"/>
          </p:nvPr>
        </p:nvSpPr>
        <p:spPr>
          <a:xfrm>
            <a:off x="4456616" y="1745798"/>
            <a:ext cx="3278769" cy="257369"/>
          </a:xfrm>
          <a:prstGeom prst="rect">
            <a:avLst/>
          </a:prstGeom>
        </p:spPr>
        <p:txBody>
          <a:bodyPr>
            <a:spAutoFit/>
          </a:bodyPr>
          <a:lstStyle>
            <a:lvl1pPr marL="0" indent="0" algn="l">
              <a:spcBef>
                <a:spcPts val="0"/>
              </a:spcBef>
              <a:buNone/>
              <a:defRPr sz="1200" b="0">
                <a:solidFill>
                  <a:srgbClr val="191919"/>
                </a:solidFill>
                <a:latin typeface="+mj-lt"/>
              </a:defRPr>
            </a:lvl1pPr>
          </a:lstStyle>
          <a:p>
            <a:pPr lvl="0"/>
            <a:r>
              <a:rPr lang="en-GB" dirty="0"/>
              <a:t>Practice</a:t>
            </a:r>
          </a:p>
        </p:txBody>
      </p:sp>
      <p:sp>
        <p:nvSpPr>
          <p:cNvPr id="14" name="Name_2" descr="PitchPerfect|Biox3|Name_2">
            <a:extLst>
              <a:ext uri="{FF2B5EF4-FFF2-40B4-BE49-F238E27FC236}">
                <a16:creationId xmlns:a16="http://schemas.microsoft.com/office/drawing/2014/main" id="{7B934C75-ADFB-43A1-9E7E-63E3431A3265}"/>
              </a:ext>
            </a:extLst>
          </p:cNvPr>
          <p:cNvSpPr>
            <a:spLocks noGrp="1"/>
          </p:cNvSpPr>
          <p:nvPr>
            <p:ph type="body" sz="quarter" idx="45" hasCustomPrompt="1"/>
          </p:nvPr>
        </p:nvSpPr>
        <p:spPr>
          <a:xfrm>
            <a:off x="8135600" y="1412777"/>
            <a:ext cx="3278769" cy="257369"/>
          </a:xfrm>
          <a:prstGeom prst="rect">
            <a:avLst/>
          </a:prstGeom>
        </p:spPr>
        <p:txBody>
          <a:bodyPr>
            <a:spAutoFit/>
          </a:bodyPr>
          <a:lstStyle>
            <a:lvl1pPr marL="0" indent="0">
              <a:buNone/>
              <a:defRPr sz="1200" b="1">
                <a:solidFill>
                  <a:srgbClr val="000000"/>
                </a:solidFill>
                <a:latin typeface="+mj-lt"/>
              </a:defRPr>
            </a:lvl1pPr>
          </a:lstStyle>
          <a:p>
            <a:pPr lvl="0"/>
            <a:r>
              <a:rPr lang="en-GB" dirty="0"/>
              <a:t>Name</a:t>
            </a:r>
          </a:p>
        </p:txBody>
      </p:sp>
      <p:sp>
        <p:nvSpPr>
          <p:cNvPr id="15" name="JobTitlePractice_2" descr="PitchPerfect|Biox3|JobTitlePractice_2">
            <a:extLst>
              <a:ext uri="{FF2B5EF4-FFF2-40B4-BE49-F238E27FC236}">
                <a16:creationId xmlns:a16="http://schemas.microsoft.com/office/drawing/2014/main" id="{237D2895-9715-4C70-8AD0-A04E84EBAEF3}"/>
              </a:ext>
            </a:extLst>
          </p:cNvPr>
          <p:cNvSpPr>
            <a:spLocks noGrp="1"/>
          </p:cNvSpPr>
          <p:nvPr>
            <p:ph type="body" sz="quarter" idx="46" hasCustomPrompt="1"/>
          </p:nvPr>
        </p:nvSpPr>
        <p:spPr>
          <a:xfrm>
            <a:off x="8135600" y="1750450"/>
            <a:ext cx="3278769" cy="257369"/>
          </a:xfrm>
          <a:prstGeom prst="rect">
            <a:avLst/>
          </a:prstGeom>
        </p:spPr>
        <p:txBody>
          <a:bodyPr>
            <a:spAutoFit/>
          </a:bodyPr>
          <a:lstStyle>
            <a:lvl1pPr marL="0" indent="0" algn="l">
              <a:spcBef>
                <a:spcPts val="0"/>
              </a:spcBef>
              <a:buNone/>
              <a:defRPr sz="1200" b="0">
                <a:solidFill>
                  <a:srgbClr val="191919"/>
                </a:solidFill>
                <a:latin typeface="+mj-lt"/>
              </a:defRPr>
            </a:lvl1pPr>
          </a:lstStyle>
          <a:p>
            <a:pPr lvl="0"/>
            <a:r>
              <a:rPr lang="en-GB" dirty="0"/>
              <a:t>Practice</a:t>
            </a:r>
          </a:p>
        </p:txBody>
      </p:sp>
      <p:sp>
        <p:nvSpPr>
          <p:cNvPr id="17" name="KeyContactsHeading" descr="PitchPerfect|Biox3|KeyContactsHeading">
            <a:extLst>
              <a:ext uri="{FF2B5EF4-FFF2-40B4-BE49-F238E27FC236}">
                <a16:creationId xmlns:a16="http://schemas.microsoft.com/office/drawing/2014/main" id="{3B0B3290-297F-4546-9A97-98CE8BADE5E0}"/>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11332001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actice Area (2/2)">
    <p:spTree>
      <p:nvGrpSpPr>
        <p:cNvPr id="1" name=""/>
        <p:cNvGrpSpPr/>
        <p:nvPr/>
      </p:nvGrpSpPr>
      <p:grpSpPr>
        <a:xfrm>
          <a:off x="0" y="0"/>
          <a:ext cx="0" cy="0"/>
          <a:chOff x="0" y="0"/>
          <a:chExt cx="0" cy="0"/>
        </a:xfrm>
      </p:grpSpPr>
      <p:sp>
        <p:nvSpPr>
          <p:cNvPr id="23" name="Rectangle: Single Corner Snipped 10">
            <a:extLst>
              <a:ext uri="{FF2B5EF4-FFF2-40B4-BE49-F238E27FC236}">
                <a16:creationId xmlns:a16="http://schemas.microsoft.com/office/drawing/2014/main" id="{0492A410-AEDC-4700-8EDD-E54EBA7A1AF3}"/>
              </a:ext>
            </a:extLst>
          </p:cNvPr>
          <p:cNvSpPr/>
          <p:nvPr userDrawn="1"/>
        </p:nvSpPr>
        <p:spPr>
          <a:xfrm>
            <a:off x="6273251" y="1706720"/>
            <a:ext cx="5139692" cy="3456770"/>
          </a:xfrm>
          <a:custGeom>
            <a:avLst/>
            <a:gdLst>
              <a:gd name="connsiteX0" fmla="*/ 0 w 4176000"/>
              <a:gd name="connsiteY0" fmla="*/ 0 h 3027412"/>
              <a:gd name="connsiteX1" fmla="*/ 3719557 w 4176000"/>
              <a:gd name="connsiteY1" fmla="*/ 0 h 3027412"/>
              <a:gd name="connsiteX2" fmla="*/ 4176000 w 4176000"/>
              <a:gd name="connsiteY2" fmla="*/ 456443 h 3027412"/>
              <a:gd name="connsiteX3" fmla="*/ 4176000 w 4176000"/>
              <a:gd name="connsiteY3" fmla="*/ 3027412 h 3027412"/>
              <a:gd name="connsiteX4" fmla="*/ 0 w 4176000"/>
              <a:gd name="connsiteY4" fmla="*/ 3027412 h 3027412"/>
              <a:gd name="connsiteX5" fmla="*/ 0 w 4176000"/>
              <a:gd name="connsiteY5" fmla="*/ 0 h 3027412"/>
              <a:gd name="connsiteX0" fmla="*/ 0 w 4176000"/>
              <a:gd name="connsiteY0" fmla="*/ 8709 h 3036121"/>
              <a:gd name="connsiteX1" fmla="*/ 3928562 w 4176000"/>
              <a:gd name="connsiteY1" fmla="*/ 0 h 3036121"/>
              <a:gd name="connsiteX2" fmla="*/ 4176000 w 4176000"/>
              <a:gd name="connsiteY2" fmla="*/ 465152 h 3036121"/>
              <a:gd name="connsiteX3" fmla="*/ 4176000 w 4176000"/>
              <a:gd name="connsiteY3" fmla="*/ 3036121 h 3036121"/>
              <a:gd name="connsiteX4" fmla="*/ 0 w 4176000"/>
              <a:gd name="connsiteY4" fmla="*/ 3036121 h 3036121"/>
              <a:gd name="connsiteX5" fmla="*/ 0 w 4176000"/>
              <a:gd name="connsiteY5" fmla="*/ 8709 h 3036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6000" h="3036121">
                <a:moveTo>
                  <a:pt x="0" y="8709"/>
                </a:moveTo>
                <a:lnTo>
                  <a:pt x="3928562" y="0"/>
                </a:lnTo>
                <a:lnTo>
                  <a:pt x="4176000" y="465152"/>
                </a:lnTo>
                <a:lnTo>
                  <a:pt x="4176000" y="3036121"/>
                </a:lnTo>
                <a:lnTo>
                  <a:pt x="0" y="3036121"/>
                </a:lnTo>
                <a:lnTo>
                  <a:pt x="0" y="8709"/>
                </a:lnTo>
                <a:close/>
              </a:path>
            </a:pathLst>
          </a:custGeom>
          <a:solidFill>
            <a:srgbClr val="757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5" name="Slide Number Placeholder 4">
            <a:extLst>
              <a:ext uri="{FF2B5EF4-FFF2-40B4-BE49-F238E27FC236}">
                <a16:creationId xmlns:a16="http://schemas.microsoft.com/office/drawing/2014/main" id="{54AD7CDD-43E6-4786-981D-BBA273ADC07F}"/>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7" name="Rectangle 6">
            <a:extLst>
              <a:ext uri="{FF2B5EF4-FFF2-40B4-BE49-F238E27FC236}">
                <a16:creationId xmlns:a16="http://schemas.microsoft.com/office/drawing/2014/main" id="{957694F6-A635-4A1A-93D5-972A2E3E4037}"/>
              </a:ext>
            </a:extLst>
          </p:cNvPr>
          <p:cNvSpPr/>
          <p:nvPr userDrawn="1"/>
        </p:nvSpPr>
        <p:spPr>
          <a:xfrm>
            <a:off x="777632" y="1710338"/>
            <a:ext cx="5150337" cy="3446854"/>
          </a:xfrm>
          <a:prstGeom prst="rect">
            <a:avLst/>
          </a:prstGeom>
          <a:solidFill>
            <a:srgbClr val="757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Practice" descr="PitchPerfect|PracticeArea|Practice">
            <a:extLst>
              <a:ext uri="{FF2B5EF4-FFF2-40B4-BE49-F238E27FC236}">
                <a16:creationId xmlns:a16="http://schemas.microsoft.com/office/drawing/2014/main" id="{54B41EDD-0E41-47A3-85C4-881EADBE13B5}"/>
              </a:ext>
            </a:extLst>
          </p:cNvPr>
          <p:cNvSpPr>
            <a:spLocks noGrp="1"/>
          </p:cNvSpPr>
          <p:nvPr>
            <p:ph type="body" sz="quarter" idx="23"/>
          </p:nvPr>
        </p:nvSpPr>
        <p:spPr>
          <a:xfrm>
            <a:off x="894229" y="1857430"/>
            <a:ext cx="10253410" cy="2584190"/>
          </a:xfrm>
          <a:prstGeom prst="rect">
            <a:avLst/>
          </a:prstGeom>
        </p:spPr>
        <p:txBody>
          <a:bodyPr numCol="2" spcCol="540000"/>
          <a:lstStyle>
            <a:lvl1pPr marL="171450" indent="-171450">
              <a:spcBef>
                <a:spcPts val="600"/>
              </a:spcBef>
              <a:buFont typeface="Wingdings" panose="05000000000000000000" pitchFamily="2" charset="2"/>
              <a:buChar char="§"/>
              <a:defRPr sz="1100" b="0">
                <a:solidFill>
                  <a:schemeClr val="bg1"/>
                </a:solidFill>
                <a:latin typeface="+mn-lt"/>
              </a:defRPr>
            </a:lvl1pPr>
            <a:lvl2pPr marL="0" indent="0">
              <a:buFont typeface="Arial" panose="020B0604020202020204" pitchFamily="34" charset="0"/>
              <a:buNone/>
              <a:defRPr>
                <a:solidFill>
                  <a:schemeClr val="bg1"/>
                </a:solidFill>
              </a:defRPr>
            </a:lvl2pPr>
            <a:lvl3pPr marL="432000" indent="-216000">
              <a:buClr>
                <a:schemeClr val="tx1"/>
              </a:buClr>
              <a:buFont typeface="Corporate S Light" pitchFamily="50" charset="0"/>
              <a:buChar char="–"/>
              <a:defRPr>
                <a:solidFill>
                  <a:schemeClr val="bg1"/>
                </a:solidFill>
              </a:defRPr>
            </a:lvl3pPr>
          </a:lstStyle>
          <a:p>
            <a:pPr lvl="0"/>
            <a:r>
              <a:rPr lang="en-US"/>
              <a:t>Edit Master text styles</a:t>
            </a:r>
          </a:p>
          <a:p>
            <a:pPr lvl="1"/>
            <a:r>
              <a:rPr lang="en-US"/>
              <a:t>Second level</a:t>
            </a:r>
          </a:p>
        </p:txBody>
      </p:sp>
      <p:sp>
        <p:nvSpPr>
          <p:cNvPr id="14" name="Heading" descr="PitchPerfect|PracticeArea|Heading">
            <a:extLst>
              <a:ext uri="{FF2B5EF4-FFF2-40B4-BE49-F238E27FC236}">
                <a16:creationId xmlns:a16="http://schemas.microsoft.com/office/drawing/2014/main" id="{ECD2C0BA-F86D-44BB-9391-E78E742A3157}"/>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9" name="QuoteSource" descr="PitchPerfect|Testimonials|QuoteSource">
            <a:extLst>
              <a:ext uri="{FF2B5EF4-FFF2-40B4-BE49-F238E27FC236}">
                <a16:creationId xmlns:a16="http://schemas.microsoft.com/office/drawing/2014/main" id="{C55033A8-23E7-4B58-968F-5E8231395AE5}"/>
              </a:ext>
            </a:extLst>
          </p:cNvPr>
          <p:cNvSpPr>
            <a:spLocks noGrp="1"/>
          </p:cNvSpPr>
          <p:nvPr>
            <p:ph type="body" sz="quarter" idx="13"/>
          </p:nvPr>
        </p:nvSpPr>
        <p:spPr>
          <a:xfrm>
            <a:off x="3347762" y="5444650"/>
            <a:ext cx="8064000" cy="964800"/>
          </a:xfrm>
          <a:prstGeom prst="rect">
            <a:avLst/>
          </a:prstGeom>
        </p:spPr>
        <p:txBody>
          <a:bodyPr>
            <a:noAutofit/>
          </a:bodyPr>
          <a:lstStyle>
            <a:lvl1pPr algn="l">
              <a:defRPr sz="1600" b="0">
                <a:solidFill>
                  <a:schemeClr val="tx1"/>
                </a:solidFill>
                <a:latin typeface="+mn-lt"/>
              </a:defRPr>
            </a:lvl1pPr>
            <a:lvl2pPr algn="l">
              <a:defRPr sz="1200">
                <a:solidFill>
                  <a:srgbClr val="000000"/>
                </a:solidFill>
                <a:latin typeface="+mj-lt"/>
              </a:defRPr>
            </a:lvl2pPr>
          </a:lstStyle>
          <a:p>
            <a:pPr lvl="0"/>
            <a:r>
              <a:rPr lang="en-US"/>
              <a:t>Edit Master text styles</a:t>
            </a:r>
          </a:p>
          <a:p>
            <a:pPr lvl="1"/>
            <a:r>
              <a:rPr lang="en-US"/>
              <a:t>Second level</a:t>
            </a:r>
          </a:p>
        </p:txBody>
      </p:sp>
      <p:sp>
        <p:nvSpPr>
          <p:cNvPr id="3" name="HighlightsHeading" descr="PitchPerfect|PracticeArea|HighlightsHeading">
            <a:extLst>
              <a:ext uri="{FF2B5EF4-FFF2-40B4-BE49-F238E27FC236}">
                <a16:creationId xmlns:a16="http://schemas.microsoft.com/office/drawing/2014/main" id="{B86723F3-B1EF-4D74-9CD6-C5D56DDA5FC1}"/>
              </a:ext>
            </a:extLst>
          </p:cNvPr>
          <p:cNvSpPr>
            <a:spLocks noGrp="1"/>
          </p:cNvSpPr>
          <p:nvPr>
            <p:ph type="body" sz="quarter" idx="26"/>
          </p:nvPr>
        </p:nvSpPr>
        <p:spPr>
          <a:xfrm>
            <a:off x="777631" y="1411820"/>
            <a:ext cx="5140263" cy="288032"/>
          </a:xfrm>
        </p:spPr>
        <p:txBody>
          <a:bodyPr/>
          <a:lstStyle>
            <a:lvl1pPr>
              <a:defRPr sz="1300"/>
            </a:lvl1pPr>
          </a:lstStyle>
          <a:p>
            <a:pPr lvl="0"/>
            <a:r>
              <a:rPr lang="en-US"/>
              <a:t>Edit Master text styles</a:t>
            </a:r>
          </a:p>
        </p:txBody>
      </p:sp>
      <p:pic>
        <p:nvPicPr>
          <p:cNvPr id="18" name="Quote Image">
            <a:extLst>
              <a:ext uri="{FF2B5EF4-FFF2-40B4-BE49-F238E27FC236}">
                <a16:creationId xmlns:a16="http://schemas.microsoft.com/office/drawing/2014/main" id="{5FE414E3-32CB-4DD2-9DE5-83082045312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491136" y="5269747"/>
            <a:ext cx="1830279" cy="1163636"/>
          </a:xfrm>
          <a:prstGeom prst="rect">
            <a:avLst/>
          </a:prstGeom>
        </p:spPr>
      </p:pic>
    </p:spTree>
    <p:extLst>
      <p:ext uri="{BB962C8B-B14F-4D97-AF65-F5344CB8AC3E}">
        <p14:creationId xmlns:p14="http://schemas.microsoft.com/office/powerpoint/2010/main" val="8043808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actice Area Testimonial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306E6CC-4600-45BD-846C-2B0E10A6A0F8}"/>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Background">
            <a:extLst>
              <a:ext uri="{FF2B5EF4-FFF2-40B4-BE49-F238E27FC236}">
                <a16:creationId xmlns:a16="http://schemas.microsoft.com/office/drawing/2014/main" id="{DE738E3E-C495-4BD5-BF5A-F3BE65D8C639}"/>
              </a:ext>
            </a:extLst>
          </p:cNvPr>
          <p:cNvSpPr/>
          <p:nvPr userDrawn="1"/>
        </p:nvSpPr>
        <p:spPr>
          <a:xfrm>
            <a:off x="0" y="-67930"/>
            <a:ext cx="12192000" cy="69259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FullPageImage" descr="PitchPerfect|Full Page Image|FullPageImage">
            <a:extLst>
              <a:ext uri="{FF2B5EF4-FFF2-40B4-BE49-F238E27FC236}">
                <a16:creationId xmlns:a16="http://schemas.microsoft.com/office/drawing/2014/main" id="{6A333C20-7171-4480-9ABC-8F4D8678150E}"/>
              </a:ext>
            </a:extLst>
          </p:cNvPr>
          <p:cNvSpPr>
            <a:spLocks noGrp="1"/>
          </p:cNvSpPr>
          <p:nvPr>
            <p:ph type="pic" sz="quarter" idx="10"/>
          </p:nvPr>
        </p:nvSpPr>
        <p:spPr>
          <a:xfrm>
            <a:off x="0" y="-33967"/>
            <a:ext cx="12192000" cy="6891965"/>
          </a:xfrm>
          <a:prstGeom prst="rect">
            <a:avLst/>
          </a:prstGeom>
        </p:spPr>
        <p:txBody>
          <a:bodyPr/>
          <a:lstStyle/>
          <a:p>
            <a:r>
              <a:rPr lang="en-US"/>
              <a:t>Click icon to add picture</a:t>
            </a:r>
            <a:endParaRPr lang="en-GB"/>
          </a:p>
        </p:txBody>
      </p:sp>
      <p:sp>
        <p:nvSpPr>
          <p:cNvPr id="10" name="Text Placeholder 3">
            <a:extLst>
              <a:ext uri="{FF2B5EF4-FFF2-40B4-BE49-F238E27FC236}">
                <a16:creationId xmlns:a16="http://schemas.microsoft.com/office/drawing/2014/main" id="{B8C20BC1-9FDA-4C6A-AD0C-6619670F30A9}"/>
              </a:ext>
            </a:extLst>
          </p:cNvPr>
          <p:cNvSpPr>
            <a:spLocks noGrp="1"/>
          </p:cNvSpPr>
          <p:nvPr>
            <p:ph type="body" sz="quarter" idx="21" hasCustomPrompt="1"/>
          </p:nvPr>
        </p:nvSpPr>
        <p:spPr>
          <a:xfrm>
            <a:off x="0" y="1124745"/>
            <a:ext cx="6719278" cy="3571947"/>
          </a:xfrm>
          <a:prstGeom prst="snipRoundRect">
            <a:avLst>
              <a:gd name="adj1" fmla="val 0"/>
              <a:gd name="adj2" fmla="val 8130"/>
            </a:avLst>
          </a:prstGeom>
          <a:solidFill>
            <a:srgbClr val="FFFFFF">
              <a:alpha val="85098"/>
            </a:srgbClr>
          </a:solidFill>
          <a:ln>
            <a:noFill/>
          </a:ln>
        </p:spPr>
        <p:txBody>
          <a:bodyPr/>
          <a:lstStyle/>
          <a:p>
            <a:pPr lvl="0"/>
            <a:r>
              <a:rPr lang="en-GB" dirty="0"/>
              <a:t> </a:t>
            </a:r>
          </a:p>
        </p:txBody>
      </p:sp>
      <p:sp>
        <p:nvSpPr>
          <p:cNvPr id="9" name="QuoteSource" descr="PitchPerfect|Testimonials|QuoteSource">
            <a:extLst>
              <a:ext uri="{FF2B5EF4-FFF2-40B4-BE49-F238E27FC236}">
                <a16:creationId xmlns:a16="http://schemas.microsoft.com/office/drawing/2014/main" id="{86161087-A860-49B7-A24E-AF5960746CA0}"/>
              </a:ext>
            </a:extLst>
          </p:cNvPr>
          <p:cNvSpPr>
            <a:spLocks noGrp="1"/>
          </p:cNvSpPr>
          <p:nvPr>
            <p:ph type="body" sz="quarter" idx="13"/>
          </p:nvPr>
        </p:nvSpPr>
        <p:spPr>
          <a:xfrm>
            <a:off x="798727" y="1417794"/>
            <a:ext cx="5297274" cy="427031"/>
          </a:xfrm>
          <a:prstGeom prst="rect">
            <a:avLst/>
          </a:prstGeom>
        </p:spPr>
        <p:txBody>
          <a:bodyPr wrap="square">
            <a:noAutofit/>
          </a:bodyPr>
          <a:lstStyle>
            <a:lvl1pPr algn="l">
              <a:defRPr sz="1100" b="0">
                <a:solidFill>
                  <a:schemeClr val="tx1"/>
                </a:solidFill>
                <a:latin typeface="+mn-lt"/>
              </a:defRPr>
            </a:lvl1pPr>
            <a:lvl2pPr algn="l">
              <a:defRPr sz="1000" b="1">
                <a:solidFill>
                  <a:srgbClr val="000000"/>
                </a:solidFill>
                <a:latin typeface="+mj-lt"/>
              </a:defRPr>
            </a:lvl2pPr>
          </a:lstStyle>
          <a:p>
            <a:pPr lvl="0"/>
            <a:r>
              <a:rPr lang="en-US"/>
              <a:t>Edit Master text styles</a:t>
            </a:r>
          </a:p>
          <a:p>
            <a:pPr lvl="1"/>
            <a:r>
              <a:rPr lang="en-US"/>
              <a:t>Second level</a:t>
            </a:r>
          </a:p>
        </p:txBody>
      </p:sp>
      <p:sp>
        <p:nvSpPr>
          <p:cNvPr id="11" name="QuoteSource_1" descr="PitchPerfect|Testimonials|QuoteSource_1">
            <a:extLst>
              <a:ext uri="{FF2B5EF4-FFF2-40B4-BE49-F238E27FC236}">
                <a16:creationId xmlns:a16="http://schemas.microsoft.com/office/drawing/2014/main" id="{E25141D2-0D83-4750-9762-77FC87B670FB}"/>
              </a:ext>
            </a:extLst>
          </p:cNvPr>
          <p:cNvSpPr>
            <a:spLocks noGrp="1"/>
          </p:cNvSpPr>
          <p:nvPr>
            <p:ph type="body" sz="quarter" idx="22"/>
          </p:nvPr>
        </p:nvSpPr>
        <p:spPr>
          <a:xfrm>
            <a:off x="798727" y="2231486"/>
            <a:ext cx="5297274" cy="429211"/>
          </a:xfrm>
          <a:prstGeom prst="rect">
            <a:avLst/>
          </a:prstGeom>
        </p:spPr>
        <p:txBody>
          <a:bodyPr wrap="square">
            <a:noAutofit/>
          </a:bodyPr>
          <a:lstStyle>
            <a:lvl1pPr algn="l">
              <a:defRPr sz="1100" b="0">
                <a:solidFill>
                  <a:schemeClr val="tx1"/>
                </a:solidFill>
                <a:latin typeface="+mn-lt"/>
              </a:defRPr>
            </a:lvl1pPr>
            <a:lvl2pPr algn="l">
              <a:defRPr sz="1000" b="1">
                <a:solidFill>
                  <a:srgbClr val="000000"/>
                </a:solidFill>
                <a:latin typeface="+mj-lt"/>
              </a:defRPr>
            </a:lvl2pPr>
          </a:lstStyle>
          <a:p>
            <a:pPr lvl="0"/>
            <a:r>
              <a:rPr lang="en-US"/>
              <a:t>Edit Master text styles</a:t>
            </a:r>
          </a:p>
          <a:p>
            <a:pPr lvl="1"/>
            <a:r>
              <a:rPr lang="en-US"/>
              <a:t>Second level</a:t>
            </a:r>
          </a:p>
        </p:txBody>
      </p:sp>
      <p:sp>
        <p:nvSpPr>
          <p:cNvPr id="12" name="QuoteSource_2" descr="PitchPerfect|Testimonials|QuoteSource_2">
            <a:extLst>
              <a:ext uri="{FF2B5EF4-FFF2-40B4-BE49-F238E27FC236}">
                <a16:creationId xmlns:a16="http://schemas.microsoft.com/office/drawing/2014/main" id="{0BCC4B12-C1B7-4325-8787-6E84A9EA25FD}"/>
              </a:ext>
            </a:extLst>
          </p:cNvPr>
          <p:cNvSpPr>
            <a:spLocks noGrp="1"/>
          </p:cNvSpPr>
          <p:nvPr>
            <p:ph type="body" sz="quarter" idx="23"/>
          </p:nvPr>
        </p:nvSpPr>
        <p:spPr>
          <a:xfrm>
            <a:off x="798727" y="3047358"/>
            <a:ext cx="5297274" cy="427031"/>
          </a:xfrm>
          <a:prstGeom prst="rect">
            <a:avLst/>
          </a:prstGeom>
        </p:spPr>
        <p:txBody>
          <a:bodyPr wrap="square">
            <a:noAutofit/>
          </a:bodyPr>
          <a:lstStyle>
            <a:lvl1pPr algn="l">
              <a:defRPr sz="1100" b="0">
                <a:solidFill>
                  <a:schemeClr val="tx1"/>
                </a:solidFill>
                <a:latin typeface="+mn-lt"/>
              </a:defRPr>
            </a:lvl1pPr>
            <a:lvl2pPr algn="l">
              <a:defRPr sz="1000" b="1">
                <a:solidFill>
                  <a:srgbClr val="000000"/>
                </a:solidFill>
                <a:latin typeface="+mj-lt"/>
              </a:defRPr>
            </a:lvl2pPr>
          </a:lstStyle>
          <a:p>
            <a:pPr lvl="0"/>
            <a:r>
              <a:rPr lang="en-US"/>
              <a:t>Edit Master text styles</a:t>
            </a:r>
          </a:p>
          <a:p>
            <a:pPr lvl="1"/>
            <a:r>
              <a:rPr lang="en-US"/>
              <a:t>Second level</a:t>
            </a:r>
          </a:p>
        </p:txBody>
      </p:sp>
      <p:sp>
        <p:nvSpPr>
          <p:cNvPr id="13" name="QuoteSource_3" descr="PitchPerfect|Testimonials|QuoteSource_3">
            <a:extLst>
              <a:ext uri="{FF2B5EF4-FFF2-40B4-BE49-F238E27FC236}">
                <a16:creationId xmlns:a16="http://schemas.microsoft.com/office/drawing/2014/main" id="{E125A768-C253-4962-BDAD-6EB66C721436}"/>
              </a:ext>
            </a:extLst>
          </p:cNvPr>
          <p:cNvSpPr>
            <a:spLocks noGrp="1"/>
          </p:cNvSpPr>
          <p:nvPr>
            <p:ph type="body" sz="quarter" idx="24"/>
          </p:nvPr>
        </p:nvSpPr>
        <p:spPr>
          <a:xfrm>
            <a:off x="798727" y="3861049"/>
            <a:ext cx="5297274" cy="429211"/>
          </a:xfrm>
          <a:prstGeom prst="rect">
            <a:avLst/>
          </a:prstGeom>
        </p:spPr>
        <p:txBody>
          <a:bodyPr wrap="square">
            <a:noAutofit/>
          </a:bodyPr>
          <a:lstStyle>
            <a:lvl1pPr algn="l">
              <a:defRPr sz="1100" b="0">
                <a:solidFill>
                  <a:schemeClr val="tx1"/>
                </a:solidFill>
                <a:latin typeface="+mn-lt"/>
              </a:defRPr>
            </a:lvl1pPr>
            <a:lvl2pPr algn="l">
              <a:defRPr sz="1000" b="1">
                <a:solidFill>
                  <a:srgbClr val="000000"/>
                </a:solidFill>
                <a:latin typeface="+mj-lt"/>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40952271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epresentative Experience (8)">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04ACAB4-2DDD-41ED-9BEA-D8DB479C0236}"/>
              </a:ext>
            </a:extLst>
          </p:cNvPr>
          <p:cNvSpPr>
            <a:spLocks noGrp="1" noChangeAspect="1"/>
          </p:cNvSpPr>
          <p:nvPr>
            <p:ph type="body" sz="quarter" idx="52" hasCustomPrompt="1"/>
          </p:nvPr>
        </p:nvSpPr>
        <p:spPr>
          <a:xfrm>
            <a:off x="1552399" y="2030655"/>
            <a:ext cx="1074985" cy="345600"/>
          </a:xfrm>
        </p:spPr>
        <p:txBody>
          <a:bodyPr/>
          <a:lstStyle>
            <a:lvl1pPr algn="ctr">
              <a:defRPr/>
            </a:lvl1pPr>
          </a:lstStyle>
          <a:p>
            <a:pPr lvl="0"/>
            <a:r>
              <a:rPr lang="en-GB" dirty="0"/>
              <a:t> </a:t>
            </a:r>
          </a:p>
        </p:txBody>
      </p:sp>
      <p:sp>
        <p:nvSpPr>
          <p:cNvPr id="29" name="Text Placeholder 2">
            <a:extLst>
              <a:ext uri="{FF2B5EF4-FFF2-40B4-BE49-F238E27FC236}">
                <a16:creationId xmlns:a16="http://schemas.microsoft.com/office/drawing/2014/main" id="{ABD032BD-A4F1-4108-82E1-707729B3A200}"/>
              </a:ext>
            </a:extLst>
          </p:cNvPr>
          <p:cNvSpPr>
            <a:spLocks noGrp="1" noChangeAspect="1"/>
          </p:cNvSpPr>
          <p:nvPr>
            <p:ph type="body" sz="quarter" idx="53" hasCustomPrompt="1"/>
          </p:nvPr>
        </p:nvSpPr>
        <p:spPr>
          <a:xfrm>
            <a:off x="4169733" y="2030671"/>
            <a:ext cx="1074985" cy="345600"/>
          </a:xfrm>
        </p:spPr>
        <p:txBody>
          <a:bodyPr/>
          <a:lstStyle>
            <a:lvl1pPr algn="ctr">
              <a:defRPr/>
            </a:lvl1pPr>
          </a:lstStyle>
          <a:p>
            <a:pPr lvl="0"/>
            <a:r>
              <a:rPr lang="en-GB" dirty="0"/>
              <a:t> </a:t>
            </a:r>
          </a:p>
        </p:txBody>
      </p:sp>
      <p:sp>
        <p:nvSpPr>
          <p:cNvPr id="30" name="Text Placeholder 2">
            <a:extLst>
              <a:ext uri="{FF2B5EF4-FFF2-40B4-BE49-F238E27FC236}">
                <a16:creationId xmlns:a16="http://schemas.microsoft.com/office/drawing/2014/main" id="{5561FECB-59DF-4457-92AD-7CBC31BED67D}"/>
              </a:ext>
            </a:extLst>
          </p:cNvPr>
          <p:cNvSpPr>
            <a:spLocks noGrp="1" noChangeAspect="1"/>
          </p:cNvSpPr>
          <p:nvPr>
            <p:ph type="body" sz="quarter" idx="54" hasCustomPrompt="1"/>
          </p:nvPr>
        </p:nvSpPr>
        <p:spPr>
          <a:xfrm>
            <a:off x="6958538" y="2030639"/>
            <a:ext cx="1074985" cy="345600"/>
          </a:xfrm>
        </p:spPr>
        <p:txBody>
          <a:bodyPr/>
          <a:lstStyle>
            <a:lvl1pPr algn="ctr">
              <a:defRPr/>
            </a:lvl1pPr>
          </a:lstStyle>
          <a:p>
            <a:pPr lvl="0"/>
            <a:r>
              <a:rPr lang="en-GB" dirty="0"/>
              <a:t> </a:t>
            </a:r>
          </a:p>
        </p:txBody>
      </p:sp>
      <p:sp>
        <p:nvSpPr>
          <p:cNvPr id="31" name="Text Placeholder 2">
            <a:extLst>
              <a:ext uri="{FF2B5EF4-FFF2-40B4-BE49-F238E27FC236}">
                <a16:creationId xmlns:a16="http://schemas.microsoft.com/office/drawing/2014/main" id="{881F2F36-12B9-4E77-9917-EE0D4F4479FF}"/>
              </a:ext>
            </a:extLst>
          </p:cNvPr>
          <p:cNvSpPr>
            <a:spLocks noGrp="1" noChangeAspect="1"/>
          </p:cNvSpPr>
          <p:nvPr>
            <p:ph type="body" sz="quarter" idx="55" hasCustomPrompt="1"/>
          </p:nvPr>
        </p:nvSpPr>
        <p:spPr>
          <a:xfrm>
            <a:off x="9617295" y="2030655"/>
            <a:ext cx="1074985" cy="345600"/>
          </a:xfrm>
        </p:spPr>
        <p:txBody>
          <a:bodyPr/>
          <a:lstStyle>
            <a:lvl1pPr algn="ctr">
              <a:defRPr/>
            </a:lvl1pPr>
          </a:lstStyle>
          <a:p>
            <a:pPr lvl="0"/>
            <a:r>
              <a:rPr lang="en-GB" dirty="0"/>
              <a:t> </a:t>
            </a:r>
          </a:p>
        </p:txBody>
      </p:sp>
      <p:sp>
        <p:nvSpPr>
          <p:cNvPr id="32" name="Text Placeholder 2">
            <a:extLst>
              <a:ext uri="{FF2B5EF4-FFF2-40B4-BE49-F238E27FC236}">
                <a16:creationId xmlns:a16="http://schemas.microsoft.com/office/drawing/2014/main" id="{9595FF4E-ACB6-46AF-B6D7-160036E0F289}"/>
              </a:ext>
            </a:extLst>
          </p:cNvPr>
          <p:cNvSpPr>
            <a:spLocks noGrp="1" noChangeAspect="1"/>
          </p:cNvSpPr>
          <p:nvPr>
            <p:ph type="body" sz="quarter" idx="56" hasCustomPrompt="1"/>
          </p:nvPr>
        </p:nvSpPr>
        <p:spPr>
          <a:xfrm>
            <a:off x="1552399" y="4279709"/>
            <a:ext cx="1074985" cy="345600"/>
          </a:xfrm>
        </p:spPr>
        <p:txBody>
          <a:bodyPr/>
          <a:lstStyle>
            <a:lvl1pPr algn="ctr">
              <a:defRPr/>
            </a:lvl1pPr>
          </a:lstStyle>
          <a:p>
            <a:pPr lvl="0"/>
            <a:r>
              <a:rPr lang="en-GB" dirty="0"/>
              <a:t> </a:t>
            </a:r>
          </a:p>
        </p:txBody>
      </p:sp>
      <p:sp>
        <p:nvSpPr>
          <p:cNvPr id="33" name="Text Placeholder 2">
            <a:extLst>
              <a:ext uri="{FF2B5EF4-FFF2-40B4-BE49-F238E27FC236}">
                <a16:creationId xmlns:a16="http://schemas.microsoft.com/office/drawing/2014/main" id="{7C07C66D-8DC8-4767-B185-C4496240FA10}"/>
              </a:ext>
            </a:extLst>
          </p:cNvPr>
          <p:cNvSpPr>
            <a:spLocks noGrp="1" noChangeAspect="1"/>
          </p:cNvSpPr>
          <p:nvPr>
            <p:ph type="body" sz="quarter" idx="57" hasCustomPrompt="1"/>
          </p:nvPr>
        </p:nvSpPr>
        <p:spPr>
          <a:xfrm>
            <a:off x="4169733" y="4279725"/>
            <a:ext cx="1074985" cy="345600"/>
          </a:xfrm>
        </p:spPr>
        <p:txBody>
          <a:bodyPr/>
          <a:lstStyle>
            <a:lvl1pPr algn="ctr">
              <a:defRPr/>
            </a:lvl1pPr>
          </a:lstStyle>
          <a:p>
            <a:pPr lvl="0"/>
            <a:r>
              <a:rPr lang="en-GB" dirty="0"/>
              <a:t> </a:t>
            </a:r>
          </a:p>
        </p:txBody>
      </p:sp>
      <p:sp>
        <p:nvSpPr>
          <p:cNvPr id="34" name="Text Placeholder 2">
            <a:extLst>
              <a:ext uri="{FF2B5EF4-FFF2-40B4-BE49-F238E27FC236}">
                <a16:creationId xmlns:a16="http://schemas.microsoft.com/office/drawing/2014/main" id="{21C68510-2543-478E-9295-F4380604D918}"/>
              </a:ext>
            </a:extLst>
          </p:cNvPr>
          <p:cNvSpPr>
            <a:spLocks noGrp="1" noChangeAspect="1"/>
          </p:cNvSpPr>
          <p:nvPr>
            <p:ph type="body" sz="quarter" idx="58" hasCustomPrompt="1"/>
          </p:nvPr>
        </p:nvSpPr>
        <p:spPr>
          <a:xfrm>
            <a:off x="6958538" y="4279693"/>
            <a:ext cx="1074985" cy="345600"/>
          </a:xfrm>
        </p:spPr>
        <p:txBody>
          <a:bodyPr/>
          <a:lstStyle>
            <a:lvl1pPr algn="ctr">
              <a:defRPr/>
            </a:lvl1pPr>
          </a:lstStyle>
          <a:p>
            <a:pPr lvl="0"/>
            <a:r>
              <a:rPr lang="en-GB" dirty="0"/>
              <a:t> </a:t>
            </a:r>
          </a:p>
        </p:txBody>
      </p:sp>
      <p:sp>
        <p:nvSpPr>
          <p:cNvPr id="35" name="Text Placeholder 2">
            <a:extLst>
              <a:ext uri="{FF2B5EF4-FFF2-40B4-BE49-F238E27FC236}">
                <a16:creationId xmlns:a16="http://schemas.microsoft.com/office/drawing/2014/main" id="{2D9CC5EC-9F13-46E6-B5C5-B8F17CCF2851}"/>
              </a:ext>
            </a:extLst>
          </p:cNvPr>
          <p:cNvSpPr>
            <a:spLocks noGrp="1" noChangeAspect="1"/>
          </p:cNvSpPr>
          <p:nvPr>
            <p:ph type="body" sz="quarter" idx="59" hasCustomPrompt="1"/>
          </p:nvPr>
        </p:nvSpPr>
        <p:spPr>
          <a:xfrm>
            <a:off x="9617295" y="4279709"/>
            <a:ext cx="1074985" cy="345600"/>
          </a:xfrm>
        </p:spPr>
        <p:txBody>
          <a:bodyPr/>
          <a:lstStyle>
            <a:lvl1pPr algn="ctr">
              <a:defRPr/>
            </a:lvl1pPr>
          </a:lstStyle>
          <a:p>
            <a:pPr lvl="0"/>
            <a:r>
              <a:rPr lang="en-GB" dirty="0"/>
              <a:t> </a:t>
            </a:r>
          </a:p>
        </p:txBody>
      </p:sp>
      <p:sp>
        <p:nvSpPr>
          <p:cNvPr id="5" name="Slide Number Placeholder 4">
            <a:extLst>
              <a:ext uri="{FF2B5EF4-FFF2-40B4-BE49-F238E27FC236}">
                <a16:creationId xmlns:a16="http://schemas.microsoft.com/office/drawing/2014/main" id="{D4E7310C-C85A-4551-A415-9271B36840AA}"/>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Heading">
            <a:extLst>
              <a:ext uri="{FF2B5EF4-FFF2-40B4-BE49-F238E27FC236}">
                <a16:creationId xmlns:a16="http://schemas.microsoft.com/office/drawing/2014/main" id="{D8066665-D2A8-4727-83C9-728D33DC6058}"/>
              </a:ext>
            </a:extLst>
          </p:cNvPr>
          <p:cNvSpPr>
            <a:spLocks noGrp="1"/>
          </p:cNvSpPr>
          <p:nvPr>
            <p:ph type="body" sz="quarter" idx="30" hasCustomPrompt="1"/>
          </p:nvPr>
        </p:nvSpPr>
        <p:spPr>
          <a:xfrm>
            <a:off x="798150" y="620689"/>
            <a:ext cx="8161216" cy="268719"/>
          </a:xfrm>
        </p:spPr>
        <p:txBody>
          <a:bodyPr/>
          <a:lstStyle>
            <a:lvl1pPr>
              <a:defRPr b="1" cap="all" baseline="0"/>
            </a:lvl1pPr>
          </a:lstStyle>
          <a:p>
            <a:pPr lvl="0"/>
            <a:r>
              <a:rPr lang="en-US" dirty="0"/>
              <a:t>Representative experience</a:t>
            </a:r>
            <a:endParaRPr lang="en-GB" dirty="0"/>
          </a:p>
        </p:txBody>
      </p:sp>
      <p:sp>
        <p:nvSpPr>
          <p:cNvPr id="7" name="Line">
            <a:extLst>
              <a:ext uri="{FF2B5EF4-FFF2-40B4-BE49-F238E27FC236}">
                <a16:creationId xmlns:a16="http://schemas.microsoft.com/office/drawing/2014/main" id="{4C4EF22F-DA2B-41E2-817E-E823B5309ABE}"/>
              </a:ext>
            </a:extLst>
          </p:cNvPr>
          <p:cNvSpPr>
            <a:spLocks noGrp="1"/>
          </p:cNvSpPr>
          <p:nvPr>
            <p:ph type="body" sz="quarter" idx="31" hasCustomPrompt="1"/>
          </p:nvPr>
        </p:nvSpPr>
        <p:spPr>
          <a:xfrm>
            <a:off x="6107958" y="2025885"/>
            <a:ext cx="0" cy="4068000"/>
          </a:xfrm>
          <a:prstGeom prst="rect">
            <a:avLst/>
          </a:prstGeom>
          <a:ln>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8" name="Line">
            <a:extLst>
              <a:ext uri="{FF2B5EF4-FFF2-40B4-BE49-F238E27FC236}">
                <a16:creationId xmlns:a16="http://schemas.microsoft.com/office/drawing/2014/main" id="{25E60FB1-288A-4AD8-8180-5716CED55FA1}"/>
              </a:ext>
            </a:extLst>
          </p:cNvPr>
          <p:cNvSpPr>
            <a:spLocks noGrp="1"/>
          </p:cNvSpPr>
          <p:nvPr>
            <p:ph type="body" sz="quarter" idx="32" hasCustomPrompt="1"/>
          </p:nvPr>
        </p:nvSpPr>
        <p:spPr>
          <a:xfrm>
            <a:off x="3348618" y="2025885"/>
            <a:ext cx="0" cy="4068000"/>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9" name="Line">
            <a:extLst>
              <a:ext uri="{FF2B5EF4-FFF2-40B4-BE49-F238E27FC236}">
                <a16:creationId xmlns:a16="http://schemas.microsoft.com/office/drawing/2014/main" id="{9EA1E333-F59F-4083-B09A-5D05A1CB7CFF}"/>
              </a:ext>
            </a:extLst>
          </p:cNvPr>
          <p:cNvSpPr>
            <a:spLocks noGrp="1"/>
          </p:cNvSpPr>
          <p:nvPr>
            <p:ph type="body" sz="quarter" idx="33" hasCustomPrompt="1"/>
          </p:nvPr>
        </p:nvSpPr>
        <p:spPr>
          <a:xfrm>
            <a:off x="8843382" y="2025885"/>
            <a:ext cx="0" cy="4068000"/>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10" name="Line">
            <a:extLst>
              <a:ext uri="{FF2B5EF4-FFF2-40B4-BE49-F238E27FC236}">
                <a16:creationId xmlns:a16="http://schemas.microsoft.com/office/drawing/2014/main" id="{D22CB4A9-740A-412C-8DD7-8D317B4C5E71}"/>
              </a:ext>
            </a:extLst>
          </p:cNvPr>
          <p:cNvSpPr>
            <a:spLocks noGrp="1"/>
          </p:cNvSpPr>
          <p:nvPr>
            <p:ph type="body" sz="quarter" idx="34" hasCustomPrompt="1"/>
          </p:nvPr>
        </p:nvSpPr>
        <p:spPr>
          <a:xfrm rot="5400000" flipH="1">
            <a:off x="6106258" y="-1173709"/>
            <a:ext cx="0" cy="10616219"/>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11" name="Text Placeholder 15">
            <a:extLst>
              <a:ext uri="{FF2B5EF4-FFF2-40B4-BE49-F238E27FC236}">
                <a16:creationId xmlns:a16="http://schemas.microsoft.com/office/drawing/2014/main" id="{90FE023D-DC3E-4712-826C-DC0CB8BBE43A}"/>
              </a:ext>
            </a:extLst>
          </p:cNvPr>
          <p:cNvSpPr>
            <a:spLocks noGrp="1"/>
          </p:cNvSpPr>
          <p:nvPr>
            <p:ph type="body" sz="quarter" idx="21"/>
          </p:nvPr>
        </p:nvSpPr>
        <p:spPr>
          <a:xfrm>
            <a:off x="1097039" y="2634393"/>
            <a:ext cx="1985703" cy="118415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14" name="Text Placeholder 15">
            <a:extLst>
              <a:ext uri="{FF2B5EF4-FFF2-40B4-BE49-F238E27FC236}">
                <a16:creationId xmlns:a16="http://schemas.microsoft.com/office/drawing/2014/main" id="{84F55683-27C2-44A8-8FF7-30128602FD2A}"/>
              </a:ext>
            </a:extLst>
          </p:cNvPr>
          <p:cNvSpPr>
            <a:spLocks noGrp="1"/>
          </p:cNvSpPr>
          <p:nvPr>
            <p:ph type="body" sz="quarter" idx="36"/>
          </p:nvPr>
        </p:nvSpPr>
        <p:spPr>
          <a:xfrm>
            <a:off x="1097039" y="4869158"/>
            <a:ext cx="1985703" cy="118440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17" name="Text Placeholder 15">
            <a:extLst>
              <a:ext uri="{FF2B5EF4-FFF2-40B4-BE49-F238E27FC236}">
                <a16:creationId xmlns:a16="http://schemas.microsoft.com/office/drawing/2014/main" id="{7EA005A1-4C3E-469A-8B14-64475A27B0F0}"/>
              </a:ext>
            </a:extLst>
          </p:cNvPr>
          <p:cNvSpPr>
            <a:spLocks noGrp="1"/>
          </p:cNvSpPr>
          <p:nvPr>
            <p:ph type="body" sz="quarter" idx="39"/>
          </p:nvPr>
        </p:nvSpPr>
        <p:spPr>
          <a:xfrm>
            <a:off x="3714373" y="2634393"/>
            <a:ext cx="1985703" cy="118415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19" name="Text Placeholder 15">
            <a:extLst>
              <a:ext uri="{FF2B5EF4-FFF2-40B4-BE49-F238E27FC236}">
                <a16:creationId xmlns:a16="http://schemas.microsoft.com/office/drawing/2014/main" id="{51BA9384-E091-4FA3-9B67-247057A0CA85}"/>
              </a:ext>
            </a:extLst>
          </p:cNvPr>
          <p:cNvSpPr>
            <a:spLocks noGrp="1"/>
          </p:cNvSpPr>
          <p:nvPr>
            <p:ph type="body" sz="quarter" idx="41"/>
          </p:nvPr>
        </p:nvSpPr>
        <p:spPr>
          <a:xfrm>
            <a:off x="3714373" y="4869158"/>
            <a:ext cx="1985703" cy="118440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21" name="Text Placeholder 15">
            <a:extLst>
              <a:ext uri="{FF2B5EF4-FFF2-40B4-BE49-F238E27FC236}">
                <a16:creationId xmlns:a16="http://schemas.microsoft.com/office/drawing/2014/main" id="{AB344AA4-6614-4087-B0FA-BAD919A09B00}"/>
              </a:ext>
            </a:extLst>
          </p:cNvPr>
          <p:cNvSpPr>
            <a:spLocks noGrp="1"/>
          </p:cNvSpPr>
          <p:nvPr>
            <p:ph type="body" sz="quarter" idx="43"/>
          </p:nvPr>
        </p:nvSpPr>
        <p:spPr>
          <a:xfrm>
            <a:off x="6503178" y="2634393"/>
            <a:ext cx="1985703" cy="118415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23" name="Text Placeholder 15">
            <a:extLst>
              <a:ext uri="{FF2B5EF4-FFF2-40B4-BE49-F238E27FC236}">
                <a16:creationId xmlns:a16="http://schemas.microsoft.com/office/drawing/2014/main" id="{8964E1A7-BB3F-409F-94AA-766D02D430BD}"/>
              </a:ext>
            </a:extLst>
          </p:cNvPr>
          <p:cNvSpPr>
            <a:spLocks noGrp="1"/>
          </p:cNvSpPr>
          <p:nvPr>
            <p:ph type="body" sz="quarter" idx="45"/>
          </p:nvPr>
        </p:nvSpPr>
        <p:spPr>
          <a:xfrm>
            <a:off x="6503178" y="4869158"/>
            <a:ext cx="1985703" cy="118440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25" name="Text Placeholder 15">
            <a:extLst>
              <a:ext uri="{FF2B5EF4-FFF2-40B4-BE49-F238E27FC236}">
                <a16:creationId xmlns:a16="http://schemas.microsoft.com/office/drawing/2014/main" id="{C5CC584E-2052-4EB4-B1EF-2FF482BD8CCC}"/>
              </a:ext>
            </a:extLst>
          </p:cNvPr>
          <p:cNvSpPr>
            <a:spLocks noGrp="1"/>
          </p:cNvSpPr>
          <p:nvPr>
            <p:ph type="body" sz="quarter" idx="47"/>
          </p:nvPr>
        </p:nvSpPr>
        <p:spPr>
          <a:xfrm>
            <a:off x="9161935" y="2634393"/>
            <a:ext cx="1985703" cy="118415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27" name="Text Placeholder 15">
            <a:extLst>
              <a:ext uri="{FF2B5EF4-FFF2-40B4-BE49-F238E27FC236}">
                <a16:creationId xmlns:a16="http://schemas.microsoft.com/office/drawing/2014/main" id="{959260E1-9C47-4439-8706-AC9023E8CF2F}"/>
              </a:ext>
            </a:extLst>
          </p:cNvPr>
          <p:cNvSpPr>
            <a:spLocks noGrp="1"/>
          </p:cNvSpPr>
          <p:nvPr>
            <p:ph type="body" sz="quarter" idx="49"/>
          </p:nvPr>
        </p:nvSpPr>
        <p:spPr>
          <a:xfrm>
            <a:off x="9161935" y="4869158"/>
            <a:ext cx="1985703" cy="118440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12" name="Text Placeholder 11">
            <a:extLst>
              <a:ext uri="{FF2B5EF4-FFF2-40B4-BE49-F238E27FC236}">
                <a16:creationId xmlns:a16="http://schemas.microsoft.com/office/drawing/2014/main" id="{A3454766-FBCA-4B7A-93F7-84108F379861}"/>
              </a:ext>
            </a:extLst>
          </p:cNvPr>
          <p:cNvSpPr>
            <a:spLocks noGrp="1"/>
          </p:cNvSpPr>
          <p:nvPr>
            <p:ph type="body" sz="quarter" idx="51" hasCustomPrompt="1"/>
          </p:nvPr>
        </p:nvSpPr>
        <p:spPr>
          <a:xfrm>
            <a:off x="777631" y="1412776"/>
            <a:ext cx="10615247" cy="201612"/>
          </a:xfrm>
        </p:spPr>
        <p:txBody>
          <a:bodyPr/>
          <a:lstStyle>
            <a:lvl1pPr>
              <a:defRPr sz="1300"/>
            </a:lvl1pPr>
            <a:lvl3pPr marL="0" indent="0">
              <a:buNone/>
              <a:defRPr/>
            </a:lvl3pPr>
          </a:lstStyle>
          <a:p>
            <a:pPr lvl="0"/>
            <a:r>
              <a:rPr lang="en-US" dirty="0"/>
              <a:t>Click here to add heading – press enter and indent to add body text</a:t>
            </a:r>
          </a:p>
          <a:p>
            <a:pPr lvl="1"/>
            <a:r>
              <a:rPr lang="en-US" dirty="0"/>
              <a:t>Second level</a:t>
            </a:r>
          </a:p>
        </p:txBody>
      </p:sp>
      <p:sp>
        <p:nvSpPr>
          <p:cNvPr id="37" name="Logo" descr="PitchPerfect|Logo|Logo">
            <a:extLst>
              <a:ext uri="{FF2B5EF4-FFF2-40B4-BE49-F238E27FC236}">
                <a16:creationId xmlns:a16="http://schemas.microsoft.com/office/drawing/2014/main" id="{B31B9C36-C684-4176-8D64-36C18888B353}"/>
              </a:ext>
            </a:extLst>
          </p:cNvPr>
          <p:cNvSpPr>
            <a:spLocks noGrp="1"/>
          </p:cNvSpPr>
          <p:nvPr>
            <p:ph type="pic" sz="quarter" idx="60"/>
          </p:nvPr>
        </p:nvSpPr>
        <p:spPr>
          <a:xfrm>
            <a:off x="1552399" y="2030655"/>
            <a:ext cx="1076677" cy="345600"/>
          </a:xfrm>
        </p:spPr>
        <p:txBody>
          <a:bodyPr/>
          <a:lstStyle/>
          <a:p>
            <a:r>
              <a:rPr lang="en-US"/>
              <a:t>Click icon to add picture</a:t>
            </a:r>
            <a:endParaRPr lang="en-GB"/>
          </a:p>
        </p:txBody>
      </p:sp>
      <p:sp>
        <p:nvSpPr>
          <p:cNvPr id="38" name="Logo_1" descr="PitchPerfect|Logo|Logo_1">
            <a:extLst>
              <a:ext uri="{FF2B5EF4-FFF2-40B4-BE49-F238E27FC236}">
                <a16:creationId xmlns:a16="http://schemas.microsoft.com/office/drawing/2014/main" id="{833C2CDE-8B30-4DF4-B19C-7DBB6B5FCD73}"/>
              </a:ext>
            </a:extLst>
          </p:cNvPr>
          <p:cNvSpPr>
            <a:spLocks noGrp="1"/>
          </p:cNvSpPr>
          <p:nvPr>
            <p:ph type="pic" sz="quarter" idx="61"/>
          </p:nvPr>
        </p:nvSpPr>
        <p:spPr>
          <a:xfrm>
            <a:off x="4169733" y="2030671"/>
            <a:ext cx="1076677" cy="345600"/>
          </a:xfrm>
        </p:spPr>
        <p:txBody>
          <a:bodyPr/>
          <a:lstStyle/>
          <a:p>
            <a:r>
              <a:rPr lang="en-US"/>
              <a:t>Click icon to add picture</a:t>
            </a:r>
            <a:endParaRPr lang="en-GB"/>
          </a:p>
        </p:txBody>
      </p:sp>
      <p:sp>
        <p:nvSpPr>
          <p:cNvPr id="39" name="Logo_2" descr="PitchPerfect|Logo|Logo_2">
            <a:extLst>
              <a:ext uri="{FF2B5EF4-FFF2-40B4-BE49-F238E27FC236}">
                <a16:creationId xmlns:a16="http://schemas.microsoft.com/office/drawing/2014/main" id="{D0C24A42-795B-47BA-980A-C3906261BFD1}"/>
              </a:ext>
            </a:extLst>
          </p:cNvPr>
          <p:cNvSpPr>
            <a:spLocks noGrp="1"/>
          </p:cNvSpPr>
          <p:nvPr>
            <p:ph type="pic" sz="quarter" idx="62"/>
          </p:nvPr>
        </p:nvSpPr>
        <p:spPr>
          <a:xfrm>
            <a:off x="6958538" y="2030639"/>
            <a:ext cx="1076677" cy="345600"/>
          </a:xfrm>
        </p:spPr>
        <p:txBody>
          <a:bodyPr/>
          <a:lstStyle/>
          <a:p>
            <a:r>
              <a:rPr lang="en-US"/>
              <a:t>Click icon to add picture</a:t>
            </a:r>
            <a:endParaRPr lang="en-GB"/>
          </a:p>
        </p:txBody>
      </p:sp>
      <p:sp>
        <p:nvSpPr>
          <p:cNvPr id="40" name="Logo_3" descr="PitchPerfect|Logo|Logo_3">
            <a:extLst>
              <a:ext uri="{FF2B5EF4-FFF2-40B4-BE49-F238E27FC236}">
                <a16:creationId xmlns:a16="http://schemas.microsoft.com/office/drawing/2014/main" id="{CD7DAF44-38A4-4731-8C84-62477DB6A1AF}"/>
              </a:ext>
            </a:extLst>
          </p:cNvPr>
          <p:cNvSpPr>
            <a:spLocks noGrp="1"/>
          </p:cNvSpPr>
          <p:nvPr>
            <p:ph type="pic" sz="quarter" idx="63"/>
          </p:nvPr>
        </p:nvSpPr>
        <p:spPr>
          <a:xfrm>
            <a:off x="9617295" y="2030655"/>
            <a:ext cx="1076677" cy="345600"/>
          </a:xfrm>
        </p:spPr>
        <p:txBody>
          <a:bodyPr/>
          <a:lstStyle/>
          <a:p>
            <a:r>
              <a:rPr lang="en-US"/>
              <a:t>Click icon to add picture</a:t>
            </a:r>
            <a:endParaRPr lang="en-GB"/>
          </a:p>
        </p:txBody>
      </p:sp>
      <p:sp>
        <p:nvSpPr>
          <p:cNvPr id="41" name="Logo_4" descr="PitchPerfect|Logo|Logo_4">
            <a:extLst>
              <a:ext uri="{FF2B5EF4-FFF2-40B4-BE49-F238E27FC236}">
                <a16:creationId xmlns:a16="http://schemas.microsoft.com/office/drawing/2014/main" id="{E5CC6662-A175-4C08-BB87-8E9D7EC5D609}"/>
              </a:ext>
            </a:extLst>
          </p:cNvPr>
          <p:cNvSpPr>
            <a:spLocks noGrp="1"/>
          </p:cNvSpPr>
          <p:nvPr>
            <p:ph type="pic" sz="quarter" idx="64"/>
          </p:nvPr>
        </p:nvSpPr>
        <p:spPr>
          <a:xfrm>
            <a:off x="1552399" y="4279709"/>
            <a:ext cx="1076677" cy="345600"/>
          </a:xfrm>
        </p:spPr>
        <p:txBody>
          <a:bodyPr/>
          <a:lstStyle/>
          <a:p>
            <a:r>
              <a:rPr lang="en-US"/>
              <a:t>Click icon to add picture</a:t>
            </a:r>
            <a:endParaRPr lang="en-GB"/>
          </a:p>
        </p:txBody>
      </p:sp>
      <p:sp>
        <p:nvSpPr>
          <p:cNvPr id="42" name="Logo_5" descr="PitchPerfect|Logo|Logo_5">
            <a:extLst>
              <a:ext uri="{FF2B5EF4-FFF2-40B4-BE49-F238E27FC236}">
                <a16:creationId xmlns:a16="http://schemas.microsoft.com/office/drawing/2014/main" id="{FEA75AC7-E766-4951-A0D5-4E14EF182172}"/>
              </a:ext>
            </a:extLst>
          </p:cNvPr>
          <p:cNvSpPr>
            <a:spLocks noGrp="1"/>
          </p:cNvSpPr>
          <p:nvPr>
            <p:ph type="pic" sz="quarter" idx="65"/>
          </p:nvPr>
        </p:nvSpPr>
        <p:spPr>
          <a:xfrm>
            <a:off x="4169733" y="4279725"/>
            <a:ext cx="1076677" cy="345600"/>
          </a:xfrm>
        </p:spPr>
        <p:txBody>
          <a:bodyPr/>
          <a:lstStyle/>
          <a:p>
            <a:r>
              <a:rPr lang="en-US"/>
              <a:t>Click icon to add picture</a:t>
            </a:r>
            <a:endParaRPr lang="en-GB"/>
          </a:p>
        </p:txBody>
      </p:sp>
      <p:sp>
        <p:nvSpPr>
          <p:cNvPr id="43" name="Logo_6" descr="PitchPerfect|Logo|Logo_6">
            <a:extLst>
              <a:ext uri="{FF2B5EF4-FFF2-40B4-BE49-F238E27FC236}">
                <a16:creationId xmlns:a16="http://schemas.microsoft.com/office/drawing/2014/main" id="{68A43542-AF0F-4189-B3B4-07D46C838B62}"/>
              </a:ext>
            </a:extLst>
          </p:cNvPr>
          <p:cNvSpPr>
            <a:spLocks noGrp="1"/>
          </p:cNvSpPr>
          <p:nvPr>
            <p:ph type="pic" sz="quarter" idx="66"/>
          </p:nvPr>
        </p:nvSpPr>
        <p:spPr>
          <a:xfrm>
            <a:off x="6958538" y="4279693"/>
            <a:ext cx="1076677" cy="345600"/>
          </a:xfrm>
        </p:spPr>
        <p:txBody>
          <a:bodyPr/>
          <a:lstStyle/>
          <a:p>
            <a:r>
              <a:rPr lang="en-US"/>
              <a:t>Click icon to add picture</a:t>
            </a:r>
            <a:endParaRPr lang="en-GB"/>
          </a:p>
        </p:txBody>
      </p:sp>
      <p:sp>
        <p:nvSpPr>
          <p:cNvPr id="44" name="Logo_7" descr="PitchPerfect|Logo|Logo_7">
            <a:extLst>
              <a:ext uri="{FF2B5EF4-FFF2-40B4-BE49-F238E27FC236}">
                <a16:creationId xmlns:a16="http://schemas.microsoft.com/office/drawing/2014/main" id="{0CE1F397-2C04-41AE-8405-BE9635855B86}"/>
              </a:ext>
            </a:extLst>
          </p:cNvPr>
          <p:cNvSpPr>
            <a:spLocks noGrp="1"/>
          </p:cNvSpPr>
          <p:nvPr>
            <p:ph type="pic" sz="quarter" idx="67"/>
          </p:nvPr>
        </p:nvSpPr>
        <p:spPr>
          <a:xfrm>
            <a:off x="9617295" y="4279709"/>
            <a:ext cx="1076677" cy="345600"/>
          </a:xfrm>
        </p:spPr>
        <p:txBody>
          <a:bodyPr/>
          <a:lstStyle/>
          <a:p>
            <a:r>
              <a:rPr lang="en-US"/>
              <a:t>Click icon to add picture</a:t>
            </a:r>
            <a:endParaRPr lang="en-GB"/>
          </a:p>
        </p:txBody>
      </p:sp>
    </p:spTree>
    <p:extLst>
      <p:ext uri="{BB962C8B-B14F-4D97-AF65-F5344CB8AC3E}">
        <p14:creationId xmlns:p14="http://schemas.microsoft.com/office/powerpoint/2010/main" val="4997123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presentative Experience (4)">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B0937B-C19A-4187-A291-44607121DE95}"/>
              </a:ext>
            </a:extLst>
          </p:cNvPr>
          <p:cNvSpPr>
            <a:spLocks noGrp="1"/>
          </p:cNvSpPr>
          <p:nvPr>
            <p:ph type="body" sz="quarter" idx="52" hasCustomPrompt="1"/>
          </p:nvPr>
        </p:nvSpPr>
        <p:spPr>
          <a:xfrm>
            <a:off x="1166269" y="2638949"/>
            <a:ext cx="1847631" cy="594000"/>
          </a:xfrm>
        </p:spPr>
        <p:txBody>
          <a:bodyPr/>
          <a:lstStyle>
            <a:lvl1pPr algn="ctr">
              <a:defRPr/>
            </a:lvl1pPr>
          </a:lstStyle>
          <a:p>
            <a:pPr lvl="0"/>
            <a:r>
              <a:rPr lang="en-GB" dirty="0"/>
              <a:t> </a:t>
            </a:r>
          </a:p>
        </p:txBody>
      </p:sp>
      <p:sp>
        <p:nvSpPr>
          <p:cNvPr id="19" name="Text Placeholder 2">
            <a:extLst>
              <a:ext uri="{FF2B5EF4-FFF2-40B4-BE49-F238E27FC236}">
                <a16:creationId xmlns:a16="http://schemas.microsoft.com/office/drawing/2014/main" id="{64191D56-BF91-4856-A291-9475E923AEE9}"/>
              </a:ext>
            </a:extLst>
          </p:cNvPr>
          <p:cNvSpPr>
            <a:spLocks noGrp="1"/>
          </p:cNvSpPr>
          <p:nvPr>
            <p:ph type="body" sz="quarter" idx="53" hasCustomPrompt="1"/>
          </p:nvPr>
        </p:nvSpPr>
        <p:spPr>
          <a:xfrm>
            <a:off x="3783409" y="2638965"/>
            <a:ext cx="1847631" cy="594000"/>
          </a:xfrm>
        </p:spPr>
        <p:txBody>
          <a:bodyPr/>
          <a:lstStyle>
            <a:lvl1pPr algn="ctr">
              <a:defRPr/>
            </a:lvl1pPr>
          </a:lstStyle>
          <a:p>
            <a:pPr lvl="0"/>
            <a:r>
              <a:rPr lang="en-GB" dirty="0"/>
              <a:t>  </a:t>
            </a:r>
          </a:p>
        </p:txBody>
      </p:sp>
      <p:sp>
        <p:nvSpPr>
          <p:cNvPr id="20" name="Text Placeholder 2">
            <a:extLst>
              <a:ext uri="{FF2B5EF4-FFF2-40B4-BE49-F238E27FC236}">
                <a16:creationId xmlns:a16="http://schemas.microsoft.com/office/drawing/2014/main" id="{32FEFE02-35CC-40E3-BD75-EFA3BE124731}"/>
              </a:ext>
            </a:extLst>
          </p:cNvPr>
          <p:cNvSpPr>
            <a:spLocks noGrp="1"/>
          </p:cNvSpPr>
          <p:nvPr>
            <p:ph type="body" sz="quarter" idx="54" hasCustomPrompt="1"/>
          </p:nvPr>
        </p:nvSpPr>
        <p:spPr>
          <a:xfrm>
            <a:off x="6572214" y="2638933"/>
            <a:ext cx="1847631" cy="594000"/>
          </a:xfrm>
        </p:spPr>
        <p:txBody>
          <a:bodyPr/>
          <a:lstStyle>
            <a:lvl1pPr algn="ctr">
              <a:defRPr/>
            </a:lvl1pPr>
          </a:lstStyle>
          <a:p>
            <a:pPr lvl="0"/>
            <a:r>
              <a:rPr lang="en-GB" dirty="0"/>
              <a:t> </a:t>
            </a:r>
          </a:p>
        </p:txBody>
      </p:sp>
      <p:sp>
        <p:nvSpPr>
          <p:cNvPr id="23" name="Text Placeholder 2">
            <a:extLst>
              <a:ext uri="{FF2B5EF4-FFF2-40B4-BE49-F238E27FC236}">
                <a16:creationId xmlns:a16="http://schemas.microsoft.com/office/drawing/2014/main" id="{CD168F62-F39A-4AB6-87EC-63FF210D65C6}"/>
              </a:ext>
            </a:extLst>
          </p:cNvPr>
          <p:cNvSpPr>
            <a:spLocks noGrp="1"/>
          </p:cNvSpPr>
          <p:nvPr>
            <p:ph type="body" sz="quarter" idx="55" hasCustomPrompt="1"/>
          </p:nvPr>
        </p:nvSpPr>
        <p:spPr>
          <a:xfrm>
            <a:off x="9230971" y="2638949"/>
            <a:ext cx="1847631" cy="594000"/>
          </a:xfrm>
        </p:spPr>
        <p:txBody>
          <a:bodyPr/>
          <a:lstStyle>
            <a:lvl1pPr algn="ctr">
              <a:defRPr/>
            </a:lvl1pPr>
          </a:lstStyle>
          <a:p>
            <a:pPr lvl="0"/>
            <a:r>
              <a:rPr lang="en-GB" dirty="0"/>
              <a:t> </a:t>
            </a:r>
          </a:p>
        </p:txBody>
      </p:sp>
      <p:sp>
        <p:nvSpPr>
          <p:cNvPr id="5" name="Slide Number Placeholder 4">
            <a:extLst>
              <a:ext uri="{FF2B5EF4-FFF2-40B4-BE49-F238E27FC236}">
                <a16:creationId xmlns:a16="http://schemas.microsoft.com/office/drawing/2014/main" id="{D4E7310C-C85A-4551-A415-9271B36840AA}"/>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Heading">
            <a:extLst>
              <a:ext uri="{FF2B5EF4-FFF2-40B4-BE49-F238E27FC236}">
                <a16:creationId xmlns:a16="http://schemas.microsoft.com/office/drawing/2014/main" id="{D8066665-D2A8-4727-83C9-728D33DC6058}"/>
              </a:ext>
            </a:extLst>
          </p:cNvPr>
          <p:cNvSpPr>
            <a:spLocks noGrp="1"/>
          </p:cNvSpPr>
          <p:nvPr>
            <p:ph type="body" sz="quarter" idx="30" hasCustomPrompt="1"/>
          </p:nvPr>
        </p:nvSpPr>
        <p:spPr>
          <a:xfrm>
            <a:off x="798150" y="620689"/>
            <a:ext cx="8161216" cy="268719"/>
          </a:xfrm>
        </p:spPr>
        <p:txBody>
          <a:bodyPr/>
          <a:lstStyle>
            <a:lvl1pPr>
              <a:defRPr b="1" cap="all" baseline="0"/>
            </a:lvl1pPr>
          </a:lstStyle>
          <a:p>
            <a:pPr lvl="0"/>
            <a:r>
              <a:rPr lang="en-US" dirty="0"/>
              <a:t>REPRESENTATIVE EXPERIENCE	</a:t>
            </a:r>
            <a:endParaRPr lang="en-GB" dirty="0"/>
          </a:p>
        </p:txBody>
      </p:sp>
      <p:sp>
        <p:nvSpPr>
          <p:cNvPr id="7" name="Line">
            <a:extLst>
              <a:ext uri="{FF2B5EF4-FFF2-40B4-BE49-F238E27FC236}">
                <a16:creationId xmlns:a16="http://schemas.microsoft.com/office/drawing/2014/main" id="{4C4EF22F-DA2B-41E2-817E-E823B5309ABE}"/>
              </a:ext>
            </a:extLst>
          </p:cNvPr>
          <p:cNvSpPr>
            <a:spLocks noGrp="1"/>
          </p:cNvSpPr>
          <p:nvPr>
            <p:ph type="body" sz="quarter" idx="31" hasCustomPrompt="1"/>
          </p:nvPr>
        </p:nvSpPr>
        <p:spPr>
          <a:xfrm>
            <a:off x="6107958" y="2564920"/>
            <a:ext cx="0" cy="2016000"/>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8" name="Line">
            <a:extLst>
              <a:ext uri="{FF2B5EF4-FFF2-40B4-BE49-F238E27FC236}">
                <a16:creationId xmlns:a16="http://schemas.microsoft.com/office/drawing/2014/main" id="{25E60FB1-288A-4AD8-8180-5716CED55FA1}"/>
              </a:ext>
            </a:extLst>
          </p:cNvPr>
          <p:cNvSpPr>
            <a:spLocks noGrp="1"/>
          </p:cNvSpPr>
          <p:nvPr>
            <p:ph type="body" sz="quarter" idx="32" hasCustomPrompt="1"/>
          </p:nvPr>
        </p:nvSpPr>
        <p:spPr>
          <a:xfrm>
            <a:off x="3356543" y="2564904"/>
            <a:ext cx="0" cy="2016000"/>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9" name="Line">
            <a:extLst>
              <a:ext uri="{FF2B5EF4-FFF2-40B4-BE49-F238E27FC236}">
                <a16:creationId xmlns:a16="http://schemas.microsoft.com/office/drawing/2014/main" id="{9EA1E333-F59F-4083-B09A-5D05A1CB7CFF}"/>
              </a:ext>
            </a:extLst>
          </p:cNvPr>
          <p:cNvSpPr>
            <a:spLocks noGrp="1"/>
          </p:cNvSpPr>
          <p:nvPr>
            <p:ph type="body" sz="quarter" idx="33" hasCustomPrompt="1"/>
          </p:nvPr>
        </p:nvSpPr>
        <p:spPr>
          <a:xfrm>
            <a:off x="8851307" y="2564904"/>
            <a:ext cx="0" cy="2016000"/>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11" name="Text Placeholder 15">
            <a:extLst>
              <a:ext uri="{FF2B5EF4-FFF2-40B4-BE49-F238E27FC236}">
                <a16:creationId xmlns:a16="http://schemas.microsoft.com/office/drawing/2014/main" id="{90FE023D-DC3E-4712-826C-DC0CB8BBE43A}"/>
              </a:ext>
            </a:extLst>
          </p:cNvPr>
          <p:cNvSpPr>
            <a:spLocks noGrp="1"/>
          </p:cNvSpPr>
          <p:nvPr>
            <p:ph type="body" sz="quarter" idx="21"/>
          </p:nvPr>
        </p:nvSpPr>
        <p:spPr>
          <a:xfrm>
            <a:off x="1097039" y="3356990"/>
            <a:ext cx="1985703" cy="118440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13" name="Logo" descr="PitchPerfect|Logo|Logo">
            <a:extLst>
              <a:ext uri="{FF2B5EF4-FFF2-40B4-BE49-F238E27FC236}">
                <a16:creationId xmlns:a16="http://schemas.microsoft.com/office/drawing/2014/main" id="{BE6B05D4-C446-4898-8217-8A0BB6624840}"/>
              </a:ext>
            </a:extLst>
          </p:cNvPr>
          <p:cNvSpPr>
            <a:spLocks noGrp="1"/>
          </p:cNvSpPr>
          <p:nvPr>
            <p:ph type="pic" sz="quarter" idx="35"/>
          </p:nvPr>
        </p:nvSpPr>
        <p:spPr>
          <a:xfrm>
            <a:off x="1166288" y="2637657"/>
            <a:ext cx="1847594" cy="595292"/>
          </a:xfrm>
        </p:spPr>
        <p:txBody>
          <a:bodyPr/>
          <a:lstStyle/>
          <a:p>
            <a:r>
              <a:rPr lang="en-US"/>
              <a:t>Click icon to add picture</a:t>
            </a:r>
            <a:endParaRPr lang="en-GB"/>
          </a:p>
        </p:txBody>
      </p:sp>
      <p:sp>
        <p:nvSpPr>
          <p:cNvPr id="17" name="Text Placeholder 15">
            <a:extLst>
              <a:ext uri="{FF2B5EF4-FFF2-40B4-BE49-F238E27FC236}">
                <a16:creationId xmlns:a16="http://schemas.microsoft.com/office/drawing/2014/main" id="{7EA005A1-4C3E-469A-8B14-64475A27B0F0}"/>
              </a:ext>
            </a:extLst>
          </p:cNvPr>
          <p:cNvSpPr>
            <a:spLocks noGrp="1"/>
          </p:cNvSpPr>
          <p:nvPr>
            <p:ph type="body" sz="quarter" idx="39"/>
          </p:nvPr>
        </p:nvSpPr>
        <p:spPr>
          <a:xfrm>
            <a:off x="3714373" y="3357006"/>
            <a:ext cx="1985703" cy="118440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18" name="Logo_1" descr="PitchPerfect|Logo|Logo_1">
            <a:extLst>
              <a:ext uri="{FF2B5EF4-FFF2-40B4-BE49-F238E27FC236}">
                <a16:creationId xmlns:a16="http://schemas.microsoft.com/office/drawing/2014/main" id="{ED6ACE6E-F09B-4B44-9ED2-3AC17832639E}"/>
              </a:ext>
            </a:extLst>
          </p:cNvPr>
          <p:cNvSpPr>
            <a:spLocks noGrp="1"/>
          </p:cNvSpPr>
          <p:nvPr>
            <p:ph type="pic" sz="quarter" idx="40"/>
          </p:nvPr>
        </p:nvSpPr>
        <p:spPr>
          <a:xfrm>
            <a:off x="3783428" y="2637673"/>
            <a:ext cx="1847594" cy="595292"/>
          </a:xfrm>
        </p:spPr>
        <p:txBody>
          <a:bodyPr/>
          <a:lstStyle/>
          <a:p>
            <a:r>
              <a:rPr lang="en-US"/>
              <a:t>Click icon to add picture</a:t>
            </a:r>
            <a:endParaRPr lang="en-GB"/>
          </a:p>
        </p:txBody>
      </p:sp>
      <p:sp>
        <p:nvSpPr>
          <p:cNvPr id="21" name="Text Placeholder 15">
            <a:extLst>
              <a:ext uri="{FF2B5EF4-FFF2-40B4-BE49-F238E27FC236}">
                <a16:creationId xmlns:a16="http://schemas.microsoft.com/office/drawing/2014/main" id="{AB344AA4-6614-4087-B0FA-BAD919A09B00}"/>
              </a:ext>
            </a:extLst>
          </p:cNvPr>
          <p:cNvSpPr>
            <a:spLocks noGrp="1"/>
          </p:cNvSpPr>
          <p:nvPr>
            <p:ph type="body" sz="quarter" idx="43"/>
          </p:nvPr>
        </p:nvSpPr>
        <p:spPr>
          <a:xfrm>
            <a:off x="6503178" y="3356974"/>
            <a:ext cx="1985703" cy="118440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22" name="Logo_2" descr="PitchPerfect|Logo|Logo_2">
            <a:extLst>
              <a:ext uri="{FF2B5EF4-FFF2-40B4-BE49-F238E27FC236}">
                <a16:creationId xmlns:a16="http://schemas.microsoft.com/office/drawing/2014/main" id="{280F24F5-861E-4B7C-87A4-9D5FF429FD37}"/>
              </a:ext>
            </a:extLst>
          </p:cNvPr>
          <p:cNvSpPr>
            <a:spLocks noGrp="1"/>
          </p:cNvSpPr>
          <p:nvPr>
            <p:ph type="pic" sz="quarter" idx="44"/>
          </p:nvPr>
        </p:nvSpPr>
        <p:spPr>
          <a:xfrm>
            <a:off x="6572233" y="2637641"/>
            <a:ext cx="1847594" cy="595292"/>
          </a:xfrm>
        </p:spPr>
        <p:txBody>
          <a:bodyPr/>
          <a:lstStyle/>
          <a:p>
            <a:r>
              <a:rPr lang="en-US"/>
              <a:t>Click icon to add picture</a:t>
            </a:r>
            <a:endParaRPr lang="en-GB"/>
          </a:p>
        </p:txBody>
      </p:sp>
      <p:sp>
        <p:nvSpPr>
          <p:cNvPr id="25" name="Text Placeholder 15">
            <a:extLst>
              <a:ext uri="{FF2B5EF4-FFF2-40B4-BE49-F238E27FC236}">
                <a16:creationId xmlns:a16="http://schemas.microsoft.com/office/drawing/2014/main" id="{C5CC584E-2052-4EB4-B1EF-2FF482BD8CCC}"/>
              </a:ext>
            </a:extLst>
          </p:cNvPr>
          <p:cNvSpPr>
            <a:spLocks noGrp="1"/>
          </p:cNvSpPr>
          <p:nvPr>
            <p:ph type="body" sz="quarter" idx="47"/>
          </p:nvPr>
        </p:nvSpPr>
        <p:spPr>
          <a:xfrm>
            <a:off x="9161935" y="3356990"/>
            <a:ext cx="1985703" cy="1184400"/>
          </a:xfrm>
          <a:prstGeom prst="rect">
            <a:avLst/>
          </a:prstGeom>
        </p:spPr>
        <p:txBody>
          <a:bodyPr/>
          <a:lstStyle>
            <a:lvl1pPr>
              <a:defRPr sz="1000" b="0">
                <a:solidFill>
                  <a:schemeClr val="tx1"/>
                </a:solidFill>
                <a:latin typeface="+mn-lt"/>
              </a:defRPr>
            </a:lvl1pPr>
          </a:lstStyle>
          <a:p>
            <a:pPr lvl="0"/>
            <a:r>
              <a:rPr lang="en-US"/>
              <a:t>Edit Master text styles</a:t>
            </a:r>
          </a:p>
        </p:txBody>
      </p:sp>
      <p:sp>
        <p:nvSpPr>
          <p:cNvPr id="26" name="Logo_3" descr="PitchPerfect|Logo|Logo_3">
            <a:extLst>
              <a:ext uri="{FF2B5EF4-FFF2-40B4-BE49-F238E27FC236}">
                <a16:creationId xmlns:a16="http://schemas.microsoft.com/office/drawing/2014/main" id="{50B0B0FA-357D-42F6-B47D-4959098956CE}"/>
              </a:ext>
            </a:extLst>
          </p:cNvPr>
          <p:cNvSpPr>
            <a:spLocks noGrp="1"/>
          </p:cNvSpPr>
          <p:nvPr>
            <p:ph type="pic" sz="quarter" idx="48"/>
          </p:nvPr>
        </p:nvSpPr>
        <p:spPr>
          <a:xfrm>
            <a:off x="9230989" y="2637657"/>
            <a:ext cx="1847594" cy="595292"/>
          </a:xfrm>
        </p:spPr>
        <p:txBody>
          <a:bodyPr/>
          <a:lstStyle/>
          <a:p>
            <a:r>
              <a:rPr lang="en-US"/>
              <a:t>Click icon to add picture</a:t>
            </a:r>
            <a:endParaRPr lang="en-GB"/>
          </a:p>
        </p:txBody>
      </p:sp>
      <p:sp>
        <p:nvSpPr>
          <p:cNvPr id="12" name="Text Placeholder 11">
            <a:extLst>
              <a:ext uri="{FF2B5EF4-FFF2-40B4-BE49-F238E27FC236}">
                <a16:creationId xmlns:a16="http://schemas.microsoft.com/office/drawing/2014/main" id="{A3454766-FBCA-4B7A-93F7-84108F379861}"/>
              </a:ext>
            </a:extLst>
          </p:cNvPr>
          <p:cNvSpPr>
            <a:spLocks noGrp="1"/>
          </p:cNvSpPr>
          <p:nvPr>
            <p:ph type="body" sz="quarter" idx="51" hasCustomPrompt="1"/>
          </p:nvPr>
        </p:nvSpPr>
        <p:spPr>
          <a:xfrm>
            <a:off x="777631" y="1412776"/>
            <a:ext cx="10615247" cy="201612"/>
          </a:xfrm>
        </p:spPr>
        <p:txBody>
          <a:bodyPr/>
          <a:lstStyle>
            <a:lvl1pPr>
              <a:defRPr sz="1300"/>
            </a:lvl1pPr>
            <a:lvl3pPr marL="0" indent="0">
              <a:buNone/>
              <a:defRPr/>
            </a:lvl3pPr>
          </a:lstStyle>
          <a:p>
            <a:pPr lvl="0"/>
            <a:r>
              <a:rPr lang="en-US" dirty="0"/>
              <a:t>Click here to add heading – press enter and indent to add body text</a:t>
            </a:r>
          </a:p>
          <a:p>
            <a:pPr lvl="1"/>
            <a:r>
              <a:rPr lang="en-US" dirty="0"/>
              <a:t>Second level</a:t>
            </a:r>
          </a:p>
        </p:txBody>
      </p:sp>
    </p:spTree>
    <p:extLst>
      <p:ext uri="{BB962C8B-B14F-4D97-AF65-F5344CB8AC3E}">
        <p14:creationId xmlns:p14="http://schemas.microsoft.com/office/powerpoint/2010/main" val="15683126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epresentative Experience (1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FF4EA8-D0EE-463C-B9F0-C3C906989141}"/>
              </a:ext>
            </a:extLst>
          </p:cNvPr>
          <p:cNvSpPr>
            <a:spLocks noGrp="1"/>
          </p:cNvSpPr>
          <p:nvPr>
            <p:ph type="body" sz="quarter" idx="70" hasCustomPrompt="1"/>
          </p:nvPr>
        </p:nvSpPr>
        <p:spPr>
          <a:xfrm>
            <a:off x="2460914" y="1974801"/>
            <a:ext cx="1196308" cy="345600"/>
          </a:xfrm>
        </p:spPr>
        <p:txBody>
          <a:bodyPr/>
          <a:lstStyle>
            <a:lvl1pPr algn="ctr">
              <a:defRPr/>
            </a:lvl1pPr>
          </a:lstStyle>
          <a:p>
            <a:pPr lvl="0"/>
            <a:r>
              <a:rPr lang="en-GB" dirty="0"/>
              <a:t> </a:t>
            </a:r>
          </a:p>
        </p:txBody>
      </p:sp>
      <p:sp>
        <p:nvSpPr>
          <p:cNvPr id="47" name="Text Placeholder 2">
            <a:extLst>
              <a:ext uri="{FF2B5EF4-FFF2-40B4-BE49-F238E27FC236}">
                <a16:creationId xmlns:a16="http://schemas.microsoft.com/office/drawing/2014/main" id="{3CC321D9-553A-4B48-B1E8-BBB30FB2F0B9}"/>
              </a:ext>
            </a:extLst>
          </p:cNvPr>
          <p:cNvSpPr>
            <a:spLocks noGrp="1"/>
          </p:cNvSpPr>
          <p:nvPr>
            <p:ph type="body" sz="quarter" idx="71" hasCustomPrompt="1"/>
          </p:nvPr>
        </p:nvSpPr>
        <p:spPr>
          <a:xfrm>
            <a:off x="4545045" y="1974817"/>
            <a:ext cx="1196308" cy="345600"/>
          </a:xfrm>
        </p:spPr>
        <p:txBody>
          <a:bodyPr/>
          <a:lstStyle>
            <a:lvl1pPr algn="ctr">
              <a:defRPr/>
            </a:lvl1pPr>
          </a:lstStyle>
          <a:p>
            <a:pPr lvl="0"/>
            <a:r>
              <a:rPr lang="en-GB" dirty="0"/>
              <a:t> </a:t>
            </a:r>
          </a:p>
        </p:txBody>
      </p:sp>
      <p:sp>
        <p:nvSpPr>
          <p:cNvPr id="48" name="Text Placeholder 2">
            <a:extLst>
              <a:ext uri="{FF2B5EF4-FFF2-40B4-BE49-F238E27FC236}">
                <a16:creationId xmlns:a16="http://schemas.microsoft.com/office/drawing/2014/main" id="{7F01393A-1366-4527-B5E3-C958F56DED86}"/>
              </a:ext>
            </a:extLst>
          </p:cNvPr>
          <p:cNvSpPr>
            <a:spLocks noGrp="1"/>
          </p:cNvSpPr>
          <p:nvPr>
            <p:ph type="body" sz="quarter" idx="72" hasCustomPrompt="1"/>
          </p:nvPr>
        </p:nvSpPr>
        <p:spPr>
          <a:xfrm>
            <a:off x="6624015" y="1974785"/>
            <a:ext cx="1196308" cy="345600"/>
          </a:xfrm>
        </p:spPr>
        <p:txBody>
          <a:bodyPr/>
          <a:lstStyle>
            <a:lvl1pPr algn="ctr">
              <a:defRPr/>
            </a:lvl1pPr>
          </a:lstStyle>
          <a:p>
            <a:pPr lvl="0"/>
            <a:r>
              <a:rPr lang="en-GB" dirty="0"/>
              <a:t> </a:t>
            </a:r>
          </a:p>
        </p:txBody>
      </p:sp>
      <p:sp>
        <p:nvSpPr>
          <p:cNvPr id="49" name="Text Placeholder 2">
            <a:extLst>
              <a:ext uri="{FF2B5EF4-FFF2-40B4-BE49-F238E27FC236}">
                <a16:creationId xmlns:a16="http://schemas.microsoft.com/office/drawing/2014/main" id="{7059C6D9-91DE-4608-A79E-3FBFF56DEBF4}"/>
              </a:ext>
            </a:extLst>
          </p:cNvPr>
          <p:cNvSpPr>
            <a:spLocks noGrp="1"/>
          </p:cNvSpPr>
          <p:nvPr>
            <p:ph type="body" sz="quarter" idx="73" hasCustomPrompt="1"/>
          </p:nvPr>
        </p:nvSpPr>
        <p:spPr>
          <a:xfrm>
            <a:off x="8679172" y="1974801"/>
            <a:ext cx="1196308" cy="345600"/>
          </a:xfrm>
        </p:spPr>
        <p:txBody>
          <a:bodyPr/>
          <a:lstStyle>
            <a:lvl1pPr algn="ctr">
              <a:defRPr/>
            </a:lvl1pPr>
          </a:lstStyle>
          <a:p>
            <a:pPr lvl="0"/>
            <a:r>
              <a:rPr lang="en-GB" dirty="0"/>
              <a:t> </a:t>
            </a:r>
          </a:p>
        </p:txBody>
      </p:sp>
      <p:sp>
        <p:nvSpPr>
          <p:cNvPr id="50" name="Text Placeholder 2">
            <a:extLst>
              <a:ext uri="{FF2B5EF4-FFF2-40B4-BE49-F238E27FC236}">
                <a16:creationId xmlns:a16="http://schemas.microsoft.com/office/drawing/2014/main" id="{545B158C-A6B9-48C9-AFE7-6D2140ACBD2C}"/>
              </a:ext>
            </a:extLst>
          </p:cNvPr>
          <p:cNvSpPr>
            <a:spLocks noGrp="1"/>
          </p:cNvSpPr>
          <p:nvPr>
            <p:ph type="body" sz="quarter" idx="74" hasCustomPrompt="1"/>
          </p:nvPr>
        </p:nvSpPr>
        <p:spPr>
          <a:xfrm>
            <a:off x="2460914" y="3501313"/>
            <a:ext cx="1196308" cy="345600"/>
          </a:xfrm>
        </p:spPr>
        <p:txBody>
          <a:bodyPr/>
          <a:lstStyle>
            <a:lvl1pPr algn="ctr">
              <a:defRPr/>
            </a:lvl1pPr>
          </a:lstStyle>
          <a:p>
            <a:pPr lvl="0"/>
            <a:r>
              <a:rPr lang="en-GB" dirty="0"/>
              <a:t> </a:t>
            </a:r>
          </a:p>
        </p:txBody>
      </p:sp>
      <p:sp>
        <p:nvSpPr>
          <p:cNvPr id="51" name="Text Placeholder 2">
            <a:extLst>
              <a:ext uri="{FF2B5EF4-FFF2-40B4-BE49-F238E27FC236}">
                <a16:creationId xmlns:a16="http://schemas.microsoft.com/office/drawing/2014/main" id="{C2A28CC4-3D2A-4470-802A-24080704E6F3}"/>
              </a:ext>
            </a:extLst>
          </p:cNvPr>
          <p:cNvSpPr>
            <a:spLocks noGrp="1"/>
          </p:cNvSpPr>
          <p:nvPr>
            <p:ph type="body" sz="quarter" idx="75" hasCustomPrompt="1"/>
          </p:nvPr>
        </p:nvSpPr>
        <p:spPr>
          <a:xfrm>
            <a:off x="4545045" y="3501329"/>
            <a:ext cx="1196308" cy="345600"/>
          </a:xfrm>
        </p:spPr>
        <p:txBody>
          <a:bodyPr/>
          <a:lstStyle>
            <a:lvl1pPr algn="ctr">
              <a:defRPr/>
            </a:lvl1pPr>
          </a:lstStyle>
          <a:p>
            <a:pPr lvl="0"/>
            <a:r>
              <a:rPr lang="en-GB" dirty="0"/>
              <a:t> </a:t>
            </a:r>
          </a:p>
        </p:txBody>
      </p:sp>
      <p:sp>
        <p:nvSpPr>
          <p:cNvPr id="52" name="Text Placeholder 2">
            <a:extLst>
              <a:ext uri="{FF2B5EF4-FFF2-40B4-BE49-F238E27FC236}">
                <a16:creationId xmlns:a16="http://schemas.microsoft.com/office/drawing/2014/main" id="{98409D1A-DE63-410E-8ED7-83D5D84BDF1A}"/>
              </a:ext>
            </a:extLst>
          </p:cNvPr>
          <p:cNvSpPr>
            <a:spLocks noGrp="1"/>
          </p:cNvSpPr>
          <p:nvPr>
            <p:ph type="body" sz="quarter" idx="76" hasCustomPrompt="1"/>
          </p:nvPr>
        </p:nvSpPr>
        <p:spPr>
          <a:xfrm>
            <a:off x="6624015" y="3501297"/>
            <a:ext cx="1196308" cy="345600"/>
          </a:xfrm>
        </p:spPr>
        <p:txBody>
          <a:bodyPr/>
          <a:lstStyle>
            <a:lvl1pPr algn="ctr">
              <a:defRPr/>
            </a:lvl1pPr>
          </a:lstStyle>
          <a:p>
            <a:pPr lvl="0"/>
            <a:r>
              <a:rPr lang="en-GB" dirty="0"/>
              <a:t> </a:t>
            </a:r>
          </a:p>
        </p:txBody>
      </p:sp>
      <p:sp>
        <p:nvSpPr>
          <p:cNvPr id="53" name="Text Placeholder 2">
            <a:extLst>
              <a:ext uri="{FF2B5EF4-FFF2-40B4-BE49-F238E27FC236}">
                <a16:creationId xmlns:a16="http://schemas.microsoft.com/office/drawing/2014/main" id="{6F194830-7D74-4B87-9966-30BF0513ECB7}"/>
              </a:ext>
            </a:extLst>
          </p:cNvPr>
          <p:cNvSpPr>
            <a:spLocks noGrp="1"/>
          </p:cNvSpPr>
          <p:nvPr>
            <p:ph type="body" sz="quarter" idx="77" hasCustomPrompt="1"/>
          </p:nvPr>
        </p:nvSpPr>
        <p:spPr>
          <a:xfrm>
            <a:off x="8679172" y="3501313"/>
            <a:ext cx="1196308" cy="345600"/>
          </a:xfrm>
        </p:spPr>
        <p:txBody>
          <a:bodyPr/>
          <a:lstStyle>
            <a:lvl1pPr algn="ctr">
              <a:defRPr/>
            </a:lvl1pPr>
          </a:lstStyle>
          <a:p>
            <a:pPr lvl="0"/>
            <a:r>
              <a:rPr lang="en-GB" dirty="0"/>
              <a:t> </a:t>
            </a:r>
          </a:p>
        </p:txBody>
      </p:sp>
      <p:sp>
        <p:nvSpPr>
          <p:cNvPr id="54" name="Text Placeholder 2">
            <a:extLst>
              <a:ext uri="{FF2B5EF4-FFF2-40B4-BE49-F238E27FC236}">
                <a16:creationId xmlns:a16="http://schemas.microsoft.com/office/drawing/2014/main" id="{CCCD5AB9-6EF4-4874-94BE-00BE087DED89}"/>
              </a:ext>
            </a:extLst>
          </p:cNvPr>
          <p:cNvSpPr>
            <a:spLocks noGrp="1"/>
          </p:cNvSpPr>
          <p:nvPr>
            <p:ph type="body" sz="quarter" idx="78" hasCustomPrompt="1"/>
          </p:nvPr>
        </p:nvSpPr>
        <p:spPr>
          <a:xfrm>
            <a:off x="2451461" y="5085489"/>
            <a:ext cx="1196308" cy="345600"/>
          </a:xfrm>
        </p:spPr>
        <p:txBody>
          <a:bodyPr/>
          <a:lstStyle>
            <a:lvl1pPr algn="ctr">
              <a:defRPr/>
            </a:lvl1pPr>
          </a:lstStyle>
          <a:p>
            <a:pPr lvl="0"/>
            <a:r>
              <a:rPr lang="en-GB" dirty="0"/>
              <a:t> </a:t>
            </a:r>
          </a:p>
        </p:txBody>
      </p:sp>
      <p:sp>
        <p:nvSpPr>
          <p:cNvPr id="55" name="Text Placeholder 2">
            <a:extLst>
              <a:ext uri="{FF2B5EF4-FFF2-40B4-BE49-F238E27FC236}">
                <a16:creationId xmlns:a16="http://schemas.microsoft.com/office/drawing/2014/main" id="{BB62D999-B358-4CF2-80D4-D759F7BB6E54}"/>
              </a:ext>
            </a:extLst>
          </p:cNvPr>
          <p:cNvSpPr>
            <a:spLocks noGrp="1"/>
          </p:cNvSpPr>
          <p:nvPr>
            <p:ph type="body" sz="quarter" idx="79" hasCustomPrompt="1"/>
          </p:nvPr>
        </p:nvSpPr>
        <p:spPr>
          <a:xfrm>
            <a:off x="4534866" y="5085505"/>
            <a:ext cx="1196308" cy="345600"/>
          </a:xfrm>
        </p:spPr>
        <p:txBody>
          <a:bodyPr/>
          <a:lstStyle>
            <a:lvl1pPr algn="ctr">
              <a:defRPr/>
            </a:lvl1pPr>
          </a:lstStyle>
          <a:p>
            <a:pPr lvl="0"/>
            <a:r>
              <a:rPr lang="en-GB" dirty="0"/>
              <a:t> </a:t>
            </a:r>
          </a:p>
        </p:txBody>
      </p:sp>
      <p:sp>
        <p:nvSpPr>
          <p:cNvPr id="56" name="Text Placeholder 2">
            <a:extLst>
              <a:ext uri="{FF2B5EF4-FFF2-40B4-BE49-F238E27FC236}">
                <a16:creationId xmlns:a16="http://schemas.microsoft.com/office/drawing/2014/main" id="{CEE54602-A459-4EE3-A602-647DF0F9C7FA}"/>
              </a:ext>
            </a:extLst>
          </p:cNvPr>
          <p:cNvSpPr>
            <a:spLocks noGrp="1"/>
          </p:cNvSpPr>
          <p:nvPr>
            <p:ph type="body" sz="quarter" idx="80" hasCustomPrompt="1"/>
          </p:nvPr>
        </p:nvSpPr>
        <p:spPr>
          <a:xfrm>
            <a:off x="6613836" y="5085473"/>
            <a:ext cx="1196308" cy="345600"/>
          </a:xfrm>
        </p:spPr>
        <p:txBody>
          <a:bodyPr/>
          <a:lstStyle>
            <a:lvl1pPr algn="ctr">
              <a:defRPr/>
            </a:lvl1pPr>
          </a:lstStyle>
          <a:p>
            <a:pPr lvl="0"/>
            <a:r>
              <a:rPr lang="en-GB" dirty="0"/>
              <a:t> </a:t>
            </a:r>
          </a:p>
        </p:txBody>
      </p:sp>
      <p:sp>
        <p:nvSpPr>
          <p:cNvPr id="57" name="Text Placeholder 2">
            <a:extLst>
              <a:ext uri="{FF2B5EF4-FFF2-40B4-BE49-F238E27FC236}">
                <a16:creationId xmlns:a16="http://schemas.microsoft.com/office/drawing/2014/main" id="{CE267C83-700A-41E4-9D2B-3511DCC58529}"/>
              </a:ext>
            </a:extLst>
          </p:cNvPr>
          <p:cNvSpPr>
            <a:spLocks noGrp="1"/>
          </p:cNvSpPr>
          <p:nvPr>
            <p:ph type="body" sz="quarter" idx="81" hasCustomPrompt="1"/>
          </p:nvPr>
        </p:nvSpPr>
        <p:spPr>
          <a:xfrm>
            <a:off x="8668993" y="5085489"/>
            <a:ext cx="1196308" cy="345600"/>
          </a:xfrm>
        </p:spPr>
        <p:txBody>
          <a:bodyPr/>
          <a:lstStyle>
            <a:lvl1pPr algn="ctr">
              <a:defRPr/>
            </a:lvl1pPr>
          </a:lstStyle>
          <a:p>
            <a:pPr lvl="0"/>
            <a:r>
              <a:rPr lang="en-GB" dirty="0"/>
              <a:t> </a:t>
            </a:r>
          </a:p>
        </p:txBody>
      </p:sp>
      <p:sp>
        <p:nvSpPr>
          <p:cNvPr id="5" name="Slide Number Placeholder 4">
            <a:extLst>
              <a:ext uri="{FF2B5EF4-FFF2-40B4-BE49-F238E27FC236}">
                <a16:creationId xmlns:a16="http://schemas.microsoft.com/office/drawing/2014/main" id="{D4E7310C-C85A-4551-A415-9271B36840AA}"/>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Heading">
            <a:extLst>
              <a:ext uri="{FF2B5EF4-FFF2-40B4-BE49-F238E27FC236}">
                <a16:creationId xmlns:a16="http://schemas.microsoft.com/office/drawing/2014/main" id="{D8066665-D2A8-4727-83C9-728D33DC6058}"/>
              </a:ext>
            </a:extLst>
          </p:cNvPr>
          <p:cNvSpPr>
            <a:spLocks noGrp="1"/>
          </p:cNvSpPr>
          <p:nvPr>
            <p:ph type="body" sz="quarter" idx="30" hasCustomPrompt="1"/>
          </p:nvPr>
        </p:nvSpPr>
        <p:spPr>
          <a:xfrm>
            <a:off x="798150" y="620689"/>
            <a:ext cx="8161216" cy="268719"/>
          </a:xfrm>
        </p:spPr>
        <p:txBody>
          <a:bodyPr/>
          <a:lstStyle>
            <a:lvl1pPr>
              <a:defRPr b="1" cap="all" baseline="0"/>
            </a:lvl1pPr>
          </a:lstStyle>
          <a:p>
            <a:pPr lvl="0"/>
            <a:r>
              <a:rPr lang="en-US" dirty="0"/>
              <a:t>REPRESENTATIVE EXPERIENCE</a:t>
            </a:r>
            <a:endParaRPr lang="en-GB" dirty="0"/>
          </a:p>
        </p:txBody>
      </p:sp>
      <p:sp>
        <p:nvSpPr>
          <p:cNvPr id="8" name="Line">
            <a:extLst>
              <a:ext uri="{FF2B5EF4-FFF2-40B4-BE49-F238E27FC236}">
                <a16:creationId xmlns:a16="http://schemas.microsoft.com/office/drawing/2014/main" id="{25E60FB1-288A-4AD8-8180-5716CED55FA1}"/>
              </a:ext>
            </a:extLst>
          </p:cNvPr>
          <p:cNvSpPr>
            <a:spLocks noGrp="1"/>
          </p:cNvSpPr>
          <p:nvPr>
            <p:ph type="body" sz="quarter" idx="32" hasCustomPrompt="1"/>
          </p:nvPr>
        </p:nvSpPr>
        <p:spPr>
          <a:xfrm>
            <a:off x="4064562" y="1917015"/>
            <a:ext cx="0" cy="4464000"/>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9" name="Line">
            <a:extLst>
              <a:ext uri="{FF2B5EF4-FFF2-40B4-BE49-F238E27FC236}">
                <a16:creationId xmlns:a16="http://schemas.microsoft.com/office/drawing/2014/main" id="{9EA1E333-F59F-4083-B09A-5D05A1CB7CFF}"/>
              </a:ext>
            </a:extLst>
          </p:cNvPr>
          <p:cNvSpPr>
            <a:spLocks noGrp="1"/>
          </p:cNvSpPr>
          <p:nvPr>
            <p:ph type="body" sz="quarter" idx="33" hasCustomPrompt="1"/>
          </p:nvPr>
        </p:nvSpPr>
        <p:spPr>
          <a:xfrm>
            <a:off x="8154233" y="1917015"/>
            <a:ext cx="0" cy="4464000"/>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11" name="Text Placeholder 15">
            <a:extLst>
              <a:ext uri="{FF2B5EF4-FFF2-40B4-BE49-F238E27FC236}">
                <a16:creationId xmlns:a16="http://schemas.microsoft.com/office/drawing/2014/main" id="{90FE023D-DC3E-4712-826C-DC0CB8BBE43A}"/>
              </a:ext>
            </a:extLst>
          </p:cNvPr>
          <p:cNvSpPr>
            <a:spLocks noGrp="1"/>
          </p:cNvSpPr>
          <p:nvPr>
            <p:ph type="body" sz="quarter" idx="21"/>
          </p:nvPr>
        </p:nvSpPr>
        <p:spPr>
          <a:xfrm>
            <a:off x="2160561" y="2378692"/>
            <a:ext cx="1719808" cy="855448"/>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13" name="Logo" descr="PitchPerfect|Logo|Logo">
            <a:extLst>
              <a:ext uri="{FF2B5EF4-FFF2-40B4-BE49-F238E27FC236}">
                <a16:creationId xmlns:a16="http://schemas.microsoft.com/office/drawing/2014/main" id="{BE6B05D4-C446-4898-8217-8A0BB6624840}"/>
              </a:ext>
            </a:extLst>
          </p:cNvPr>
          <p:cNvSpPr>
            <a:spLocks noGrp="1"/>
          </p:cNvSpPr>
          <p:nvPr>
            <p:ph type="pic" sz="quarter" idx="35"/>
          </p:nvPr>
        </p:nvSpPr>
        <p:spPr>
          <a:xfrm>
            <a:off x="2461641" y="1974077"/>
            <a:ext cx="1194857" cy="346324"/>
          </a:xfrm>
        </p:spPr>
        <p:txBody>
          <a:bodyPr/>
          <a:lstStyle>
            <a:lvl1pPr>
              <a:defRPr sz="1000"/>
            </a:lvl1pPr>
          </a:lstStyle>
          <a:p>
            <a:r>
              <a:rPr lang="en-US"/>
              <a:t>Click icon to add picture</a:t>
            </a:r>
            <a:endParaRPr lang="en-GB" dirty="0"/>
          </a:p>
        </p:txBody>
      </p:sp>
      <p:sp>
        <p:nvSpPr>
          <p:cNvPr id="16" name="Line">
            <a:extLst>
              <a:ext uri="{FF2B5EF4-FFF2-40B4-BE49-F238E27FC236}">
                <a16:creationId xmlns:a16="http://schemas.microsoft.com/office/drawing/2014/main" id="{0A752D7D-B772-4846-97DA-CE0C525FA8D6}"/>
              </a:ext>
            </a:extLst>
          </p:cNvPr>
          <p:cNvSpPr>
            <a:spLocks noGrp="1"/>
          </p:cNvSpPr>
          <p:nvPr>
            <p:ph type="body" sz="quarter" idx="38" hasCustomPrompt="1"/>
          </p:nvPr>
        </p:nvSpPr>
        <p:spPr>
          <a:xfrm>
            <a:off x="6109398" y="1916832"/>
            <a:ext cx="0" cy="4464000"/>
          </a:xfrm>
          <a:prstGeom prst="rect">
            <a:avLst/>
          </a:prstGeom>
          <a:ln>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17" name="Text Placeholder 15">
            <a:extLst>
              <a:ext uri="{FF2B5EF4-FFF2-40B4-BE49-F238E27FC236}">
                <a16:creationId xmlns:a16="http://schemas.microsoft.com/office/drawing/2014/main" id="{7EA005A1-4C3E-469A-8B14-64475A27B0F0}"/>
              </a:ext>
            </a:extLst>
          </p:cNvPr>
          <p:cNvSpPr>
            <a:spLocks noGrp="1"/>
          </p:cNvSpPr>
          <p:nvPr>
            <p:ph type="body" sz="quarter" idx="39"/>
          </p:nvPr>
        </p:nvSpPr>
        <p:spPr>
          <a:xfrm>
            <a:off x="4244692" y="2378708"/>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18" name="Logo_1" descr="PitchPerfect|Logo|Logo_1">
            <a:extLst>
              <a:ext uri="{FF2B5EF4-FFF2-40B4-BE49-F238E27FC236}">
                <a16:creationId xmlns:a16="http://schemas.microsoft.com/office/drawing/2014/main" id="{ED6ACE6E-F09B-4B44-9ED2-3AC17832639E}"/>
              </a:ext>
            </a:extLst>
          </p:cNvPr>
          <p:cNvSpPr>
            <a:spLocks noGrp="1"/>
          </p:cNvSpPr>
          <p:nvPr>
            <p:ph type="pic" sz="quarter" idx="40"/>
          </p:nvPr>
        </p:nvSpPr>
        <p:spPr>
          <a:xfrm>
            <a:off x="4545772" y="1974093"/>
            <a:ext cx="1194857" cy="346324"/>
          </a:xfrm>
        </p:spPr>
        <p:txBody>
          <a:bodyPr/>
          <a:lstStyle>
            <a:lvl1pPr>
              <a:defRPr sz="1000"/>
            </a:lvl1pPr>
          </a:lstStyle>
          <a:p>
            <a:r>
              <a:rPr lang="en-US"/>
              <a:t>Click icon to add picture</a:t>
            </a:r>
            <a:endParaRPr lang="en-GB" dirty="0"/>
          </a:p>
        </p:txBody>
      </p:sp>
      <p:sp>
        <p:nvSpPr>
          <p:cNvPr id="21" name="Text Placeholder 15" descr="PitchPerfect|">
            <a:extLst>
              <a:ext uri="{FF2B5EF4-FFF2-40B4-BE49-F238E27FC236}">
                <a16:creationId xmlns:a16="http://schemas.microsoft.com/office/drawing/2014/main" id="{AB344AA4-6614-4087-B0FA-BAD919A09B00}"/>
              </a:ext>
            </a:extLst>
          </p:cNvPr>
          <p:cNvSpPr>
            <a:spLocks noGrp="1"/>
          </p:cNvSpPr>
          <p:nvPr>
            <p:ph type="body" sz="quarter" idx="43"/>
          </p:nvPr>
        </p:nvSpPr>
        <p:spPr>
          <a:xfrm>
            <a:off x="6294688" y="2378676"/>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22" name="Logo_2" descr="PitchPerfect|Logo|Logo_2">
            <a:extLst>
              <a:ext uri="{FF2B5EF4-FFF2-40B4-BE49-F238E27FC236}">
                <a16:creationId xmlns:a16="http://schemas.microsoft.com/office/drawing/2014/main" id="{280F24F5-861E-4B7C-87A4-9D5FF429FD37}"/>
              </a:ext>
            </a:extLst>
          </p:cNvPr>
          <p:cNvSpPr>
            <a:spLocks noGrp="1"/>
          </p:cNvSpPr>
          <p:nvPr>
            <p:ph type="pic" sz="quarter" idx="44"/>
          </p:nvPr>
        </p:nvSpPr>
        <p:spPr>
          <a:xfrm>
            <a:off x="6624741" y="1974061"/>
            <a:ext cx="1194857" cy="346324"/>
          </a:xfrm>
        </p:spPr>
        <p:txBody>
          <a:bodyPr/>
          <a:lstStyle>
            <a:lvl1pPr>
              <a:defRPr sz="1000"/>
            </a:lvl1pPr>
          </a:lstStyle>
          <a:p>
            <a:r>
              <a:rPr lang="en-US"/>
              <a:t>Click icon to add picture</a:t>
            </a:r>
            <a:endParaRPr lang="en-GB"/>
          </a:p>
        </p:txBody>
      </p:sp>
      <p:sp>
        <p:nvSpPr>
          <p:cNvPr id="25" name="Text Placeholder 15">
            <a:extLst>
              <a:ext uri="{FF2B5EF4-FFF2-40B4-BE49-F238E27FC236}">
                <a16:creationId xmlns:a16="http://schemas.microsoft.com/office/drawing/2014/main" id="{C5CC584E-2052-4EB4-B1EF-2FF482BD8CCC}"/>
              </a:ext>
            </a:extLst>
          </p:cNvPr>
          <p:cNvSpPr>
            <a:spLocks noGrp="1"/>
          </p:cNvSpPr>
          <p:nvPr>
            <p:ph type="body" sz="quarter" idx="47"/>
          </p:nvPr>
        </p:nvSpPr>
        <p:spPr>
          <a:xfrm>
            <a:off x="8378818" y="2378692"/>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26" name="Logo_3" descr="PitchPerfect|Logo|Logo_3">
            <a:extLst>
              <a:ext uri="{FF2B5EF4-FFF2-40B4-BE49-F238E27FC236}">
                <a16:creationId xmlns:a16="http://schemas.microsoft.com/office/drawing/2014/main" id="{50B0B0FA-357D-42F6-B47D-4959098956CE}"/>
              </a:ext>
            </a:extLst>
          </p:cNvPr>
          <p:cNvSpPr>
            <a:spLocks noGrp="1"/>
          </p:cNvSpPr>
          <p:nvPr>
            <p:ph type="pic" sz="quarter" idx="48"/>
          </p:nvPr>
        </p:nvSpPr>
        <p:spPr>
          <a:xfrm>
            <a:off x="8680623" y="1974077"/>
            <a:ext cx="1194857" cy="346324"/>
          </a:xfrm>
        </p:spPr>
        <p:txBody>
          <a:bodyPr/>
          <a:lstStyle>
            <a:lvl1pPr>
              <a:defRPr sz="1000"/>
            </a:lvl1pPr>
          </a:lstStyle>
          <a:p>
            <a:r>
              <a:rPr lang="en-US"/>
              <a:t>Click icon to add picture</a:t>
            </a:r>
            <a:endParaRPr lang="en-GB" dirty="0"/>
          </a:p>
        </p:txBody>
      </p:sp>
      <p:sp>
        <p:nvSpPr>
          <p:cNvPr id="12" name="Text Placeholder 11">
            <a:extLst>
              <a:ext uri="{FF2B5EF4-FFF2-40B4-BE49-F238E27FC236}">
                <a16:creationId xmlns:a16="http://schemas.microsoft.com/office/drawing/2014/main" id="{A3454766-FBCA-4B7A-93F7-84108F379861}"/>
              </a:ext>
            </a:extLst>
          </p:cNvPr>
          <p:cNvSpPr>
            <a:spLocks noGrp="1"/>
          </p:cNvSpPr>
          <p:nvPr>
            <p:ph type="body" sz="quarter" idx="51" hasCustomPrompt="1"/>
          </p:nvPr>
        </p:nvSpPr>
        <p:spPr>
          <a:xfrm>
            <a:off x="777631" y="1412776"/>
            <a:ext cx="10615247" cy="201612"/>
          </a:xfrm>
        </p:spPr>
        <p:txBody>
          <a:bodyPr/>
          <a:lstStyle>
            <a:lvl1pPr>
              <a:defRPr sz="1300"/>
            </a:lvl1pPr>
            <a:lvl3pPr marL="0" indent="0">
              <a:buNone/>
              <a:defRPr/>
            </a:lvl3pPr>
          </a:lstStyle>
          <a:p>
            <a:pPr lvl="0"/>
            <a:r>
              <a:rPr lang="en-US" dirty="0"/>
              <a:t>Click here to add heading – press enter and indent to add body text</a:t>
            </a:r>
          </a:p>
          <a:p>
            <a:pPr lvl="1"/>
            <a:r>
              <a:rPr lang="en-US" dirty="0"/>
              <a:t>Second level</a:t>
            </a:r>
          </a:p>
        </p:txBody>
      </p:sp>
      <p:sp>
        <p:nvSpPr>
          <p:cNvPr id="29" name="Line">
            <a:extLst>
              <a:ext uri="{FF2B5EF4-FFF2-40B4-BE49-F238E27FC236}">
                <a16:creationId xmlns:a16="http://schemas.microsoft.com/office/drawing/2014/main" id="{B5BE0B27-D3A9-4E05-9B18-4FAD4F8C7C17}"/>
              </a:ext>
            </a:extLst>
          </p:cNvPr>
          <p:cNvSpPr>
            <a:spLocks noGrp="1"/>
          </p:cNvSpPr>
          <p:nvPr>
            <p:ph type="body" sz="quarter" idx="52" hasCustomPrompt="1"/>
          </p:nvPr>
        </p:nvSpPr>
        <p:spPr>
          <a:xfrm rot="5400000">
            <a:off x="6111658" y="-786879"/>
            <a:ext cx="0" cy="8362086"/>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30" name="Line">
            <a:extLst>
              <a:ext uri="{FF2B5EF4-FFF2-40B4-BE49-F238E27FC236}">
                <a16:creationId xmlns:a16="http://schemas.microsoft.com/office/drawing/2014/main" id="{155B43D6-0958-451B-BDEB-DA32A0B022F8}"/>
              </a:ext>
            </a:extLst>
          </p:cNvPr>
          <p:cNvSpPr>
            <a:spLocks noGrp="1"/>
          </p:cNvSpPr>
          <p:nvPr>
            <p:ph type="body" sz="quarter" idx="53" hasCustomPrompt="1"/>
          </p:nvPr>
        </p:nvSpPr>
        <p:spPr>
          <a:xfrm rot="5400000">
            <a:off x="6125172" y="744439"/>
            <a:ext cx="0" cy="8362086"/>
          </a:xfrm>
          <a:prstGeom prst="rect">
            <a:avLst/>
          </a:prstGeom>
          <a:ln w="6350">
            <a:solidFill>
              <a:schemeClr val="accent3"/>
            </a:solidFill>
          </a:ln>
        </p:spPr>
        <p:txBody>
          <a:bodyPr>
            <a:normAutofit/>
          </a:bodyPr>
          <a:lstStyle>
            <a:lvl1pPr>
              <a:defRPr sz="100">
                <a:solidFill>
                  <a:schemeClr val="accent3"/>
                </a:solidFill>
              </a:defRPr>
            </a:lvl1pPr>
            <a:lvl5pPr marL="432000" indent="0">
              <a:buNone/>
              <a:defRPr/>
            </a:lvl5pPr>
          </a:lstStyle>
          <a:p>
            <a:pPr lvl="0"/>
            <a:r>
              <a:rPr lang="en-US" dirty="0"/>
              <a:t>T</a:t>
            </a:r>
            <a:endParaRPr lang="en-GB" dirty="0"/>
          </a:p>
        </p:txBody>
      </p:sp>
      <p:sp>
        <p:nvSpPr>
          <p:cNvPr id="31" name="Text Placeholder 15">
            <a:extLst>
              <a:ext uri="{FF2B5EF4-FFF2-40B4-BE49-F238E27FC236}">
                <a16:creationId xmlns:a16="http://schemas.microsoft.com/office/drawing/2014/main" id="{2AED89B6-3C36-4D61-A58D-1E6163531D52}"/>
              </a:ext>
            </a:extLst>
          </p:cNvPr>
          <p:cNvSpPr>
            <a:spLocks noGrp="1"/>
          </p:cNvSpPr>
          <p:nvPr>
            <p:ph type="body" sz="quarter" idx="54"/>
          </p:nvPr>
        </p:nvSpPr>
        <p:spPr>
          <a:xfrm>
            <a:off x="2160561" y="3905204"/>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32" name="Logo_4" descr="PitchPerfect|Logo|Logo_4">
            <a:extLst>
              <a:ext uri="{FF2B5EF4-FFF2-40B4-BE49-F238E27FC236}">
                <a16:creationId xmlns:a16="http://schemas.microsoft.com/office/drawing/2014/main" id="{7220C238-F5B8-412E-8E45-DDCEC993DD01}"/>
              </a:ext>
            </a:extLst>
          </p:cNvPr>
          <p:cNvSpPr>
            <a:spLocks noGrp="1"/>
          </p:cNvSpPr>
          <p:nvPr>
            <p:ph type="pic" sz="quarter" idx="55"/>
          </p:nvPr>
        </p:nvSpPr>
        <p:spPr>
          <a:xfrm>
            <a:off x="2462366" y="3500589"/>
            <a:ext cx="1194857" cy="346324"/>
          </a:xfrm>
        </p:spPr>
        <p:txBody>
          <a:bodyPr/>
          <a:lstStyle>
            <a:lvl1pPr>
              <a:defRPr sz="1000"/>
            </a:lvl1pPr>
          </a:lstStyle>
          <a:p>
            <a:r>
              <a:rPr lang="en-US"/>
              <a:t>Click icon to add picture</a:t>
            </a:r>
            <a:endParaRPr lang="en-GB"/>
          </a:p>
        </p:txBody>
      </p:sp>
      <p:sp>
        <p:nvSpPr>
          <p:cNvPr id="33" name="Text Placeholder 15">
            <a:extLst>
              <a:ext uri="{FF2B5EF4-FFF2-40B4-BE49-F238E27FC236}">
                <a16:creationId xmlns:a16="http://schemas.microsoft.com/office/drawing/2014/main" id="{1F0C3EBF-C5F2-4DFD-BD0C-409C39BB6F2B}"/>
              </a:ext>
            </a:extLst>
          </p:cNvPr>
          <p:cNvSpPr>
            <a:spLocks noGrp="1"/>
          </p:cNvSpPr>
          <p:nvPr>
            <p:ph type="body" sz="quarter" idx="56"/>
          </p:nvPr>
        </p:nvSpPr>
        <p:spPr>
          <a:xfrm>
            <a:off x="4244692" y="3905220"/>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34" name="Logo_5" descr="PitchPerfect|Logo|Logo_5">
            <a:extLst>
              <a:ext uri="{FF2B5EF4-FFF2-40B4-BE49-F238E27FC236}">
                <a16:creationId xmlns:a16="http://schemas.microsoft.com/office/drawing/2014/main" id="{C1138216-7BCA-4909-9556-D2FFC334B063}"/>
              </a:ext>
            </a:extLst>
          </p:cNvPr>
          <p:cNvSpPr>
            <a:spLocks noGrp="1"/>
          </p:cNvSpPr>
          <p:nvPr>
            <p:ph type="pic" sz="quarter" idx="57"/>
          </p:nvPr>
        </p:nvSpPr>
        <p:spPr>
          <a:xfrm>
            <a:off x="4546496" y="3500605"/>
            <a:ext cx="1194857" cy="346324"/>
          </a:xfrm>
        </p:spPr>
        <p:txBody>
          <a:bodyPr/>
          <a:lstStyle>
            <a:lvl1pPr>
              <a:defRPr sz="1000"/>
            </a:lvl1pPr>
          </a:lstStyle>
          <a:p>
            <a:r>
              <a:rPr lang="en-US"/>
              <a:t>Click icon to add picture</a:t>
            </a:r>
            <a:endParaRPr lang="en-GB" dirty="0"/>
          </a:p>
        </p:txBody>
      </p:sp>
      <p:sp>
        <p:nvSpPr>
          <p:cNvPr id="35" name="Text Placeholder 15">
            <a:extLst>
              <a:ext uri="{FF2B5EF4-FFF2-40B4-BE49-F238E27FC236}">
                <a16:creationId xmlns:a16="http://schemas.microsoft.com/office/drawing/2014/main" id="{3D57AD4C-721C-430B-8041-DB929341D05C}"/>
              </a:ext>
            </a:extLst>
          </p:cNvPr>
          <p:cNvSpPr>
            <a:spLocks noGrp="1"/>
          </p:cNvSpPr>
          <p:nvPr>
            <p:ph type="body" sz="quarter" idx="58"/>
          </p:nvPr>
        </p:nvSpPr>
        <p:spPr>
          <a:xfrm>
            <a:off x="6294688" y="3905188"/>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36" name="Logo_6" descr="PitchPerfect|Logo|Logo_6">
            <a:extLst>
              <a:ext uri="{FF2B5EF4-FFF2-40B4-BE49-F238E27FC236}">
                <a16:creationId xmlns:a16="http://schemas.microsoft.com/office/drawing/2014/main" id="{682B5F9F-550E-4A0A-93CF-42E44F350A2F}"/>
              </a:ext>
            </a:extLst>
          </p:cNvPr>
          <p:cNvSpPr>
            <a:spLocks noGrp="1"/>
          </p:cNvSpPr>
          <p:nvPr>
            <p:ph type="pic" sz="quarter" idx="59"/>
          </p:nvPr>
        </p:nvSpPr>
        <p:spPr>
          <a:xfrm>
            <a:off x="6624741" y="3500573"/>
            <a:ext cx="1194857" cy="346324"/>
          </a:xfrm>
        </p:spPr>
        <p:txBody>
          <a:bodyPr/>
          <a:lstStyle>
            <a:lvl1pPr>
              <a:defRPr sz="1000"/>
            </a:lvl1pPr>
          </a:lstStyle>
          <a:p>
            <a:r>
              <a:rPr lang="en-US"/>
              <a:t>Click icon to add picture</a:t>
            </a:r>
            <a:endParaRPr lang="en-GB"/>
          </a:p>
        </p:txBody>
      </p:sp>
      <p:sp>
        <p:nvSpPr>
          <p:cNvPr id="37" name="Text Placeholder 15">
            <a:extLst>
              <a:ext uri="{FF2B5EF4-FFF2-40B4-BE49-F238E27FC236}">
                <a16:creationId xmlns:a16="http://schemas.microsoft.com/office/drawing/2014/main" id="{0972F213-237C-4791-BA34-44EAF4FC3895}"/>
              </a:ext>
            </a:extLst>
          </p:cNvPr>
          <p:cNvSpPr>
            <a:spLocks noGrp="1"/>
          </p:cNvSpPr>
          <p:nvPr>
            <p:ph type="body" sz="quarter" idx="60"/>
          </p:nvPr>
        </p:nvSpPr>
        <p:spPr>
          <a:xfrm>
            <a:off x="8378818" y="3905204"/>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38" name="Logo_7" descr="PitchPerfect|Logo|Logo_7">
            <a:extLst>
              <a:ext uri="{FF2B5EF4-FFF2-40B4-BE49-F238E27FC236}">
                <a16:creationId xmlns:a16="http://schemas.microsoft.com/office/drawing/2014/main" id="{7C6C8549-7FBA-4503-AC9A-C67D4ABE8D25}"/>
              </a:ext>
            </a:extLst>
          </p:cNvPr>
          <p:cNvSpPr>
            <a:spLocks noGrp="1"/>
          </p:cNvSpPr>
          <p:nvPr>
            <p:ph type="pic" sz="quarter" idx="61"/>
          </p:nvPr>
        </p:nvSpPr>
        <p:spPr>
          <a:xfrm>
            <a:off x="8680623" y="3500589"/>
            <a:ext cx="1194857" cy="346324"/>
          </a:xfrm>
        </p:spPr>
        <p:txBody>
          <a:bodyPr/>
          <a:lstStyle>
            <a:lvl1pPr>
              <a:defRPr sz="1000"/>
            </a:lvl1pPr>
          </a:lstStyle>
          <a:p>
            <a:r>
              <a:rPr lang="en-US"/>
              <a:t>Click icon to add picture</a:t>
            </a:r>
            <a:endParaRPr lang="en-GB" dirty="0"/>
          </a:p>
        </p:txBody>
      </p:sp>
      <p:sp>
        <p:nvSpPr>
          <p:cNvPr id="39" name="Text Placeholder 15">
            <a:extLst>
              <a:ext uri="{FF2B5EF4-FFF2-40B4-BE49-F238E27FC236}">
                <a16:creationId xmlns:a16="http://schemas.microsoft.com/office/drawing/2014/main" id="{89C6F3E8-8D7B-4A8B-9105-B56463DC4717}"/>
              </a:ext>
            </a:extLst>
          </p:cNvPr>
          <p:cNvSpPr>
            <a:spLocks noGrp="1"/>
          </p:cNvSpPr>
          <p:nvPr>
            <p:ph type="body" sz="quarter" idx="62"/>
          </p:nvPr>
        </p:nvSpPr>
        <p:spPr>
          <a:xfrm>
            <a:off x="2151108" y="5489380"/>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40" name="Logo_8" descr="PitchPerfect|Logo|Logo_8">
            <a:extLst>
              <a:ext uri="{FF2B5EF4-FFF2-40B4-BE49-F238E27FC236}">
                <a16:creationId xmlns:a16="http://schemas.microsoft.com/office/drawing/2014/main" id="{9E8ABFD9-9149-4B37-8DB3-1819FEB90928}"/>
              </a:ext>
            </a:extLst>
          </p:cNvPr>
          <p:cNvSpPr>
            <a:spLocks noGrp="1"/>
          </p:cNvSpPr>
          <p:nvPr>
            <p:ph type="pic" sz="quarter" idx="63"/>
          </p:nvPr>
        </p:nvSpPr>
        <p:spPr>
          <a:xfrm>
            <a:off x="2452912" y="5084765"/>
            <a:ext cx="1194857" cy="346324"/>
          </a:xfrm>
        </p:spPr>
        <p:txBody>
          <a:bodyPr/>
          <a:lstStyle>
            <a:lvl1pPr>
              <a:defRPr sz="1000"/>
            </a:lvl1pPr>
          </a:lstStyle>
          <a:p>
            <a:r>
              <a:rPr lang="en-US"/>
              <a:t>Click icon to add picture</a:t>
            </a:r>
            <a:endParaRPr lang="en-GB"/>
          </a:p>
        </p:txBody>
      </p:sp>
      <p:sp>
        <p:nvSpPr>
          <p:cNvPr id="41" name="Text Placeholder 15">
            <a:extLst>
              <a:ext uri="{FF2B5EF4-FFF2-40B4-BE49-F238E27FC236}">
                <a16:creationId xmlns:a16="http://schemas.microsoft.com/office/drawing/2014/main" id="{BB9F08C2-E72F-4666-8871-56DE26B58535}"/>
              </a:ext>
            </a:extLst>
          </p:cNvPr>
          <p:cNvSpPr>
            <a:spLocks noGrp="1"/>
          </p:cNvSpPr>
          <p:nvPr>
            <p:ph type="body" sz="quarter" idx="64"/>
          </p:nvPr>
        </p:nvSpPr>
        <p:spPr>
          <a:xfrm>
            <a:off x="4235238" y="5489396"/>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42" name="Logo_9" descr="PitchPerfect|Logo|Logo_9">
            <a:extLst>
              <a:ext uri="{FF2B5EF4-FFF2-40B4-BE49-F238E27FC236}">
                <a16:creationId xmlns:a16="http://schemas.microsoft.com/office/drawing/2014/main" id="{56201FE9-1398-49E6-935F-A59AAACF412B}"/>
              </a:ext>
            </a:extLst>
          </p:cNvPr>
          <p:cNvSpPr>
            <a:spLocks noGrp="1"/>
          </p:cNvSpPr>
          <p:nvPr>
            <p:ph type="pic" sz="quarter" idx="65"/>
          </p:nvPr>
        </p:nvSpPr>
        <p:spPr>
          <a:xfrm>
            <a:off x="4537043" y="5084781"/>
            <a:ext cx="1194857" cy="346324"/>
          </a:xfrm>
        </p:spPr>
        <p:txBody>
          <a:bodyPr/>
          <a:lstStyle>
            <a:lvl1pPr>
              <a:defRPr sz="1000"/>
            </a:lvl1pPr>
          </a:lstStyle>
          <a:p>
            <a:r>
              <a:rPr lang="en-US"/>
              <a:t>Click icon to add picture</a:t>
            </a:r>
            <a:endParaRPr lang="en-GB" dirty="0"/>
          </a:p>
        </p:txBody>
      </p:sp>
      <p:sp>
        <p:nvSpPr>
          <p:cNvPr id="43" name="Text Placeholder 15">
            <a:extLst>
              <a:ext uri="{FF2B5EF4-FFF2-40B4-BE49-F238E27FC236}">
                <a16:creationId xmlns:a16="http://schemas.microsoft.com/office/drawing/2014/main" id="{3BBE11FF-1F7B-4DEC-9587-8BDDBB30AAF3}"/>
              </a:ext>
            </a:extLst>
          </p:cNvPr>
          <p:cNvSpPr>
            <a:spLocks noGrp="1"/>
          </p:cNvSpPr>
          <p:nvPr>
            <p:ph type="body" sz="quarter" idx="66"/>
          </p:nvPr>
        </p:nvSpPr>
        <p:spPr>
          <a:xfrm>
            <a:off x="6285234" y="5489364"/>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44" name="Logo_10" descr="PitchPerfect|Logo|Logo_10">
            <a:extLst>
              <a:ext uri="{FF2B5EF4-FFF2-40B4-BE49-F238E27FC236}">
                <a16:creationId xmlns:a16="http://schemas.microsoft.com/office/drawing/2014/main" id="{A04FBA40-1A6F-42E3-B02C-96204F0B31C2}"/>
              </a:ext>
            </a:extLst>
          </p:cNvPr>
          <p:cNvSpPr>
            <a:spLocks noGrp="1"/>
          </p:cNvSpPr>
          <p:nvPr>
            <p:ph type="pic" sz="quarter" idx="67"/>
          </p:nvPr>
        </p:nvSpPr>
        <p:spPr>
          <a:xfrm>
            <a:off x="6615288" y="5084749"/>
            <a:ext cx="1194857" cy="346324"/>
          </a:xfrm>
        </p:spPr>
        <p:txBody>
          <a:bodyPr/>
          <a:lstStyle>
            <a:lvl1pPr>
              <a:defRPr sz="1000"/>
            </a:lvl1pPr>
          </a:lstStyle>
          <a:p>
            <a:r>
              <a:rPr lang="en-US"/>
              <a:t>Click icon to add picture</a:t>
            </a:r>
            <a:endParaRPr lang="en-GB"/>
          </a:p>
        </p:txBody>
      </p:sp>
      <p:sp>
        <p:nvSpPr>
          <p:cNvPr id="45" name="Text Placeholder 15">
            <a:extLst>
              <a:ext uri="{FF2B5EF4-FFF2-40B4-BE49-F238E27FC236}">
                <a16:creationId xmlns:a16="http://schemas.microsoft.com/office/drawing/2014/main" id="{E3C98495-736B-41AF-860D-ECE2657942B2}"/>
              </a:ext>
            </a:extLst>
          </p:cNvPr>
          <p:cNvSpPr>
            <a:spLocks noGrp="1"/>
          </p:cNvSpPr>
          <p:nvPr>
            <p:ph type="body" sz="quarter" idx="68"/>
          </p:nvPr>
        </p:nvSpPr>
        <p:spPr>
          <a:xfrm>
            <a:off x="8369365" y="5489380"/>
            <a:ext cx="1719808" cy="856800"/>
          </a:xfrm>
          <a:prstGeom prst="rect">
            <a:avLst/>
          </a:prstGeom>
        </p:spPr>
        <p:txBody>
          <a:bodyPr/>
          <a:lstStyle>
            <a:lvl1pPr>
              <a:defRPr sz="900" b="0">
                <a:solidFill>
                  <a:schemeClr val="tx1"/>
                </a:solidFill>
                <a:latin typeface="+mn-lt"/>
              </a:defRPr>
            </a:lvl1pPr>
          </a:lstStyle>
          <a:p>
            <a:pPr lvl="0"/>
            <a:r>
              <a:rPr lang="en-US"/>
              <a:t>Edit Master text styles</a:t>
            </a:r>
          </a:p>
        </p:txBody>
      </p:sp>
      <p:sp>
        <p:nvSpPr>
          <p:cNvPr id="46" name="Logo_11" descr="PitchPerfect|Logo|Logo_11">
            <a:extLst>
              <a:ext uri="{FF2B5EF4-FFF2-40B4-BE49-F238E27FC236}">
                <a16:creationId xmlns:a16="http://schemas.microsoft.com/office/drawing/2014/main" id="{F72D1687-2624-4527-BDB3-5BBDE3ED0DC5}"/>
              </a:ext>
            </a:extLst>
          </p:cNvPr>
          <p:cNvSpPr>
            <a:spLocks noGrp="1"/>
          </p:cNvSpPr>
          <p:nvPr>
            <p:ph type="pic" sz="quarter" idx="69"/>
          </p:nvPr>
        </p:nvSpPr>
        <p:spPr>
          <a:xfrm>
            <a:off x="8671170" y="5084765"/>
            <a:ext cx="1194857" cy="346324"/>
          </a:xfrm>
        </p:spPr>
        <p:txBody>
          <a:bodyPr/>
          <a:lstStyle>
            <a:lvl1pPr>
              <a:defRPr sz="1000"/>
            </a:lvl1pPr>
          </a:lstStyle>
          <a:p>
            <a:r>
              <a:rPr lang="en-US"/>
              <a:t>Click icon to add picture</a:t>
            </a:r>
            <a:endParaRPr lang="en-GB" dirty="0"/>
          </a:p>
        </p:txBody>
      </p:sp>
    </p:spTree>
    <p:extLst>
      <p:ext uri="{BB962C8B-B14F-4D97-AF65-F5344CB8AC3E}">
        <p14:creationId xmlns:p14="http://schemas.microsoft.com/office/powerpoint/2010/main" val="13792969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7" name="Slide Number Placeholder 16">
            <a:extLst>
              <a:ext uri="{FF2B5EF4-FFF2-40B4-BE49-F238E27FC236}">
                <a16:creationId xmlns:a16="http://schemas.microsoft.com/office/drawing/2014/main" id="{A5424E38-A45C-4C04-BC87-F3C4ED1B1B02}"/>
              </a:ext>
            </a:extLst>
          </p:cNvPr>
          <p:cNvSpPr>
            <a:spLocks noGrp="1"/>
          </p:cNvSpPr>
          <p:nvPr>
            <p:ph type="sldNum" sz="quarter" idx="24"/>
          </p:nvPr>
        </p:nvSpPr>
        <p:spPr>
          <a:xfrm>
            <a:off x="8671169" y="6455673"/>
            <a:ext cx="2743200" cy="164195"/>
          </a:xfrm>
          <a:prstGeom prst="rect">
            <a:avLst/>
          </a:prstGeom>
        </p:spPr>
        <p:txBody>
          <a:bodyPr/>
          <a:lstStyle/>
          <a:p>
            <a:endParaRPr lang="en-GB" dirty="0"/>
          </a:p>
        </p:txBody>
      </p:sp>
      <p:sp>
        <p:nvSpPr>
          <p:cNvPr id="23" name="Heading">
            <a:extLst>
              <a:ext uri="{FF2B5EF4-FFF2-40B4-BE49-F238E27FC236}">
                <a16:creationId xmlns:a16="http://schemas.microsoft.com/office/drawing/2014/main" id="{0A61E1BC-B2E8-4ACD-91F0-D1E4918CAC53}"/>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3" name="Text Placeholder 2">
            <a:extLst>
              <a:ext uri="{FF2B5EF4-FFF2-40B4-BE49-F238E27FC236}">
                <a16:creationId xmlns:a16="http://schemas.microsoft.com/office/drawing/2014/main" id="{204ED704-A8C7-4327-967A-458D8C2D5D52}"/>
              </a:ext>
            </a:extLst>
          </p:cNvPr>
          <p:cNvSpPr>
            <a:spLocks noGrp="1"/>
          </p:cNvSpPr>
          <p:nvPr>
            <p:ph type="body" sz="quarter" idx="26"/>
          </p:nvPr>
        </p:nvSpPr>
        <p:spPr>
          <a:xfrm>
            <a:off x="6450504" y="1411199"/>
            <a:ext cx="4954097" cy="4754103"/>
          </a:xfrm>
        </p:spPr>
        <p:txBody>
          <a:bodyPr/>
          <a:lstStyle>
            <a:lvl1pPr algn="just" defTabSz="914400" rtl="0" eaLnBrk="1" latinLnBrk="0" hangingPunct="1">
              <a:lnSpc>
                <a:spcPct val="100000"/>
              </a:lnSpc>
              <a:spcBef>
                <a:spcPts val="1000"/>
              </a:spcBef>
              <a:spcAft>
                <a:spcPts val="400"/>
              </a:spcAft>
              <a:defRPr lang="en-US" sz="1100" b="0" kern="1200" cap="none" baseline="0" dirty="0">
                <a:solidFill>
                  <a:schemeClr val="tx1"/>
                </a:solidFill>
                <a:latin typeface="+mn-lt"/>
                <a:ea typeface="+mn-ea"/>
                <a:cs typeface="+mn-cs"/>
              </a:defRPr>
            </a:lvl1pPr>
            <a:lvl2pPr algn="just" defTabSz="914400" rtl="0" eaLnBrk="1" latinLnBrk="0" hangingPunct="1">
              <a:lnSpc>
                <a:spcPct val="100000"/>
              </a:lnSpc>
              <a:spcAft>
                <a:spcPts val="200"/>
              </a:spcAft>
              <a:defRPr lang="en-US" sz="1100" b="0" kern="1200" cap="none" baseline="0" dirty="0">
                <a:solidFill>
                  <a:schemeClr val="tx1"/>
                </a:solidFill>
                <a:latin typeface="+mn-lt"/>
                <a:ea typeface="+mn-ea"/>
                <a:cs typeface="+mn-cs"/>
              </a:defRPr>
            </a:lvl2pPr>
            <a:lvl3pPr algn="just" defTabSz="914400" rtl="0" eaLnBrk="1" latinLnBrk="0" hangingPunct="1">
              <a:lnSpc>
                <a:spcPct val="100000"/>
              </a:lnSpc>
              <a:defRPr lang="en-US" sz="1100" b="0" kern="1200" cap="none" baseline="0" dirty="0">
                <a:solidFill>
                  <a:schemeClr val="tx1"/>
                </a:solidFill>
                <a:latin typeface="+mn-lt"/>
                <a:ea typeface="+mn-ea"/>
                <a:cs typeface="+mn-cs"/>
              </a:defRPr>
            </a:lvl3pPr>
            <a:lvl4pPr algn="just" defTabSz="914400" rtl="0" eaLnBrk="1" latinLnBrk="0" hangingPunct="1">
              <a:lnSpc>
                <a:spcPct val="100000"/>
              </a:lnSpc>
              <a:defRPr lang="en-US" sz="1100" b="0" kern="1200" cap="none" baseline="0" dirty="0">
                <a:solidFill>
                  <a:schemeClr val="tx1"/>
                </a:solidFill>
                <a:latin typeface="+mn-lt"/>
                <a:ea typeface="+mn-ea"/>
                <a:cs typeface="+mn-cs"/>
              </a:defRPr>
            </a:lvl4pPr>
            <a:lvl5pPr algn="just" defTabSz="914400" rtl="0" eaLnBrk="1" latinLnBrk="0" hangingPunct="1">
              <a:lnSpc>
                <a:spcPct val="100000"/>
              </a:lnSpc>
              <a:defRPr lang="en-GB" sz="1100" b="0" kern="1200" cap="none" baseline="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56C8684E-DF85-4EAF-B3E0-805A951AB120}"/>
              </a:ext>
            </a:extLst>
          </p:cNvPr>
          <p:cNvSpPr>
            <a:spLocks noGrp="1"/>
          </p:cNvSpPr>
          <p:nvPr>
            <p:ph type="pic" sz="quarter" idx="27"/>
          </p:nvPr>
        </p:nvSpPr>
        <p:spPr>
          <a:xfrm>
            <a:off x="777632" y="1411200"/>
            <a:ext cx="4963868" cy="4754104"/>
          </a:xfrm>
        </p:spPr>
        <p:txBody>
          <a:bodyPr/>
          <a:lstStyle/>
          <a:p>
            <a:r>
              <a:rPr lang="en-US"/>
              <a:t>Click icon to add picture</a:t>
            </a:r>
            <a:endParaRPr lang="en-GB"/>
          </a:p>
        </p:txBody>
      </p:sp>
    </p:spTree>
    <p:extLst>
      <p:ext uri="{BB962C8B-B14F-4D97-AF65-F5344CB8AC3E}">
        <p14:creationId xmlns:p14="http://schemas.microsoft.com/office/powerpoint/2010/main" val="22748858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sp>
        <p:nvSpPr>
          <p:cNvPr id="17" name="Slide Number Placeholder 16">
            <a:extLst>
              <a:ext uri="{FF2B5EF4-FFF2-40B4-BE49-F238E27FC236}">
                <a16:creationId xmlns:a16="http://schemas.microsoft.com/office/drawing/2014/main" id="{A5424E38-A45C-4C04-BC87-F3C4ED1B1B02}"/>
              </a:ext>
            </a:extLst>
          </p:cNvPr>
          <p:cNvSpPr>
            <a:spLocks noGrp="1"/>
          </p:cNvSpPr>
          <p:nvPr>
            <p:ph type="sldNum" sz="quarter" idx="24"/>
          </p:nvPr>
        </p:nvSpPr>
        <p:spPr>
          <a:xfrm>
            <a:off x="8671169" y="6455673"/>
            <a:ext cx="2743200" cy="164195"/>
          </a:xfrm>
          <a:prstGeom prst="rect">
            <a:avLst/>
          </a:prstGeom>
        </p:spPr>
        <p:txBody>
          <a:bodyPr/>
          <a:lstStyle/>
          <a:p>
            <a:endParaRPr lang="en-GB" dirty="0"/>
          </a:p>
        </p:txBody>
      </p:sp>
      <p:sp>
        <p:nvSpPr>
          <p:cNvPr id="23" name="Heading">
            <a:extLst>
              <a:ext uri="{FF2B5EF4-FFF2-40B4-BE49-F238E27FC236}">
                <a16:creationId xmlns:a16="http://schemas.microsoft.com/office/drawing/2014/main" id="{0A61E1BC-B2E8-4ACD-91F0-D1E4918CAC53}"/>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3" name="Text Placeholder 2">
            <a:extLst>
              <a:ext uri="{FF2B5EF4-FFF2-40B4-BE49-F238E27FC236}">
                <a16:creationId xmlns:a16="http://schemas.microsoft.com/office/drawing/2014/main" id="{204ED704-A8C7-4327-967A-458D8C2D5D52}"/>
              </a:ext>
            </a:extLst>
          </p:cNvPr>
          <p:cNvSpPr>
            <a:spLocks noGrp="1"/>
          </p:cNvSpPr>
          <p:nvPr>
            <p:ph type="body" sz="quarter" idx="26" hasCustomPrompt="1"/>
          </p:nvPr>
        </p:nvSpPr>
        <p:spPr>
          <a:xfrm>
            <a:off x="798151" y="1411200"/>
            <a:ext cx="10606450" cy="4754104"/>
          </a:xfrm>
        </p:spPr>
        <p:txBody>
          <a:bodyPr numCol="2" spcCol="360000"/>
          <a:lstStyle>
            <a:lvl1pPr algn="just" defTabSz="914400" rtl="0" eaLnBrk="1" latinLnBrk="0" hangingPunct="1">
              <a:lnSpc>
                <a:spcPct val="100000"/>
              </a:lnSpc>
              <a:spcAft>
                <a:spcPts val="400"/>
              </a:spcAft>
              <a:defRPr lang="en-US" sz="1300" b="0" kern="1200" cap="none" baseline="0" dirty="0" smtClean="0">
                <a:solidFill>
                  <a:schemeClr val="tx2"/>
                </a:solidFill>
                <a:latin typeface="+mj-lt"/>
                <a:ea typeface="+mn-ea"/>
                <a:cs typeface="+mn-cs"/>
              </a:defRPr>
            </a:lvl1pPr>
            <a:lvl2pPr algn="just" defTabSz="914400" rtl="0" eaLnBrk="1" latinLnBrk="0" hangingPunct="1">
              <a:lnSpc>
                <a:spcPct val="100000"/>
              </a:lnSpc>
              <a:defRPr lang="en-US" sz="1100" b="0" kern="1200" cap="none" baseline="0" dirty="0" smtClean="0">
                <a:solidFill>
                  <a:schemeClr val="tx1"/>
                </a:solidFill>
                <a:latin typeface="+mn-lt"/>
                <a:ea typeface="+mn-ea"/>
                <a:cs typeface="+mn-cs"/>
              </a:defRPr>
            </a:lvl2pPr>
            <a:lvl3pPr algn="just" defTabSz="914400" rtl="0" eaLnBrk="1" latinLnBrk="0" hangingPunct="1">
              <a:lnSpc>
                <a:spcPct val="100000"/>
              </a:lnSpc>
              <a:defRPr lang="en-US" sz="1100" b="0" kern="1200" cap="none" baseline="0" dirty="0">
                <a:solidFill>
                  <a:schemeClr val="tx1"/>
                </a:solidFill>
                <a:latin typeface="+mn-lt"/>
                <a:ea typeface="+mn-ea"/>
                <a:cs typeface="+mn-cs"/>
              </a:defRPr>
            </a:lvl3pPr>
            <a:lvl4pPr>
              <a:lnSpc>
                <a:spcPct val="105000"/>
              </a:lnSpc>
              <a:defRPr sz="1100"/>
            </a:lvl4pPr>
            <a:lvl5pPr>
              <a:lnSpc>
                <a:spcPct val="105000"/>
              </a:lnSpc>
              <a:defRPr sz="11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39155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with text below">
    <p:spTree>
      <p:nvGrpSpPr>
        <p:cNvPr id="1" name=""/>
        <p:cNvGrpSpPr/>
        <p:nvPr/>
      </p:nvGrpSpPr>
      <p:grpSpPr>
        <a:xfrm>
          <a:off x="0" y="0"/>
          <a:ext cx="0" cy="0"/>
          <a:chOff x="0" y="0"/>
          <a:chExt cx="0" cy="0"/>
        </a:xfrm>
      </p:grpSpPr>
      <p:sp>
        <p:nvSpPr>
          <p:cNvPr id="17" name="Slide Number Placeholder 16">
            <a:extLst>
              <a:ext uri="{FF2B5EF4-FFF2-40B4-BE49-F238E27FC236}">
                <a16:creationId xmlns:a16="http://schemas.microsoft.com/office/drawing/2014/main" id="{A5424E38-A45C-4C04-BC87-F3C4ED1B1B02}"/>
              </a:ext>
            </a:extLst>
          </p:cNvPr>
          <p:cNvSpPr>
            <a:spLocks noGrp="1"/>
          </p:cNvSpPr>
          <p:nvPr>
            <p:ph type="sldNum" sz="quarter" idx="24"/>
          </p:nvPr>
        </p:nvSpPr>
        <p:spPr>
          <a:xfrm>
            <a:off x="8671169" y="6455673"/>
            <a:ext cx="2743200" cy="164195"/>
          </a:xfrm>
          <a:prstGeom prst="rect">
            <a:avLst/>
          </a:prstGeom>
        </p:spPr>
        <p:txBody>
          <a:bodyPr/>
          <a:lstStyle/>
          <a:p>
            <a:endParaRPr lang="en-GB" dirty="0"/>
          </a:p>
        </p:txBody>
      </p:sp>
      <p:sp>
        <p:nvSpPr>
          <p:cNvPr id="23" name="Heading">
            <a:extLst>
              <a:ext uri="{FF2B5EF4-FFF2-40B4-BE49-F238E27FC236}">
                <a16:creationId xmlns:a16="http://schemas.microsoft.com/office/drawing/2014/main" id="{0A61E1BC-B2E8-4ACD-91F0-D1E4918CAC53}"/>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3" name="Text Placeholder 2">
            <a:extLst>
              <a:ext uri="{FF2B5EF4-FFF2-40B4-BE49-F238E27FC236}">
                <a16:creationId xmlns:a16="http://schemas.microsoft.com/office/drawing/2014/main" id="{204ED704-A8C7-4327-967A-458D8C2D5D52}"/>
              </a:ext>
            </a:extLst>
          </p:cNvPr>
          <p:cNvSpPr>
            <a:spLocks noGrp="1"/>
          </p:cNvSpPr>
          <p:nvPr>
            <p:ph type="body" sz="quarter" idx="26"/>
          </p:nvPr>
        </p:nvSpPr>
        <p:spPr>
          <a:xfrm>
            <a:off x="6450504" y="1412776"/>
            <a:ext cx="4954097" cy="4824536"/>
          </a:xfrm>
        </p:spPr>
        <p:txBody>
          <a:bodyPr/>
          <a:lstStyle>
            <a:lvl1pPr>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56C8684E-DF85-4EAF-B3E0-805A951AB120}"/>
              </a:ext>
            </a:extLst>
          </p:cNvPr>
          <p:cNvSpPr>
            <a:spLocks noGrp="1"/>
          </p:cNvSpPr>
          <p:nvPr>
            <p:ph type="pic" sz="quarter" idx="27"/>
          </p:nvPr>
        </p:nvSpPr>
        <p:spPr>
          <a:xfrm>
            <a:off x="777632" y="1412777"/>
            <a:ext cx="4963868" cy="2547416"/>
          </a:xfrm>
        </p:spPr>
        <p:txBody>
          <a:bodyPr/>
          <a:lstStyle/>
          <a:p>
            <a:r>
              <a:rPr lang="en-US"/>
              <a:t>Click icon to add picture</a:t>
            </a:r>
            <a:endParaRPr lang="en-GB" dirty="0"/>
          </a:p>
        </p:txBody>
      </p:sp>
      <p:sp>
        <p:nvSpPr>
          <p:cNvPr id="6" name="Text Placeholder 2">
            <a:extLst>
              <a:ext uri="{FF2B5EF4-FFF2-40B4-BE49-F238E27FC236}">
                <a16:creationId xmlns:a16="http://schemas.microsoft.com/office/drawing/2014/main" id="{6B836B72-22AA-4FD4-81A0-4A6F8A03E7F9}"/>
              </a:ext>
            </a:extLst>
          </p:cNvPr>
          <p:cNvSpPr>
            <a:spLocks noGrp="1"/>
          </p:cNvSpPr>
          <p:nvPr>
            <p:ph type="body" sz="quarter" idx="28"/>
          </p:nvPr>
        </p:nvSpPr>
        <p:spPr>
          <a:xfrm>
            <a:off x="798516" y="4171280"/>
            <a:ext cx="4954097" cy="2066033"/>
          </a:xfrm>
        </p:spPr>
        <p:txBody>
          <a:bodyPr/>
          <a:lstStyle>
            <a:lvl1pPr>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00783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6C2B568A-0147-42B3-9F7A-A5D8C9D99F6D}"/>
              </a:ext>
            </a:extLst>
          </p:cNvPr>
          <p:cNvSpPr>
            <a:spLocks noGrp="1"/>
          </p:cNvSpPr>
          <p:nvPr>
            <p:ph type="dt" sz="half" idx="10"/>
            <p:custDataLst>
              <p:tags r:id="rId1"/>
            </p:custDataLst>
          </p:nvPr>
        </p:nvSpPr>
        <p:spPr/>
        <p:txBody>
          <a:bodyPr/>
          <a:lstStyle>
            <a:lvl1pPr>
              <a:defRPr lang="en-GB" dirty="0"/>
            </a:lvl1pPr>
          </a:lstStyle>
          <a:p>
            <a:endParaRPr lang="de-AT"/>
          </a:p>
        </p:txBody>
      </p:sp>
      <p:sp>
        <p:nvSpPr>
          <p:cNvPr id="6" name="Foliennummernplatzhalter 5">
            <a:extLst>
              <a:ext uri="{FF2B5EF4-FFF2-40B4-BE49-F238E27FC236}">
                <a16:creationId xmlns:a16="http://schemas.microsoft.com/office/drawing/2014/main" id="{C2BCD42F-6371-4FD7-AFEC-F5CF851D7985}"/>
              </a:ext>
            </a:extLst>
          </p:cNvPr>
          <p:cNvSpPr>
            <a:spLocks noGrp="1"/>
          </p:cNvSpPr>
          <p:nvPr>
            <p:ph type="sldNum" sz="quarter" idx="12"/>
            <p:custDataLst>
              <p:tags r:id="rId2"/>
            </p:custDataLst>
          </p:nvPr>
        </p:nvSpPr>
        <p:spPr/>
        <p:txBody>
          <a:bodyPr/>
          <a:lstStyle/>
          <a:p>
            <a:fld id="{B459E51B-A277-4897-9DDF-ABA4750400EB}" type="slidenum">
              <a:rPr lang="en-GB" smtClean="0"/>
              <a:t>‹Nr.›</a:t>
            </a:fld>
            <a:endParaRPr lang="en-GB" dirty="0"/>
          </a:p>
        </p:txBody>
      </p:sp>
      <p:sp>
        <p:nvSpPr>
          <p:cNvPr id="2" name="Title 1">
            <a:extLst>
              <a:ext uri="{FF2B5EF4-FFF2-40B4-BE49-F238E27FC236}">
                <a16:creationId xmlns:a16="http://schemas.microsoft.com/office/drawing/2014/main" id="{366C5A8D-85B5-47A9-9F97-DB9EDC0AEFA7}"/>
              </a:ext>
            </a:extLst>
          </p:cNvPr>
          <p:cNvSpPr>
            <a:spLocks noGrp="1"/>
          </p:cNvSpPr>
          <p:nvPr>
            <p:ph type="title"/>
            <p:custDataLst>
              <p:tags r:id="rId3"/>
            </p:custDataLst>
          </p:nvPr>
        </p:nvSpPr>
        <p:spPr/>
        <p:txBody>
          <a:bodyPr/>
          <a:lstStyle/>
          <a:p>
            <a:r>
              <a:rPr lang="en-US"/>
              <a:t>Click to edit Master title style</a:t>
            </a:r>
            <a:endParaRPr lang="en-GB" dirty="0"/>
          </a:p>
        </p:txBody>
      </p:sp>
      <p:sp>
        <p:nvSpPr>
          <p:cNvPr id="9" name="Content Placeholder 8">
            <a:extLst>
              <a:ext uri="{FF2B5EF4-FFF2-40B4-BE49-F238E27FC236}">
                <a16:creationId xmlns:a16="http://schemas.microsoft.com/office/drawing/2014/main" id="{21981A1A-CF43-4243-AFD4-643CB1151C5A}"/>
              </a:ext>
            </a:extLst>
          </p:cNvPr>
          <p:cNvSpPr>
            <a:spLocks noGrp="1"/>
          </p:cNvSpPr>
          <p:nvPr>
            <p:ph sz="quarter" idx="13"/>
            <p:custDataLst>
              <p:tags r:id="rId4"/>
            </p:custDataLst>
          </p:nvPr>
        </p:nvSpPr>
        <p:spPr>
          <a:xfrm>
            <a:off x="461640" y="1592265"/>
            <a:ext cx="9839325" cy="41532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816204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CV - 1/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EED1DF8-C98D-473D-B282-1396F4CC2D6E}"/>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8" name="PowerPointBioExpEdu" descr="PitchPerfect|Bio|PowerPointBioExpEdu">
            <a:extLst>
              <a:ext uri="{FF2B5EF4-FFF2-40B4-BE49-F238E27FC236}">
                <a16:creationId xmlns:a16="http://schemas.microsoft.com/office/drawing/2014/main" id="{F96EB68D-223A-46F9-95C5-E9FDCBBA1AF9}"/>
              </a:ext>
            </a:extLst>
          </p:cNvPr>
          <p:cNvSpPr>
            <a:spLocks noGrp="1"/>
          </p:cNvSpPr>
          <p:nvPr>
            <p:ph type="body" sz="quarter" idx="14"/>
          </p:nvPr>
        </p:nvSpPr>
        <p:spPr>
          <a:xfrm>
            <a:off x="777631" y="1417408"/>
            <a:ext cx="10635883" cy="3834637"/>
          </a:xfrm>
          <a:prstGeom prst="rect">
            <a:avLst/>
          </a:prstGeom>
        </p:spPr>
        <p:txBody>
          <a:bodyPr numCol="2" spcCol="360000"/>
          <a:lstStyle>
            <a:lvl1pPr>
              <a:spcAft>
                <a:spcPts val="400"/>
              </a:spcAft>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Headshot" descr="PitchPerfect|Bio|Headshot">
            <a:extLst>
              <a:ext uri="{FF2B5EF4-FFF2-40B4-BE49-F238E27FC236}">
                <a16:creationId xmlns:a16="http://schemas.microsoft.com/office/drawing/2014/main" id="{34D355F8-BC45-4CB7-8FDA-3DDC88E15BEC}"/>
              </a:ext>
            </a:extLst>
          </p:cNvPr>
          <p:cNvSpPr>
            <a:spLocks noGrp="1" noChangeAspect="1"/>
          </p:cNvSpPr>
          <p:nvPr>
            <p:ph type="pic" sz="quarter" idx="21"/>
          </p:nvPr>
        </p:nvSpPr>
        <p:spPr>
          <a:xfrm>
            <a:off x="778486" y="1382061"/>
            <a:ext cx="1356598" cy="1101600"/>
          </a:xfrm>
          <a:prstGeom prst="ellipse">
            <a:avLst/>
          </a:prstGeom>
        </p:spPr>
        <p:txBody>
          <a:bodyPr/>
          <a:lstStyle/>
          <a:p>
            <a:r>
              <a:rPr lang="en-US"/>
              <a:t>Click icon to add picture</a:t>
            </a:r>
            <a:endParaRPr lang="en-GB"/>
          </a:p>
        </p:txBody>
      </p:sp>
      <p:sp>
        <p:nvSpPr>
          <p:cNvPr id="10" name="Name" descr="PitchPerfect|Bio|Name">
            <a:extLst>
              <a:ext uri="{FF2B5EF4-FFF2-40B4-BE49-F238E27FC236}">
                <a16:creationId xmlns:a16="http://schemas.microsoft.com/office/drawing/2014/main" id="{43B73FC1-F8B4-4FAE-8C81-9C1241BD0405}"/>
              </a:ext>
            </a:extLst>
          </p:cNvPr>
          <p:cNvSpPr>
            <a:spLocks noGrp="1"/>
          </p:cNvSpPr>
          <p:nvPr>
            <p:ph type="body" sz="quarter" idx="22" hasCustomPrompt="1"/>
          </p:nvPr>
        </p:nvSpPr>
        <p:spPr>
          <a:xfrm>
            <a:off x="2285115" y="1412086"/>
            <a:ext cx="3503559" cy="169277"/>
          </a:xfrm>
          <a:prstGeom prst="rect">
            <a:avLst/>
          </a:prstGeom>
        </p:spPr>
        <p:txBody>
          <a:bodyPr bIns="0">
            <a:spAutoFit/>
          </a:bodyPr>
          <a:lstStyle>
            <a:lvl1pPr marL="0" indent="0">
              <a:buNone/>
              <a:defRPr sz="1100" b="1">
                <a:solidFill>
                  <a:srgbClr val="000000"/>
                </a:solidFill>
                <a:latin typeface="Corporate S" pitchFamily="50" charset="0"/>
              </a:defRPr>
            </a:lvl1pPr>
          </a:lstStyle>
          <a:p>
            <a:pPr lvl="0"/>
            <a:r>
              <a:rPr lang="en-GB" dirty="0"/>
              <a:t>Name</a:t>
            </a:r>
          </a:p>
        </p:txBody>
      </p:sp>
      <p:sp>
        <p:nvSpPr>
          <p:cNvPr id="11" name="Position" descr="PitchPerfect|Bio|Position">
            <a:extLst>
              <a:ext uri="{FF2B5EF4-FFF2-40B4-BE49-F238E27FC236}">
                <a16:creationId xmlns:a16="http://schemas.microsoft.com/office/drawing/2014/main" id="{098DA078-B44C-4D4B-A869-EB29338F93B4}"/>
              </a:ext>
            </a:extLst>
          </p:cNvPr>
          <p:cNvSpPr>
            <a:spLocks noGrp="1"/>
          </p:cNvSpPr>
          <p:nvPr>
            <p:ph type="body" sz="quarter" idx="23" hasCustomPrompt="1"/>
          </p:nvPr>
        </p:nvSpPr>
        <p:spPr>
          <a:xfrm>
            <a:off x="2285115" y="1648526"/>
            <a:ext cx="3503559"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Job Title</a:t>
            </a:r>
          </a:p>
        </p:txBody>
      </p:sp>
      <p:sp>
        <p:nvSpPr>
          <p:cNvPr id="12" name="DirectDial" descr="PitchPerfect|Bio|DirectDial">
            <a:extLst>
              <a:ext uri="{FF2B5EF4-FFF2-40B4-BE49-F238E27FC236}">
                <a16:creationId xmlns:a16="http://schemas.microsoft.com/office/drawing/2014/main" id="{9B3C9E49-7902-4E35-805B-5A5F266D890A}"/>
              </a:ext>
            </a:extLst>
          </p:cNvPr>
          <p:cNvSpPr>
            <a:spLocks noGrp="1"/>
          </p:cNvSpPr>
          <p:nvPr>
            <p:ph type="body" sz="quarter" idx="24" hasCustomPrompt="1"/>
          </p:nvPr>
        </p:nvSpPr>
        <p:spPr>
          <a:xfrm>
            <a:off x="2447946" y="2097093"/>
            <a:ext cx="1744044"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Phone</a:t>
            </a:r>
          </a:p>
        </p:txBody>
      </p:sp>
      <p:sp>
        <p:nvSpPr>
          <p:cNvPr id="13" name="Mobile" descr="PitchPerfect|Bio|Mobile">
            <a:extLst>
              <a:ext uri="{FF2B5EF4-FFF2-40B4-BE49-F238E27FC236}">
                <a16:creationId xmlns:a16="http://schemas.microsoft.com/office/drawing/2014/main" id="{FCE0F141-9859-4AA5-8F7C-F4576D1EC705}"/>
              </a:ext>
            </a:extLst>
          </p:cNvPr>
          <p:cNvSpPr>
            <a:spLocks noGrp="1"/>
          </p:cNvSpPr>
          <p:nvPr>
            <p:ph type="body" sz="quarter" idx="25" hasCustomPrompt="1"/>
          </p:nvPr>
        </p:nvSpPr>
        <p:spPr>
          <a:xfrm>
            <a:off x="4185866" y="2097093"/>
            <a:ext cx="1742746"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Mobile</a:t>
            </a:r>
          </a:p>
        </p:txBody>
      </p:sp>
      <p:sp>
        <p:nvSpPr>
          <p:cNvPr id="14" name="Email" descr="PitchPerfect|Bio|Email">
            <a:extLst>
              <a:ext uri="{FF2B5EF4-FFF2-40B4-BE49-F238E27FC236}">
                <a16:creationId xmlns:a16="http://schemas.microsoft.com/office/drawing/2014/main" id="{1A2F0B09-03CE-4605-A58B-0E06479A3866}"/>
              </a:ext>
            </a:extLst>
          </p:cNvPr>
          <p:cNvSpPr>
            <a:spLocks noGrp="1"/>
          </p:cNvSpPr>
          <p:nvPr>
            <p:ph type="body" sz="quarter" idx="26" hasCustomPrompt="1"/>
          </p:nvPr>
        </p:nvSpPr>
        <p:spPr>
          <a:xfrm>
            <a:off x="2453866" y="2308996"/>
            <a:ext cx="3165934"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Email</a:t>
            </a:r>
          </a:p>
        </p:txBody>
      </p:sp>
      <p:sp>
        <p:nvSpPr>
          <p:cNvPr id="18" name="Practice" descr="PitchPerfect|Bio|Practice">
            <a:extLst>
              <a:ext uri="{FF2B5EF4-FFF2-40B4-BE49-F238E27FC236}">
                <a16:creationId xmlns:a16="http://schemas.microsoft.com/office/drawing/2014/main" id="{9C89E79B-4A14-409A-815E-145D718836C1}"/>
              </a:ext>
            </a:extLst>
          </p:cNvPr>
          <p:cNvSpPr>
            <a:spLocks noGrp="1"/>
          </p:cNvSpPr>
          <p:nvPr>
            <p:ph type="body" sz="quarter" idx="35" hasCustomPrompt="1"/>
          </p:nvPr>
        </p:nvSpPr>
        <p:spPr>
          <a:xfrm>
            <a:off x="2285115" y="1854275"/>
            <a:ext cx="3503559"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Practice</a:t>
            </a:r>
          </a:p>
        </p:txBody>
      </p:sp>
      <p:sp>
        <p:nvSpPr>
          <p:cNvPr id="41" name="CVHeading" descr="PitchPerfect|Bio|CVHeading">
            <a:extLst>
              <a:ext uri="{FF2B5EF4-FFF2-40B4-BE49-F238E27FC236}">
                <a16:creationId xmlns:a16="http://schemas.microsoft.com/office/drawing/2014/main" id="{6A720E16-3F93-4208-B7AF-2CC598942E57}"/>
              </a:ext>
            </a:extLst>
          </p:cNvPr>
          <p:cNvSpPr>
            <a:spLocks noGrp="1"/>
          </p:cNvSpPr>
          <p:nvPr>
            <p:ph type="body" sz="quarter" idx="43"/>
          </p:nvPr>
        </p:nvSpPr>
        <p:spPr>
          <a:xfrm>
            <a:off x="795257" y="620689"/>
            <a:ext cx="8161216" cy="268719"/>
          </a:xfrm>
        </p:spPr>
        <p:txBody>
          <a:bodyPr/>
          <a:lstStyle>
            <a:lvl1pPr>
              <a:defRPr b="1" cap="all" baseline="0"/>
            </a:lvl1pPr>
          </a:lstStyle>
          <a:p>
            <a:pPr lvl="0"/>
            <a:r>
              <a:rPr lang="en-US"/>
              <a:t>Edit Master text styles</a:t>
            </a:r>
          </a:p>
        </p:txBody>
      </p:sp>
      <p:sp>
        <p:nvSpPr>
          <p:cNvPr id="26" name="QuoteSource" descr="PitchPerfect|Testimonials|QuoteSource">
            <a:extLst>
              <a:ext uri="{FF2B5EF4-FFF2-40B4-BE49-F238E27FC236}">
                <a16:creationId xmlns:a16="http://schemas.microsoft.com/office/drawing/2014/main" id="{8657BBAA-394C-4C1C-9C4A-18D185E1D9B8}"/>
              </a:ext>
            </a:extLst>
          </p:cNvPr>
          <p:cNvSpPr>
            <a:spLocks noGrp="1"/>
          </p:cNvSpPr>
          <p:nvPr>
            <p:ph type="body" sz="quarter" idx="44"/>
          </p:nvPr>
        </p:nvSpPr>
        <p:spPr>
          <a:xfrm>
            <a:off x="4146245" y="5675785"/>
            <a:ext cx="6469642" cy="499910"/>
          </a:xfrm>
          <a:prstGeom prst="rect">
            <a:avLst/>
          </a:prstGeom>
        </p:spPr>
        <p:txBody>
          <a:bodyPr>
            <a:noAutofit/>
          </a:bodyPr>
          <a:lstStyle>
            <a:lvl1pPr algn="l">
              <a:defRPr sz="1600" b="0">
                <a:solidFill>
                  <a:schemeClr val="tx1"/>
                </a:solidFill>
                <a:latin typeface="+mn-lt"/>
              </a:defRPr>
            </a:lvl1pPr>
            <a:lvl2pPr algn="l">
              <a:defRPr sz="1200">
                <a:solidFill>
                  <a:srgbClr val="000000"/>
                </a:solidFill>
                <a:latin typeface="+mj-lt"/>
              </a:defRPr>
            </a:lvl2pPr>
          </a:lstStyle>
          <a:p>
            <a:pPr lvl="0"/>
            <a:r>
              <a:rPr lang="en-US"/>
              <a:t>Edit Master text styles</a:t>
            </a:r>
          </a:p>
          <a:p>
            <a:pPr lvl="1"/>
            <a:r>
              <a:rPr lang="en-US"/>
              <a:t>Second level</a:t>
            </a:r>
          </a:p>
        </p:txBody>
      </p:sp>
      <p:cxnSp>
        <p:nvCxnSpPr>
          <p:cNvPr id="27" name="Footer line">
            <a:extLst>
              <a:ext uri="{FF2B5EF4-FFF2-40B4-BE49-F238E27FC236}">
                <a16:creationId xmlns:a16="http://schemas.microsoft.com/office/drawing/2014/main" id="{7A17C37E-FD92-4711-B113-520D9D9C65BB}"/>
              </a:ext>
            </a:extLst>
          </p:cNvPr>
          <p:cNvCxnSpPr>
            <a:cxnSpLocks/>
          </p:cNvCxnSpPr>
          <p:nvPr userDrawn="1"/>
        </p:nvCxnSpPr>
        <p:spPr>
          <a:xfrm>
            <a:off x="772944" y="5517232"/>
            <a:ext cx="1064142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8" name="Quote Image">
            <a:extLst>
              <a:ext uri="{FF2B5EF4-FFF2-40B4-BE49-F238E27FC236}">
                <a16:creationId xmlns:a16="http://schemas.microsoft.com/office/drawing/2014/main" id="{B1D01CAE-87E0-49C2-B68E-CE07E67607F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16866" y="5532022"/>
            <a:ext cx="1121278" cy="712874"/>
          </a:xfrm>
          <a:prstGeom prst="rect">
            <a:avLst/>
          </a:prstGeom>
        </p:spPr>
      </p:pic>
      <p:sp>
        <p:nvSpPr>
          <p:cNvPr id="19" name="PP_E" descr="PitchPerfect|Bio|PP_E">
            <a:extLst>
              <a:ext uri="{FF2B5EF4-FFF2-40B4-BE49-F238E27FC236}">
                <a16:creationId xmlns:a16="http://schemas.microsoft.com/office/drawing/2014/main" id="{BEC1C304-D0A8-49D1-A196-687395B9A0D4}"/>
              </a:ext>
            </a:extLst>
          </p:cNvPr>
          <p:cNvSpPr>
            <a:spLocks noGrp="1"/>
          </p:cNvSpPr>
          <p:nvPr>
            <p:ph type="body" sz="quarter" idx="74" hasCustomPrompt="1"/>
          </p:nvPr>
        </p:nvSpPr>
        <p:spPr>
          <a:xfrm>
            <a:off x="2285115" y="2304271"/>
            <a:ext cx="177231" cy="184666"/>
          </a:xfrm>
        </p:spPr>
        <p:txBody>
          <a:bodyPr wrap="square" bIns="0">
            <a:spAutoFit/>
          </a:bodyPr>
          <a:lstStyle>
            <a:lvl1pPr>
              <a:defRPr sz="1200" b="1"/>
            </a:lvl1pPr>
          </a:lstStyle>
          <a:p>
            <a:pPr lvl="0"/>
            <a:r>
              <a:rPr lang="en-US" dirty="0"/>
              <a:t>E</a:t>
            </a:r>
            <a:endParaRPr lang="en-GB" dirty="0"/>
          </a:p>
        </p:txBody>
      </p:sp>
      <p:sp>
        <p:nvSpPr>
          <p:cNvPr id="20" name="PP_M" descr="PitchPerfect|Bio|PP_M">
            <a:extLst>
              <a:ext uri="{FF2B5EF4-FFF2-40B4-BE49-F238E27FC236}">
                <a16:creationId xmlns:a16="http://schemas.microsoft.com/office/drawing/2014/main" id="{0FC4116A-25E1-448B-A41B-91B4073BB1D3}"/>
              </a:ext>
            </a:extLst>
          </p:cNvPr>
          <p:cNvSpPr>
            <a:spLocks noGrp="1"/>
          </p:cNvSpPr>
          <p:nvPr>
            <p:ph type="body" sz="quarter" idx="75" hasCustomPrompt="1"/>
          </p:nvPr>
        </p:nvSpPr>
        <p:spPr>
          <a:xfrm>
            <a:off x="3967638" y="2087471"/>
            <a:ext cx="177231" cy="184666"/>
          </a:xfrm>
        </p:spPr>
        <p:txBody>
          <a:bodyPr wrap="square" bIns="0">
            <a:spAutoFit/>
          </a:bodyPr>
          <a:lstStyle>
            <a:lvl1pPr>
              <a:defRPr sz="1200" b="1"/>
            </a:lvl1pPr>
          </a:lstStyle>
          <a:p>
            <a:pPr lvl="0"/>
            <a:r>
              <a:rPr lang="en-US" dirty="0"/>
              <a:t>M</a:t>
            </a:r>
            <a:endParaRPr lang="en-GB" dirty="0"/>
          </a:p>
        </p:txBody>
      </p:sp>
      <p:sp>
        <p:nvSpPr>
          <p:cNvPr id="21" name="PP_T" descr="PitchPerfect|Bio|PP_T">
            <a:extLst>
              <a:ext uri="{FF2B5EF4-FFF2-40B4-BE49-F238E27FC236}">
                <a16:creationId xmlns:a16="http://schemas.microsoft.com/office/drawing/2014/main" id="{EFD8DB90-5960-4AAF-AAC4-6802ED051179}"/>
              </a:ext>
            </a:extLst>
          </p:cNvPr>
          <p:cNvSpPr>
            <a:spLocks noGrp="1"/>
          </p:cNvSpPr>
          <p:nvPr>
            <p:ph type="body" sz="quarter" idx="76" hasCustomPrompt="1"/>
          </p:nvPr>
        </p:nvSpPr>
        <p:spPr>
          <a:xfrm>
            <a:off x="2291133" y="2087471"/>
            <a:ext cx="177231" cy="184666"/>
          </a:xfrm>
        </p:spPr>
        <p:txBody>
          <a:bodyPr wrap="square" bIns="0">
            <a:spAutoFit/>
          </a:bodyPr>
          <a:lstStyle>
            <a:lvl1pPr>
              <a:defRPr sz="1200" b="1"/>
            </a:lvl1pPr>
          </a:lstStyle>
          <a:p>
            <a:pPr lvl="0"/>
            <a:r>
              <a:rPr lang="en-US" dirty="0"/>
              <a:t>T</a:t>
            </a:r>
            <a:endParaRPr lang="en-GB" dirty="0"/>
          </a:p>
        </p:txBody>
      </p:sp>
    </p:spTree>
    <p:extLst>
      <p:ext uri="{BB962C8B-B14F-4D97-AF65-F5344CB8AC3E}">
        <p14:creationId xmlns:p14="http://schemas.microsoft.com/office/powerpoint/2010/main" val="14940235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CV - No Accola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EED1DF8-C98D-473D-B282-1396F4CC2D6E}"/>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8" name="PowerPointBioExpEdu" descr="PitchPerfect|Bio|PowerPointBioExpEdu">
            <a:extLst>
              <a:ext uri="{FF2B5EF4-FFF2-40B4-BE49-F238E27FC236}">
                <a16:creationId xmlns:a16="http://schemas.microsoft.com/office/drawing/2014/main" id="{F96EB68D-223A-46F9-95C5-E9FDCBBA1AF9}"/>
              </a:ext>
            </a:extLst>
          </p:cNvPr>
          <p:cNvSpPr>
            <a:spLocks noGrp="1"/>
          </p:cNvSpPr>
          <p:nvPr>
            <p:ph type="body" sz="quarter" idx="14"/>
          </p:nvPr>
        </p:nvSpPr>
        <p:spPr>
          <a:xfrm>
            <a:off x="777631" y="1411508"/>
            <a:ext cx="10635883" cy="4213125"/>
          </a:xfrm>
          <a:prstGeom prst="rect">
            <a:avLst/>
          </a:prstGeom>
        </p:spPr>
        <p:txBody>
          <a:bodyPr numCol="2" spcCol="360000"/>
          <a:lstStyle>
            <a:lvl1pPr>
              <a:spcAft>
                <a:spcPts val="400"/>
              </a:spcAft>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Headshot" descr="PitchPerfect|Bio|Headshot">
            <a:extLst>
              <a:ext uri="{FF2B5EF4-FFF2-40B4-BE49-F238E27FC236}">
                <a16:creationId xmlns:a16="http://schemas.microsoft.com/office/drawing/2014/main" id="{34D355F8-BC45-4CB7-8FDA-3DDC88E15BEC}"/>
              </a:ext>
            </a:extLst>
          </p:cNvPr>
          <p:cNvSpPr>
            <a:spLocks noGrp="1" noChangeAspect="1"/>
          </p:cNvSpPr>
          <p:nvPr>
            <p:ph type="pic" sz="quarter" idx="21"/>
          </p:nvPr>
        </p:nvSpPr>
        <p:spPr>
          <a:xfrm>
            <a:off x="778486" y="1376162"/>
            <a:ext cx="1356598" cy="1101600"/>
          </a:xfrm>
          <a:prstGeom prst="ellipse">
            <a:avLst/>
          </a:prstGeom>
        </p:spPr>
        <p:txBody>
          <a:bodyPr/>
          <a:lstStyle/>
          <a:p>
            <a:r>
              <a:rPr lang="en-US"/>
              <a:t>Click icon to add picture</a:t>
            </a:r>
            <a:endParaRPr lang="en-GB"/>
          </a:p>
        </p:txBody>
      </p:sp>
      <p:sp>
        <p:nvSpPr>
          <p:cNvPr id="10" name="Name" descr="PitchPerfect|Bio|Name">
            <a:extLst>
              <a:ext uri="{FF2B5EF4-FFF2-40B4-BE49-F238E27FC236}">
                <a16:creationId xmlns:a16="http://schemas.microsoft.com/office/drawing/2014/main" id="{43B73FC1-F8B4-4FAE-8C81-9C1241BD0405}"/>
              </a:ext>
            </a:extLst>
          </p:cNvPr>
          <p:cNvSpPr>
            <a:spLocks noGrp="1"/>
          </p:cNvSpPr>
          <p:nvPr>
            <p:ph type="body" sz="quarter" idx="22" hasCustomPrompt="1"/>
          </p:nvPr>
        </p:nvSpPr>
        <p:spPr>
          <a:xfrm>
            <a:off x="2285115" y="1406187"/>
            <a:ext cx="3503559" cy="169277"/>
          </a:xfrm>
          <a:prstGeom prst="rect">
            <a:avLst/>
          </a:prstGeom>
        </p:spPr>
        <p:txBody>
          <a:bodyPr bIns="0">
            <a:spAutoFit/>
          </a:bodyPr>
          <a:lstStyle>
            <a:lvl1pPr marL="0" indent="0">
              <a:buNone/>
              <a:defRPr sz="1100" b="1">
                <a:solidFill>
                  <a:srgbClr val="000000"/>
                </a:solidFill>
                <a:latin typeface="Corporate S" pitchFamily="50" charset="0"/>
              </a:defRPr>
            </a:lvl1pPr>
          </a:lstStyle>
          <a:p>
            <a:pPr lvl="0"/>
            <a:r>
              <a:rPr lang="en-GB" dirty="0"/>
              <a:t>Name</a:t>
            </a:r>
          </a:p>
        </p:txBody>
      </p:sp>
      <p:sp>
        <p:nvSpPr>
          <p:cNvPr id="11" name="Position" descr="PitchPerfect|Bio|Position">
            <a:extLst>
              <a:ext uri="{FF2B5EF4-FFF2-40B4-BE49-F238E27FC236}">
                <a16:creationId xmlns:a16="http://schemas.microsoft.com/office/drawing/2014/main" id="{098DA078-B44C-4D4B-A869-EB29338F93B4}"/>
              </a:ext>
            </a:extLst>
          </p:cNvPr>
          <p:cNvSpPr>
            <a:spLocks noGrp="1"/>
          </p:cNvSpPr>
          <p:nvPr>
            <p:ph type="body" sz="quarter" idx="23" hasCustomPrompt="1"/>
          </p:nvPr>
        </p:nvSpPr>
        <p:spPr>
          <a:xfrm>
            <a:off x="2285115" y="1642627"/>
            <a:ext cx="3503559"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Job Title</a:t>
            </a:r>
          </a:p>
        </p:txBody>
      </p:sp>
      <p:sp>
        <p:nvSpPr>
          <p:cNvPr id="12" name="DirectDial" descr="PitchPerfect|Bio|DirectDial">
            <a:extLst>
              <a:ext uri="{FF2B5EF4-FFF2-40B4-BE49-F238E27FC236}">
                <a16:creationId xmlns:a16="http://schemas.microsoft.com/office/drawing/2014/main" id="{9B3C9E49-7902-4E35-805B-5A5F266D890A}"/>
              </a:ext>
            </a:extLst>
          </p:cNvPr>
          <p:cNvSpPr>
            <a:spLocks noGrp="1"/>
          </p:cNvSpPr>
          <p:nvPr>
            <p:ph type="body" sz="quarter" idx="24" hasCustomPrompt="1"/>
          </p:nvPr>
        </p:nvSpPr>
        <p:spPr>
          <a:xfrm>
            <a:off x="2447946" y="2091194"/>
            <a:ext cx="1744044"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Phone</a:t>
            </a:r>
          </a:p>
        </p:txBody>
      </p:sp>
      <p:sp>
        <p:nvSpPr>
          <p:cNvPr id="13" name="Mobile" descr="PitchPerfect|Bio|Mobile">
            <a:extLst>
              <a:ext uri="{FF2B5EF4-FFF2-40B4-BE49-F238E27FC236}">
                <a16:creationId xmlns:a16="http://schemas.microsoft.com/office/drawing/2014/main" id="{FCE0F141-9859-4AA5-8F7C-F4576D1EC705}"/>
              </a:ext>
            </a:extLst>
          </p:cNvPr>
          <p:cNvSpPr>
            <a:spLocks noGrp="1"/>
          </p:cNvSpPr>
          <p:nvPr>
            <p:ph type="body" sz="quarter" idx="25" hasCustomPrompt="1"/>
          </p:nvPr>
        </p:nvSpPr>
        <p:spPr>
          <a:xfrm>
            <a:off x="4185866" y="2091194"/>
            <a:ext cx="1742746"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Mobile</a:t>
            </a:r>
          </a:p>
        </p:txBody>
      </p:sp>
      <p:sp>
        <p:nvSpPr>
          <p:cNvPr id="14" name="Email" descr="PitchPerfect|Bio|Email">
            <a:extLst>
              <a:ext uri="{FF2B5EF4-FFF2-40B4-BE49-F238E27FC236}">
                <a16:creationId xmlns:a16="http://schemas.microsoft.com/office/drawing/2014/main" id="{1A2F0B09-03CE-4605-A58B-0E06479A3866}"/>
              </a:ext>
            </a:extLst>
          </p:cNvPr>
          <p:cNvSpPr>
            <a:spLocks noGrp="1"/>
          </p:cNvSpPr>
          <p:nvPr>
            <p:ph type="body" sz="quarter" idx="26" hasCustomPrompt="1"/>
          </p:nvPr>
        </p:nvSpPr>
        <p:spPr>
          <a:xfrm>
            <a:off x="2453866" y="2303097"/>
            <a:ext cx="3165934"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Email</a:t>
            </a:r>
          </a:p>
        </p:txBody>
      </p:sp>
      <p:sp>
        <p:nvSpPr>
          <p:cNvPr id="18" name="Practice" descr="PitchPerfect|Bio|Practice">
            <a:extLst>
              <a:ext uri="{FF2B5EF4-FFF2-40B4-BE49-F238E27FC236}">
                <a16:creationId xmlns:a16="http://schemas.microsoft.com/office/drawing/2014/main" id="{9C89E79B-4A14-409A-815E-145D718836C1}"/>
              </a:ext>
            </a:extLst>
          </p:cNvPr>
          <p:cNvSpPr>
            <a:spLocks noGrp="1"/>
          </p:cNvSpPr>
          <p:nvPr>
            <p:ph type="body" sz="quarter" idx="35" hasCustomPrompt="1"/>
          </p:nvPr>
        </p:nvSpPr>
        <p:spPr>
          <a:xfrm>
            <a:off x="2285115" y="1848376"/>
            <a:ext cx="3503559" cy="241980"/>
          </a:xfrm>
          <a:prstGeom prst="rect">
            <a:avLst/>
          </a:prstGeom>
        </p:spPr>
        <p:txBody>
          <a:bodyPr>
            <a:spAutoFit/>
          </a:bodyPr>
          <a:lstStyle>
            <a:lvl1pPr marL="0" indent="0">
              <a:buNone/>
              <a:defRPr sz="1100" b="0">
                <a:solidFill>
                  <a:schemeClr val="tx1"/>
                </a:solidFill>
                <a:latin typeface="Corporate S" pitchFamily="50" charset="0"/>
              </a:defRPr>
            </a:lvl1pPr>
          </a:lstStyle>
          <a:p>
            <a:pPr lvl="0"/>
            <a:r>
              <a:rPr lang="en-GB" dirty="0"/>
              <a:t>Practice</a:t>
            </a:r>
          </a:p>
        </p:txBody>
      </p:sp>
      <p:sp>
        <p:nvSpPr>
          <p:cNvPr id="41" name="CVHeading" descr="PitchPerfect|Bio|CVHeading">
            <a:extLst>
              <a:ext uri="{FF2B5EF4-FFF2-40B4-BE49-F238E27FC236}">
                <a16:creationId xmlns:a16="http://schemas.microsoft.com/office/drawing/2014/main" id="{6A720E16-3F93-4208-B7AF-2CC598942E57}"/>
              </a:ext>
            </a:extLst>
          </p:cNvPr>
          <p:cNvSpPr>
            <a:spLocks noGrp="1"/>
          </p:cNvSpPr>
          <p:nvPr>
            <p:ph type="body" sz="quarter" idx="43"/>
          </p:nvPr>
        </p:nvSpPr>
        <p:spPr>
          <a:xfrm>
            <a:off x="801538" y="619201"/>
            <a:ext cx="8161216" cy="268719"/>
          </a:xfrm>
        </p:spPr>
        <p:txBody>
          <a:bodyPr/>
          <a:lstStyle>
            <a:lvl1pPr>
              <a:defRPr b="1" cap="all" baseline="0"/>
            </a:lvl1pPr>
          </a:lstStyle>
          <a:p>
            <a:pPr lvl="0"/>
            <a:r>
              <a:rPr lang="en-US"/>
              <a:t>Edit Master text styles</a:t>
            </a:r>
          </a:p>
        </p:txBody>
      </p:sp>
      <p:sp>
        <p:nvSpPr>
          <p:cNvPr id="19" name="PP_E" descr="PitchPerfect|Bio|PP_E">
            <a:extLst>
              <a:ext uri="{FF2B5EF4-FFF2-40B4-BE49-F238E27FC236}">
                <a16:creationId xmlns:a16="http://schemas.microsoft.com/office/drawing/2014/main" id="{BEC1C304-D0A8-49D1-A196-687395B9A0D4}"/>
              </a:ext>
            </a:extLst>
          </p:cNvPr>
          <p:cNvSpPr>
            <a:spLocks noGrp="1"/>
          </p:cNvSpPr>
          <p:nvPr>
            <p:ph type="body" sz="quarter" idx="74" hasCustomPrompt="1"/>
          </p:nvPr>
        </p:nvSpPr>
        <p:spPr>
          <a:xfrm>
            <a:off x="2285115" y="2298372"/>
            <a:ext cx="177231" cy="184666"/>
          </a:xfrm>
        </p:spPr>
        <p:txBody>
          <a:bodyPr wrap="square" bIns="0">
            <a:spAutoFit/>
          </a:bodyPr>
          <a:lstStyle>
            <a:lvl1pPr>
              <a:defRPr sz="1200" b="1"/>
            </a:lvl1pPr>
          </a:lstStyle>
          <a:p>
            <a:pPr lvl="0"/>
            <a:r>
              <a:rPr lang="en-US" dirty="0"/>
              <a:t>E</a:t>
            </a:r>
            <a:endParaRPr lang="en-GB" dirty="0"/>
          </a:p>
        </p:txBody>
      </p:sp>
      <p:sp>
        <p:nvSpPr>
          <p:cNvPr id="20" name="PP_M" descr="PitchPerfect|Bio|PP_M">
            <a:extLst>
              <a:ext uri="{FF2B5EF4-FFF2-40B4-BE49-F238E27FC236}">
                <a16:creationId xmlns:a16="http://schemas.microsoft.com/office/drawing/2014/main" id="{0FC4116A-25E1-448B-A41B-91B4073BB1D3}"/>
              </a:ext>
            </a:extLst>
          </p:cNvPr>
          <p:cNvSpPr>
            <a:spLocks noGrp="1"/>
          </p:cNvSpPr>
          <p:nvPr>
            <p:ph type="body" sz="quarter" idx="75" hasCustomPrompt="1"/>
          </p:nvPr>
        </p:nvSpPr>
        <p:spPr>
          <a:xfrm>
            <a:off x="3967638" y="2081572"/>
            <a:ext cx="177231" cy="184666"/>
          </a:xfrm>
        </p:spPr>
        <p:txBody>
          <a:bodyPr wrap="square" bIns="0">
            <a:spAutoFit/>
          </a:bodyPr>
          <a:lstStyle>
            <a:lvl1pPr>
              <a:defRPr sz="1200" b="1"/>
            </a:lvl1pPr>
          </a:lstStyle>
          <a:p>
            <a:pPr lvl="0"/>
            <a:r>
              <a:rPr lang="en-US" dirty="0"/>
              <a:t>M</a:t>
            </a:r>
            <a:endParaRPr lang="en-GB" dirty="0"/>
          </a:p>
        </p:txBody>
      </p:sp>
      <p:sp>
        <p:nvSpPr>
          <p:cNvPr id="21" name="PP_T" descr="PitchPerfect|Bio|PP_T">
            <a:extLst>
              <a:ext uri="{FF2B5EF4-FFF2-40B4-BE49-F238E27FC236}">
                <a16:creationId xmlns:a16="http://schemas.microsoft.com/office/drawing/2014/main" id="{EFD8DB90-5960-4AAF-AAC4-6802ED051179}"/>
              </a:ext>
            </a:extLst>
          </p:cNvPr>
          <p:cNvSpPr>
            <a:spLocks noGrp="1"/>
          </p:cNvSpPr>
          <p:nvPr>
            <p:ph type="body" sz="quarter" idx="76" hasCustomPrompt="1"/>
          </p:nvPr>
        </p:nvSpPr>
        <p:spPr>
          <a:xfrm>
            <a:off x="2291133" y="2081572"/>
            <a:ext cx="177231" cy="184666"/>
          </a:xfrm>
        </p:spPr>
        <p:txBody>
          <a:bodyPr wrap="square" bIns="0">
            <a:spAutoFit/>
          </a:bodyPr>
          <a:lstStyle>
            <a:lvl1pPr>
              <a:defRPr sz="1200" b="1"/>
            </a:lvl1pPr>
          </a:lstStyle>
          <a:p>
            <a:pPr lvl="0"/>
            <a:r>
              <a:rPr lang="en-US" dirty="0"/>
              <a:t>T</a:t>
            </a:r>
            <a:endParaRPr lang="en-GB" dirty="0"/>
          </a:p>
        </p:txBody>
      </p:sp>
    </p:spTree>
    <p:extLst>
      <p:ext uri="{BB962C8B-B14F-4D97-AF65-F5344CB8AC3E}">
        <p14:creationId xmlns:p14="http://schemas.microsoft.com/office/powerpoint/2010/main" val="22495672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CV - 2/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EED1DF8-C98D-473D-B282-1396F4CC2D6E}"/>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7" name="Text Placeholder 6">
            <a:extLst>
              <a:ext uri="{FF2B5EF4-FFF2-40B4-BE49-F238E27FC236}">
                <a16:creationId xmlns:a16="http://schemas.microsoft.com/office/drawing/2014/main" id="{5D6C8D57-1765-4B5F-9F68-ADD54BA61B8D}"/>
              </a:ext>
            </a:extLst>
          </p:cNvPr>
          <p:cNvSpPr>
            <a:spLocks noGrp="1"/>
          </p:cNvSpPr>
          <p:nvPr>
            <p:ph type="body" sz="quarter" idx="13"/>
          </p:nvPr>
        </p:nvSpPr>
        <p:spPr>
          <a:xfrm>
            <a:off x="790425" y="1412776"/>
            <a:ext cx="10636738" cy="3839269"/>
          </a:xfrm>
          <a:prstGeom prst="rect">
            <a:avLst/>
          </a:prstGeom>
        </p:spPr>
        <p:txBody>
          <a:bodyPr numCol="2" spcCol="540000"/>
          <a:lstStyle>
            <a:lvl1pPr>
              <a:spcAft>
                <a:spcPts val="400"/>
              </a:spcAft>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Heading">
            <a:extLst>
              <a:ext uri="{FF2B5EF4-FFF2-40B4-BE49-F238E27FC236}">
                <a16:creationId xmlns:a16="http://schemas.microsoft.com/office/drawing/2014/main" id="{6A720E16-3F93-4208-B7AF-2CC598942E57}"/>
              </a:ext>
            </a:extLst>
          </p:cNvPr>
          <p:cNvSpPr>
            <a:spLocks noGrp="1"/>
          </p:cNvSpPr>
          <p:nvPr>
            <p:ph type="body" sz="quarter" idx="43"/>
          </p:nvPr>
        </p:nvSpPr>
        <p:spPr>
          <a:xfrm>
            <a:off x="798150" y="620689"/>
            <a:ext cx="8161216" cy="268719"/>
          </a:xfrm>
        </p:spPr>
        <p:txBody>
          <a:bodyPr/>
          <a:lstStyle>
            <a:lvl1pPr>
              <a:defRPr b="1" cap="all" baseline="0"/>
            </a:lvl1pPr>
          </a:lstStyle>
          <a:p>
            <a:pPr lvl="0"/>
            <a:r>
              <a:rPr lang="en-US"/>
              <a:t>Edit Master text styles</a:t>
            </a:r>
          </a:p>
        </p:txBody>
      </p:sp>
      <p:sp>
        <p:nvSpPr>
          <p:cNvPr id="26" name="Quote">
            <a:extLst>
              <a:ext uri="{FF2B5EF4-FFF2-40B4-BE49-F238E27FC236}">
                <a16:creationId xmlns:a16="http://schemas.microsoft.com/office/drawing/2014/main" id="{8657BBAA-394C-4C1C-9C4A-18D185E1D9B8}"/>
              </a:ext>
            </a:extLst>
          </p:cNvPr>
          <p:cNvSpPr>
            <a:spLocks noGrp="1"/>
          </p:cNvSpPr>
          <p:nvPr>
            <p:ph type="body" sz="quarter" idx="44"/>
          </p:nvPr>
        </p:nvSpPr>
        <p:spPr>
          <a:xfrm>
            <a:off x="4146245" y="5675785"/>
            <a:ext cx="6469642" cy="499910"/>
          </a:xfrm>
          <a:prstGeom prst="rect">
            <a:avLst/>
          </a:prstGeom>
        </p:spPr>
        <p:txBody>
          <a:bodyPr>
            <a:normAutofit/>
          </a:bodyPr>
          <a:lstStyle>
            <a:lvl1pPr algn="l">
              <a:defRPr sz="1600" b="0">
                <a:solidFill>
                  <a:schemeClr val="tx1"/>
                </a:solidFill>
                <a:latin typeface="+mn-lt"/>
              </a:defRPr>
            </a:lvl1pPr>
            <a:lvl2pPr algn="l">
              <a:defRPr sz="1200">
                <a:solidFill>
                  <a:srgbClr val="000000"/>
                </a:solidFill>
                <a:latin typeface="+mj-lt"/>
              </a:defRPr>
            </a:lvl2pPr>
          </a:lstStyle>
          <a:p>
            <a:pPr lvl="0"/>
            <a:r>
              <a:rPr lang="en-US"/>
              <a:t>Edit Master text styles</a:t>
            </a:r>
          </a:p>
          <a:p>
            <a:pPr lvl="1"/>
            <a:r>
              <a:rPr lang="en-US"/>
              <a:t>Second level</a:t>
            </a:r>
          </a:p>
        </p:txBody>
      </p:sp>
      <p:cxnSp>
        <p:nvCxnSpPr>
          <p:cNvPr id="27" name="Footer line">
            <a:extLst>
              <a:ext uri="{FF2B5EF4-FFF2-40B4-BE49-F238E27FC236}">
                <a16:creationId xmlns:a16="http://schemas.microsoft.com/office/drawing/2014/main" id="{7A17C37E-FD92-4711-B113-520D9D9C65BB}"/>
              </a:ext>
            </a:extLst>
          </p:cNvPr>
          <p:cNvCxnSpPr>
            <a:cxnSpLocks/>
          </p:cNvCxnSpPr>
          <p:nvPr userDrawn="1"/>
        </p:nvCxnSpPr>
        <p:spPr>
          <a:xfrm>
            <a:off x="772944" y="5517232"/>
            <a:ext cx="1064142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8" name="Quote Image">
            <a:extLst>
              <a:ext uri="{FF2B5EF4-FFF2-40B4-BE49-F238E27FC236}">
                <a16:creationId xmlns:a16="http://schemas.microsoft.com/office/drawing/2014/main" id="{B1D01CAE-87E0-49C2-B68E-CE07E67607F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16866" y="5532022"/>
            <a:ext cx="1121278" cy="712874"/>
          </a:xfrm>
          <a:prstGeom prst="rect">
            <a:avLst/>
          </a:prstGeom>
        </p:spPr>
      </p:pic>
    </p:spTree>
    <p:extLst>
      <p:ext uri="{BB962C8B-B14F-4D97-AF65-F5344CB8AC3E}">
        <p14:creationId xmlns:p14="http://schemas.microsoft.com/office/powerpoint/2010/main" val="30574912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and Text">
    <p:spTree>
      <p:nvGrpSpPr>
        <p:cNvPr id="1" name=""/>
        <p:cNvGrpSpPr/>
        <p:nvPr/>
      </p:nvGrpSpPr>
      <p:grpSpPr>
        <a:xfrm>
          <a:off x="0" y="0"/>
          <a:ext cx="0" cy="0"/>
          <a:chOff x="0" y="0"/>
          <a:chExt cx="0" cy="0"/>
        </a:xfrm>
      </p:grpSpPr>
      <p:sp>
        <p:nvSpPr>
          <p:cNvPr id="17" name="Slide Number Placeholder 16">
            <a:extLst>
              <a:ext uri="{FF2B5EF4-FFF2-40B4-BE49-F238E27FC236}">
                <a16:creationId xmlns:a16="http://schemas.microsoft.com/office/drawing/2014/main" id="{A5424E38-A45C-4C04-BC87-F3C4ED1B1B02}"/>
              </a:ext>
            </a:extLst>
          </p:cNvPr>
          <p:cNvSpPr>
            <a:spLocks noGrp="1"/>
          </p:cNvSpPr>
          <p:nvPr>
            <p:ph type="sldNum" sz="quarter" idx="24"/>
          </p:nvPr>
        </p:nvSpPr>
        <p:spPr>
          <a:xfrm>
            <a:off x="8671169" y="6455673"/>
            <a:ext cx="2743200" cy="164195"/>
          </a:xfrm>
          <a:prstGeom prst="rect">
            <a:avLst/>
          </a:prstGeom>
        </p:spPr>
        <p:txBody>
          <a:bodyPr/>
          <a:lstStyle/>
          <a:p>
            <a:endParaRPr lang="en-GB" dirty="0"/>
          </a:p>
        </p:txBody>
      </p:sp>
      <p:sp>
        <p:nvSpPr>
          <p:cNvPr id="23" name="Heading">
            <a:extLst>
              <a:ext uri="{FF2B5EF4-FFF2-40B4-BE49-F238E27FC236}">
                <a16:creationId xmlns:a16="http://schemas.microsoft.com/office/drawing/2014/main" id="{0A61E1BC-B2E8-4ACD-91F0-D1E4918CAC53}"/>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3" name="Text Placeholder 2">
            <a:extLst>
              <a:ext uri="{FF2B5EF4-FFF2-40B4-BE49-F238E27FC236}">
                <a16:creationId xmlns:a16="http://schemas.microsoft.com/office/drawing/2014/main" id="{204ED704-A8C7-4327-967A-458D8C2D5D52}"/>
              </a:ext>
            </a:extLst>
          </p:cNvPr>
          <p:cNvSpPr>
            <a:spLocks noGrp="1"/>
          </p:cNvSpPr>
          <p:nvPr>
            <p:ph type="body" sz="quarter" idx="26"/>
          </p:nvPr>
        </p:nvSpPr>
        <p:spPr>
          <a:xfrm>
            <a:off x="6450504" y="1412776"/>
            <a:ext cx="4954097" cy="3824479"/>
          </a:xfrm>
        </p:spPr>
        <p:txBody>
          <a:bodyPr/>
          <a:lstStyle>
            <a:lvl1pPr>
              <a:spcAft>
                <a:spcPts val="400"/>
              </a:spcAft>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56C8684E-DF85-4EAF-B3E0-805A951AB120}"/>
              </a:ext>
            </a:extLst>
          </p:cNvPr>
          <p:cNvSpPr>
            <a:spLocks noGrp="1"/>
          </p:cNvSpPr>
          <p:nvPr>
            <p:ph type="pic" sz="quarter" idx="27"/>
          </p:nvPr>
        </p:nvSpPr>
        <p:spPr>
          <a:xfrm>
            <a:off x="777632" y="1412776"/>
            <a:ext cx="4963868" cy="3824480"/>
          </a:xfrm>
        </p:spPr>
        <p:txBody>
          <a:bodyPr/>
          <a:lstStyle/>
          <a:p>
            <a:r>
              <a:rPr lang="en-US"/>
              <a:t>Click icon to add picture</a:t>
            </a:r>
            <a:endParaRPr lang="en-GB" dirty="0"/>
          </a:p>
        </p:txBody>
      </p:sp>
      <p:sp>
        <p:nvSpPr>
          <p:cNvPr id="6" name="Quote">
            <a:extLst>
              <a:ext uri="{FF2B5EF4-FFF2-40B4-BE49-F238E27FC236}">
                <a16:creationId xmlns:a16="http://schemas.microsoft.com/office/drawing/2014/main" id="{31937BB7-0836-4AB5-B455-22D15BA3A02F}"/>
              </a:ext>
            </a:extLst>
          </p:cNvPr>
          <p:cNvSpPr>
            <a:spLocks noGrp="1"/>
          </p:cNvSpPr>
          <p:nvPr>
            <p:ph type="body" sz="quarter" idx="44"/>
          </p:nvPr>
        </p:nvSpPr>
        <p:spPr>
          <a:xfrm>
            <a:off x="4146245" y="5675785"/>
            <a:ext cx="6469642" cy="499910"/>
          </a:xfrm>
          <a:prstGeom prst="rect">
            <a:avLst/>
          </a:prstGeom>
        </p:spPr>
        <p:txBody>
          <a:bodyPr>
            <a:normAutofit/>
          </a:bodyPr>
          <a:lstStyle>
            <a:lvl1pPr algn="l">
              <a:defRPr sz="1600" b="0">
                <a:solidFill>
                  <a:schemeClr val="tx1"/>
                </a:solidFill>
                <a:latin typeface="+mn-lt"/>
              </a:defRPr>
            </a:lvl1pPr>
            <a:lvl2pPr algn="l">
              <a:defRPr sz="1200">
                <a:solidFill>
                  <a:srgbClr val="323232"/>
                </a:solidFill>
                <a:latin typeface="+mj-lt"/>
              </a:defRPr>
            </a:lvl2pPr>
          </a:lstStyle>
          <a:p>
            <a:pPr lvl="0"/>
            <a:r>
              <a:rPr lang="en-US"/>
              <a:t>Edit Master text styles</a:t>
            </a:r>
          </a:p>
          <a:p>
            <a:pPr lvl="1"/>
            <a:r>
              <a:rPr lang="en-US"/>
              <a:t>Second level</a:t>
            </a:r>
          </a:p>
        </p:txBody>
      </p:sp>
      <p:cxnSp>
        <p:nvCxnSpPr>
          <p:cNvPr id="7" name="Footer line">
            <a:extLst>
              <a:ext uri="{FF2B5EF4-FFF2-40B4-BE49-F238E27FC236}">
                <a16:creationId xmlns:a16="http://schemas.microsoft.com/office/drawing/2014/main" id="{15274C23-7A22-484E-8F24-BD6481814058}"/>
              </a:ext>
            </a:extLst>
          </p:cNvPr>
          <p:cNvCxnSpPr>
            <a:cxnSpLocks/>
          </p:cNvCxnSpPr>
          <p:nvPr userDrawn="1"/>
        </p:nvCxnSpPr>
        <p:spPr>
          <a:xfrm>
            <a:off x="772944" y="5517232"/>
            <a:ext cx="1064142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8" name="Quote Image">
            <a:extLst>
              <a:ext uri="{FF2B5EF4-FFF2-40B4-BE49-F238E27FC236}">
                <a16:creationId xmlns:a16="http://schemas.microsoft.com/office/drawing/2014/main" id="{61FFE7CF-1FC0-41AD-8031-380202CF9905}"/>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816866" y="5532022"/>
            <a:ext cx="1121278" cy="712874"/>
          </a:xfrm>
          <a:prstGeom prst="rect">
            <a:avLst/>
          </a:prstGeom>
        </p:spPr>
      </p:pic>
    </p:spTree>
    <p:extLst>
      <p:ext uri="{BB962C8B-B14F-4D97-AF65-F5344CB8AC3E}">
        <p14:creationId xmlns:p14="http://schemas.microsoft.com/office/powerpoint/2010/main" val="5500174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with shaded text">
    <p:spTree>
      <p:nvGrpSpPr>
        <p:cNvPr id="1" name=""/>
        <p:cNvGrpSpPr/>
        <p:nvPr/>
      </p:nvGrpSpPr>
      <p:grpSpPr>
        <a:xfrm>
          <a:off x="0" y="0"/>
          <a:ext cx="0" cy="0"/>
          <a:chOff x="0" y="0"/>
          <a:chExt cx="0" cy="0"/>
        </a:xfrm>
      </p:grpSpPr>
      <p:sp>
        <p:nvSpPr>
          <p:cNvPr id="17" name="Slide Number Placeholder 16">
            <a:extLst>
              <a:ext uri="{FF2B5EF4-FFF2-40B4-BE49-F238E27FC236}">
                <a16:creationId xmlns:a16="http://schemas.microsoft.com/office/drawing/2014/main" id="{A5424E38-A45C-4C04-BC87-F3C4ED1B1B02}"/>
              </a:ext>
            </a:extLst>
          </p:cNvPr>
          <p:cNvSpPr>
            <a:spLocks noGrp="1"/>
          </p:cNvSpPr>
          <p:nvPr>
            <p:ph type="sldNum" sz="quarter" idx="24"/>
          </p:nvPr>
        </p:nvSpPr>
        <p:spPr>
          <a:xfrm>
            <a:off x="8671169" y="6455673"/>
            <a:ext cx="2743200" cy="164195"/>
          </a:xfrm>
          <a:prstGeom prst="rect">
            <a:avLst/>
          </a:prstGeom>
        </p:spPr>
        <p:txBody>
          <a:bodyPr/>
          <a:lstStyle/>
          <a:p>
            <a:endParaRPr lang="en-GB" dirty="0"/>
          </a:p>
        </p:txBody>
      </p:sp>
      <p:sp>
        <p:nvSpPr>
          <p:cNvPr id="23" name="Heading">
            <a:extLst>
              <a:ext uri="{FF2B5EF4-FFF2-40B4-BE49-F238E27FC236}">
                <a16:creationId xmlns:a16="http://schemas.microsoft.com/office/drawing/2014/main" id="{0A61E1BC-B2E8-4ACD-91F0-D1E4918CAC53}"/>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3" name="Text Placeholder 2">
            <a:extLst>
              <a:ext uri="{FF2B5EF4-FFF2-40B4-BE49-F238E27FC236}">
                <a16:creationId xmlns:a16="http://schemas.microsoft.com/office/drawing/2014/main" id="{204ED704-A8C7-4327-967A-458D8C2D5D52}"/>
              </a:ext>
            </a:extLst>
          </p:cNvPr>
          <p:cNvSpPr>
            <a:spLocks noGrp="1"/>
          </p:cNvSpPr>
          <p:nvPr>
            <p:ph type="body" sz="quarter" idx="26"/>
          </p:nvPr>
        </p:nvSpPr>
        <p:spPr>
          <a:xfrm>
            <a:off x="6450504" y="1412776"/>
            <a:ext cx="4954097" cy="4752528"/>
          </a:xfrm>
        </p:spPr>
        <p:txBody>
          <a:bodyPr/>
          <a:lstStyle>
            <a:lvl1pPr>
              <a:spcAft>
                <a:spcPts val="400"/>
              </a:spcAft>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4">
            <a:extLst>
              <a:ext uri="{FF2B5EF4-FFF2-40B4-BE49-F238E27FC236}">
                <a16:creationId xmlns:a16="http://schemas.microsoft.com/office/drawing/2014/main" id="{56C8684E-DF85-4EAF-B3E0-805A951AB120}"/>
              </a:ext>
            </a:extLst>
          </p:cNvPr>
          <p:cNvSpPr>
            <a:spLocks noGrp="1"/>
          </p:cNvSpPr>
          <p:nvPr>
            <p:ph type="pic" sz="quarter" idx="27"/>
          </p:nvPr>
        </p:nvSpPr>
        <p:spPr>
          <a:xfrm>
            <a:off x="777632" y="1412777"/>
            <a:ext cx="4963868" cy="2547416"/>
          </a:xfrm>
        </p:spPr>
        <p:txBody>
          <a:bodyPr/>
          <a:lstStyle/>
          <a:p>
            <a:r>
              <a:rPr lang="en-US"/>
              <a:t>Click icon to add picture</a:t>
            </a:r>
            <a:endParaRPr lang="en-GB" dirty="0"/>
          </a:p>
        </p:txBody>
      </p:sp>
      <p:sp>
        <p:nvSpPr>
          <p:cNvPr id="6" name="Text Placeholder 2">
            <a:extLst>
              <a:ext uri="{FF2B5EF4-FFF2-40B4-BE49-F238E27FC236}">
                <a16:creationId xmlns:a16="http://schemas.microsoft.com/office/drawing/2014/main" id="{6B836B72-22AA-4FD4-81A0-4A6F8A03E7F9}"/>
              </a:ext>
            </a:extLst>
          </p:cNvPr>
          <p:cNvSpPr>
            <a:spLocks noGrp="1"/>
          </p:cNvSpPr>
          <p:nvPr>
            <p:ph type="body" sz="quarter" idx="28"/>
          </p:nvPr>
        </p:nvSpPr>
        <p:spPr>
          <a:xfrm>
            <a:off x="798516" y="4171280"/>
            <a:ext cx="4954097" cy="1994025"/>
          </a:xfrm>
          <a:solidFill>
            <a:schemeClr val="bg2"/>
          </a:solidFill>
          <a:ln>
            <a:noFill/>
          </a:ln>
        </p:spPr>
        <p:txBody>
          <a:bodyPr lIns="180000" tIns="180000" rIns="180000" bIns="180000"/>
          <a:lstStyle>
            <a:lvl1pPr>
              <a:spcAft>
                <a:spcPts val="400"/>
              </a:spcAft>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322701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actice Area with lin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AD7CDD-43E6-4786-981D-BBA273ADC07F}"/>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Text Placeholder 15">
            <a:extLst>
              <a:ext uri="{FF2B5EF4-FFF2-40B4-BE49-F238E27FC236}">
                <a16:creationId xmlns:a16="http://schemas.microsoft.com/office/drawing/2014/main" id="{43F19808-B31D-4D02-9425-049E95328696}"/>
              </a:ext>
            </a:extLst>
          </p:cNvPr>
          <p:cNvSpPr>
            <a:spLocks noGrp="1"/>
          </p:cNvSpPr>
          <p:nvPr>
            <p:ph type="body" sz="quarter" idx="21"/>
          </p:nvPr>
        </p:nvSpPr>
        <p:spPr>
          <a:xfrm>
            <a:off x="777631" y="1412777"/>
            <a:ext cx="10636738" cy="2160240"/>
          </a:xfrm>
          <a:prstGeom prst="rect">
            <a:avLst/>
          </a:prstGeom>
        </p:spPr>
        <p:txBody>
          <a:bodyPr numCol="2"/>
          <a:lstStyle>
            <a:lvl1pPr>
              <a:defRPr sz="1100" b="0">
                <a:solidFill>
                  <a:schemeClr val="tx1"/>
                </a:solidFill>
                <a:latin typeface="+mn-lt"/>
              </a:defRPr>
            </a:lvl1pPr>
            <a:lvl2pPr marL="171450" indent="-171450">
              <a:buFont typeface="Arial" panose="020B0604020202020204" pitchFamily="34" charset="0"/>
              <a:buChar char="•"/>
              <a:defRPr sz="1100"/>
            </a:lvl2pPr>
            <a:lvl3pPr marL="432000" indent="-216000">
              <a:buClr>
                <a:schemeClr val="tx1"/>
              </a:buClr>
              <a:buFont typeface="Corporate S Light" pitchFamily="50" charset="0"/>
              <a:buChar char="–"/>
              <a:defRPr sz="1100">
                <a:solidFill>
                  <a:schemeClr val="tx1"/>
                </a:solidFill>
              </a:defRPr>
            </a:lvl3pPr>
          </a:lstStyle>
          <a:p>
            <a:pPr lvl="0"/>
            <a:r>
              <a:rPr lang="en-US"/>
              <a:t>Edit Master text styles</a:t>
            </a:r>
          </a:p>
          <a:p>
            <a:pPr lvl="1"/>
            <a:r>
              <a:rPr lang="en-US"/>
              <a:t>Second level</a:t>
            </a:r>
          </a:p>
          <a:p>
            <a:pPr lvl="2"/>
            <a:r>
              <a:rPr lang="en-US"/>
              <a:t>Third level</a:t>
            </a:r>
          </a:p>
        </p:txBody>
      </p:sp>
      <p:sp>
        <p:nvSpPr>
          <p:cNvPr id="14" name="Heading">
            <a:extLst>
              <a:ext uri="{FF2B5EF4-FFF2-40B4-BE49-F238E27FC236}">
                <a16:creationId xmlns:a16="http://schemas.microsoft.com/office/drawing/2014/main" id="{ECD2C0BA-F86D-44BB-9391-E78E742A3157}"/>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9" name="Text Placeholder 15">
            <a:extLst>
              <a:ext uri="{FF2B5EF4-FFF2-40B4-BE49-F238E27FC236}">
                <a16:creationId xmlns:a16="http://schemas.microsoft.com/office/drawing/2014/main" id="{6CAAFF3A-C9A2-45D1-A994-A18E79C6F754}"/>
              </a:ext>
            </a:extLst>
          </p:cNvPr>
          <p:cNvSpPr>
            <a:spLocks noGrp="1"/>
          </p:cNvSpPr>
          <p:nvPr>
            <p:ph type="body" sz="quarter" idx="26"/>
          </p:nvPr>
        </p:nvSpPr>
        <p:spPr>
          <a:xfrm>
            <a:off x="777631" y="4112542"/>
            <a:ext cx="10636738" cy="2160000"/>
          </a:xfrm>
          <a:prstGeom prst="rect">
            <a:avLst/>
          </a:prstGeom>
        </p:spPr>
        <p:txBody>
          <a:bodyPr numCol="2" spcCol="540000"/>
          <a:lstStyle>
            <a:lvl1pPr>
              <a:defRPr sz="1100" b="0">
                <a:solidFill>
                  <a:schemeClr val="tx1"/>
                </a:solidFill>
                <a:latin typeface="+mn-lt"/>
              </a:defRPr>
            </a:lvl1pPr>
            <a:lvl2pPr marL="171450" indent="-171450">
              <a:buFont typeface="Arial" panose="020B0604020202020204" pitchFamily="34" charset="0"/>
              <a:buChar char="•"/>
              <a:defRPr sz="1100"/>
            </a:lvl2pPr>
            <a:lvl3pPr marL="432000" indent="-216000">
              <a:buClr>
                <a:schemeClr val="tx1"/>
              </a:buClr>
              <a:buFont typeface="Corporate S Light" pitchFamily="50" charset="0"/>
              <a:buChar char="–"/>
              <a:defRPr sz="1100">
                <a:solidFill>
                  <a:schemeClr val="tx1"/>
                </a:solidFill>
              </a:defRPr>
            </a:lvl3pPr>
          </a:lstStyle>
          <a:p>
            <a:pPr lvl="0"/>
            <a:r>
              <a:rPr lang="en-US"/>
              <a:t>Edit Master text styles</a:t>
            </a:r>
          </a:p>
          <a:p>
            <a:pPr lvl="1"/>
            <a:r>
              <a:rPr lang="en-US"/>
              <a:t>Second level</a:t>
            </a:r>
          </a:p>
          <a:p>
            <a:pPr lvl="2"/>
            <a:r>
              <a:rPr lang="en-US"/>
              <a:t>Third level</a:t>
            </a:r>
          </a:p>
        </p:txBody>
      </p:sp>
      <p:cxnSp>
        <p:nvCxnSpPr>
          <p:cNvPr id="10" name="Footer line">
            <a:extLst>
              <a:ext uri="{FF2B5EF4-FFF2-40B4-BE49-F238E27FC236}">
                <a16:creationId xmlns:a16="http://schemas.microsoft.com/office/drawing/2014/main" id="{4CA93613-4281-49A7-92F3-8F434620BC57}"/>
              </a:ext>
            </a:extLst>
          </p:cNvPr>
          <p:cNvCxnSpPr>
            <a:cxnSpLocks/>
          </p:cNvCxnSpPr>
          <p:nvPr userDrawn="1"/>
        </p:nvCxnSpPr>
        <p:spPr>
          <a:xfrm>
            <a:off x="772944" y="3861048"/>
            <a:ext cx="1064142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4711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AD7CDD-43E6-4786-981D-BBA273ADC07F}"/>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Text Placeholder 15">
            <a:extLst>
              <a:ext uri="{FF2B5EF4-FFF2-40B4-BE49-F238E27FC236}">
                <a16:creationId xmlns:a16="http://schemas.microsoft.com/office/drawing/2014/main" id="{43F19808-B31D-4D02-9425-049E95328696}"/>
              </a:ext>
            </a:extLst>
          </p:cNvPr>
          <p:cNvSpPr>
            <a:spLocks noGrp="1"/>
          </p:cNvSpPr>
          <p:nvPr>
            <p:ph type="body" sz="quarter" idx="21"/>
          </p:nvPr>
        </p:nvSpPr>
        <p:spPr>
          <a:xfrm>
            <a:off x="777631" y="1412776"/>
            <a:ext cx="10636738" cy="4680520"/>
          </a:xfrm>
          <a:prstGeom prst="rect">
            <a:avLst/>
          </a:prstGeom>
        </p:spPr>
        <p:txBody>
          <a:bodyPr numCol="3" spcCol="360000"/>
          <a:lstStyle>
            <a:lvl1pPr>
              <a:lnSpc>
                <a:spcPct val="100000"/>
              </a:lnSpc>
              <a:defRPr lang="en-US" sz="1300" b="0" kern="1200" cap="none" baseline="0" dirty="0">
                <a:solidFill>
                  <a:schemeClr val="tx2"/>
                </a:solidFill>
                <a:latin typeface="+mj-lt"/>
                <a:ea typeface="+mn-ea"/>
                <a:cs typeface="+mn-cs"/>
              </a:defRPr>
            </a:lvl1pPr>
            <a:lvl2pPr marL="171450" indent="-171450">
              <a:lnSpc>
                <a:spcPct val="100000"/>
              </a:lnSpc>
              <a:buFont typeface="Arial" panose="020B0604020202020204" pitchFamily="34" charset="0"/>
              <a:buChar char="•"/>
              <a:defRPr sz="1100"/>
            </a:lvl2pPr>
            <a:lvl3pPr marL="432000" indent="-216000">
              <a:lnSpc>
                <a:spcPct val="100000"/>
              </a:lnSpc>
              <a:buClr>
                <a:schemeClr val="tx1"/>
              </a:buClr>
              <a:buFont typeface="Corporate S Light" pitchFamily="50" charset="0"/>
              <a:buChar char="–"/>
              <a:defRPr sz="1100">
                <a:solidFill>
                  <a:schemeClr val="tx1"/>
                </a:solidFill>
              </a:defRPr>
            </a:lvl3pPr>
          </a:lstStyle>
          <a:p>
            <a:pPr lvl="0"/>
            <a:r>
              <a:rPr lang="en-US"/>
              <a:t>Edit Master text styles</a:t>
            </a:r>
          </a:p>
          <a:p>
            <a:pPr lvl="1"/>
            <a:r>
              <a:rPr lang="en-US"/>
              <a:t>Second level</a:t>
            </a:r>
          </a:p>
          <a:p>
            <a:pPr lvl="2"/>
            <a:r>
              <a:rPr lang="en-US"/>
              <a:t>Third level</a:t>
            </a:r>
          </a:p>
        </p:txBody>
      </p:sp>
      <p:sp>
        <p:nvSpPr>
          <p:cNvPr id="14" name="Heading">
            <a:extLst>
              <a:ext uri="{FF2B5EF4-FFF2-40B4-BE49-F238E27FC236}">
                <a16:creationId xmlns:a16="http://schemas.microsoft.com/office/drawing/2014/main" id="{ECD2C0BA-F86D-44BB-9391-E78E742A3157}"/>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26622953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ead Partner - 3 x 3 Teams">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B7BF5A9A-FC48-4122-9905-0DC7296983B4}"/>
              </a:ext>
            </a:extLst>
          </p:cNvPr>
          <p:cNvCxnSpPr>
            <a:cxnSpLocks/>
          </p:cNvCxnSpPr>
          <p:nvPr userDrawn="1"/>
        </p:nvCxnSpPr>
        <p:spPr>
          <a:xfrm flipH="1">
            <a:off x="873526" y="1493685"/>
            <a:ext cx="104449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81E26FF2-0A9A-4BB9-8B55-F562EBA3FFF3}"/>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cxnSp>
        <p:nvCxnSpPr>
          <p:cNvPr id="6" name="Straight Connector 5">
            <a:extLst>
              <a:ext uri="{FF2B5EF4-FFF2-40B4-BE49-F238E27FC236}">
                <a16:creationId xmlns:a16="http://schemas.microsoft.com/office/drawing/2014/main" id="{3D9A9B86-6D54-4FA0-B04C-3F0C8EEAC67F}"/>
              </a:ext>
            </a:extLst>
          </p:cNvPr>
          <p:cNvCxnSpPr>
            <a:cxnSpLocks/>
          </p:cNvCxnSpPr>
          <p:nvPr userDrawn="1"/>
        </p:nvCxnSpPr>
        <p:spPr>
          <a:xfrm flipH="1">
            <a:off x="4323495" y="4101652"/>
            <a:ext cx="3456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12F7E05-8E1B-4559-892C-0C619D028254}"/>
              </a:ext>
            </a:extLst>
          </p:cNvPr>
          <p:cNvCxnSpPr>
            <a:cxnSpLocks/>
          </p:cNvCxnSpPr>
          <p:nvPr userDrawn="1"/>
        </p:nvCxnSpPr>
        <p:spPr>
          <a:xfrm rot="16200000" flipH="1">
            <a:off x="4835621" y="2743649"/>
            <a:ext cx="2520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Headshot" descr="PitchPerfect|Bio|Headshot">
            <a:extLst>
              <a:ext uri="{FF2B5EF4-FFF2-40B4-BE49-F238E27FC236}">
                <a16:creationId xmlns:a16="http://schemas.microsoft.com/office/drawing/2014/main" id="{FB0FE5BB-2CA5-4246-B528-B29F6E525B5D}"/>
              </a:ext>
            </a:extLst>
          </p:cNvPr>
          <p:cNvSpPr>
            <a:spLocks noGrp="1" noChangeAspect="1"/>
          </p:cNvSpPr>
          <p:nvPr>
            <p:ph type="pic" sz="quarter" idx="21"/>
          </p:nvPr>
        </p:nvSpPr>
        <p:spPr>
          <a:xfrm>
            <a:off x="5552914" y="1962438"/>
            <a:ext cx="1124907" cy="914400"/>
          </a:xfrm>
          <a:prstGeom prst="ellipse">
            <a:avLst/>
          </a:prstGeom>
        </p:spPr>
        <p:txBody>
          <a:bodyPr/>
          <a:lstStyle/>
          <a:p>
            <a:r>
              <a:rPr lang="en-US"/>
              <a:t>Click icon to add picture</a:t>
            </a:r>
            <a:endParaRPr lang="en-GB"/>
          </a:p>
        </p:txBody>
      </p:sp>
      <p:sp>
        <p:nvSpPr>
          <p:cNvPr id="9" name="NameJobTitlePractice" descr="PitchPerfect|Bio|NameJobTitlePractice">
            <a:extLst>
              <a:ext uri="{FF2B5EF4-FFF2-40B4-BE49-F238E27FC236}">
                <a16:creationId xmlns:a16="http://schemas.microsoft.com/office/drawing/2014/main" id="{66B90069-F3DB-4C4C-AA31-E70FBFB29173}"/>
              </a:ext>
            </a:extLst>
          </p:cNvPr>
          <p:cNvSpPr>
            <a:spLocks noGrp="1"/>
          </p:cNvSpPr>
          <p:nvPr>
            <p:ph type="body" sz="quarter" idx="22"/>
          </p:nvPr>
        </p:nvSpPr>
        <p:spPr>
          <a:xfrm>
            <a:off x="5181489" y="3040813"/>
            <a:ext cx="1882725" cy="368233"/>
          </a:xfrm>
          <a:solidFill>
            <a:schemeClr val="bg1"/>
          </a:solidFill>
        </p:spPr>
        <p:txBody>
          <a:bodyPr wrap="square">
            <a:spAutoFit/>
          </a:bodyPr>
          <a:lstStyle>
            <a:lvl1pPr algn="ctr">
              <a:defRPr sz="800" b="1">
                <a:solidFill>
                  <a:schemeClr val="tx1"/>
                </a:solidFill>
                <a:latin typeface="Corporate S" pitchFamily="50" charset="0"/>
              </a:defRPr>
            </a:lvl1pPr>
            <a:lvl2pPr marL="0" indent="0" algn="ctr">
              <a:spcBef>
                <a:spcPts val="400"/>
              </a:spcBef>
              <a:defRPr sz="800">
                <a:solidFill>
                  <a:schemeClr val="tx1"/>
                </a:solidFill>
              </a:defRPr>
            </a:lvl2pPr>
          </a:lstStyle>
          <a:p>
            <a:pPr lvl="0"/>
            <a:r>
              <a:rPr lang="en-US"/>
              <a:t>Edit Master text styles</a:t>
            </a:r>
          </a:p>
          <a:p>
            <a:pPr lvl="1"/>
            <a:r>
              <a:rPr lang="en-US"/>
              <a:t>Second level</a:t>
            </a:r>
          </a:p>
        </p:txBody>
      </p:sp>
      <p:sp>
        <p:nvSpPr>
          <p:cNvPr id="11" name="Headshot_1" descr="PitchPerfect|Bio|Headshot_1">
            <a:extLst>
              <a:ext uri="{FF2B5EF4-FFF2-40B4-BE49-F238E27FC236}">
                <a16:creationId xmlns:a16="http://schemas.microsoft.com/office/drawing/2014/main" id="{812C02B4-0373-4D7B-9CB3-D37EB50B0D20}"/>
              </a:ext>
            </a:extLst>
          </p:cNvPr>
          <p:cNvSpPr>
            <a:spLocks noGrp="1" noChangeAspect="1"/>
          </p:cNvSpPr>
          <p:nvPr>
            <p:ph type="pic" sz="quarter" idx="30"/>
          </p:nvPr>
        </p:nvSpPr>
        <p:spPr>
          <a:xfrm>
            <a:off x="1212846" y="1809736"/>
            <a:ext cx="899040" cy="730800"/>
          </a:xfrm>
          <a:prstGeom prst="ellipse">
            <a:avLst/>
          </a:prstGeom>
        </p:spPr>
        <p:txBody>
          <a:bodyPr/>
          <a:lstStyle/>
          <a:p>
            <a:r>
              <a:rPr lang="en-US"/>
              <a:t>Click icon to add picture</a:t>
            </a:r>
            <a:endParaRPr lang="en-GB"/>
          </a:p>
        </p:txBody>
      </p:sp>
      <p:sp>
        <p:nvSpPr>
          <p:cNvPr id="12" name="NameJobTitlePractice_1" descr="PitchPerfect|Bio|NameJobTitlePractice_1">
            <a:extLst>
              <a:ext uri="{FF2B5EF4-FFF2-40B4-BE49-F238E27FC236}">
                <a16:creationId xmlns:a16="http://schemas.microsoft.com/office/drawing/2014/main" id="{C0188D7D-C630-4888-8A58-E81AE0BC7AB5}"/>
              </a:ext>
            </a:extLst>
          </p:cNvPr>
          <p:cNvSpPr>
            <a:spLocks noGrp="1"/>
          </p:cNvSpPr>
          <p:nvPr>
            <p:ph type="body" sz="quarter" idx="31"/>
          </p:nvPr>
        </p:nvSpPr>
        <p:spPr>
          <a:xfrm>
            <a:off x="1174981" y="2652226"/>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13" name="Headshot_2" descr="PitchPerfect|Bio|Headshot_2">
            <a:extLst>
              <a:ext uri="{FF2B5EF4-FFF2-40B4-BE49-F238E27FC236}">
                <a16:creationId xmlns:a16="http://schemas.microsoft.com/office/drawing/2014/main" id="{BBB5D3F0-D3D2-452A-A415-6B4E5C7814EB}"/>
              </a:ext>
            </a:extLst>
          </p:cNvPr>
          <p:cNvSpPr>
            <a:spLocks noGrp="1" noChangeAspect="1"/>
          </p:cNvSpPr>
          <p:nvPr>
            <p:ph type="pic" sz="quarter" idx="36"/>
          </p:nvPr>
        </p:nvSpPr>
        <p:spPr>
          <a:xfrm>
            <a:off x="2394446" y="1814820"/>
            <a:ext cx="899040" cy="730800"/>
          </a:xfrm>
          <a:prstGeom prst="ellipse">
            <a:avLst/>
          </a:prstGeom>
        </p:spPr>
        <p:txBody>
          <a:bodyPr/>
          <a:lstStyle/>
          <a:p>
            <a:r>
              <a:rPr lang="en-US"/>
              <a:t>Click icon to add picture</a:t>
            </a:r>
            <a:endParaRPr lang="en-GB"/>
          </a:p>
        </p:txBody>
      </p:sp>
      <p:sp>
        <p:nvSpPr>
          <p:cNvPr id="14" name="NameJobTitlePractice_2" descr="PitchPerfect|Bio|NameJobTitlePractice_2">
            <a:extLst>
              <a:ext uri="{FF2B5EF4-FFF2-40B4-BE49-F238E27FC236}">
                <a16:creationId xmlns:a16="http://schemas.microsoft.com/office/drawing/2014/main" id="{75C5C038-7C6A-4A02-83E6-23A7CE1EBAC3}"/>
              </a:ext>
            </a:extLst>
          </p:cNvPr>
          <p:cNvSpPr>
            <a:spLocks noGrp="1"/>
          </p:cNvSpPr>
          <p:nvPr>
            <p:ph type="body" sz="quarter" idx="37"/>
          </p:nvPr>
        </p:nvSpPr>
        <p:spPr>
          <a:xfrm>
            <a:off x="2356581" y="2657310"/>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17" name="Headshot_3" descr="PitchPerfect|Bio|Headshot_3">
            <a:extLst>
              <a:ext uri="{FF2B5EF4-FFF2-40B4-BE49-F238E27FC236}">
                <a16:creationId xmlns:a16="http://schemas.microsoft.com/office/drawing/2014/main" id="{B10CD687-DC2F-495B-A9BF-8ED042A99A7A}"/>
              </a:ext>
            </a:extLst>
          </p:cNvPr>
          <p:cNvSpPr>
            <a:spLocks noGrp="1" noChangeAspect="1"/>
          </p:cNvSpPr>
          <p:nvPr>
            <p:ph type="pic" sz="quarter" idx="40"/>
          </p:nvPr>
        </p:nvSpPr>
        <p:spPr>
          <a:xfrm>
            <a:off x="1801122" y="3515447"/>
            <a:ext cx="899040" cy="730800"/>
          </a:xfrm>
          <a:prstGeom prst="ellipse">
            <a:avLst/>
          </a:prstGeom>
        </p:spPr>
        <p:txBody>
          <a:bodyPr/>
          <a:lstStyle/>
          <a:p>
            <a:r>
              <a:rPr lang="en-US"/>
              <a:t>Click icon to add picture</a:t>
            </a:r>
            <a:endParaRPr lang="en-GB"/>
          </a:p>
        </p:txBody>
      </p:sp>
      <p:sp>
        <p:nvSpPr>
          <p:cNvPr id="18" name="NameJobTitlePractice_3" descr="PitchPerfect|Bio|NameJobTitlePractice_3">
            <a:extLst>
              <a:ext uri="{FF2B5EF4-FFF2-40B4-BE49-F238E27FC236}">
                <a16:creationId xmlns:a16="http://schemas.microsoft.com/office/drawing/2014/main" id="{FF349833-39FC-4656-B1FB-59DA4F5DD1A7}"/>
              </a:ext>
            </a:extLst>
          </p:cNvPr>
          <p:cNvSpPr>
            <a:spLocks noGrp="1"/>
          </p:cNvSpPr>
          <p:nvPr>
            <p:ph type="body" sz="quarter" idx="41"/>
          </p:nvPr>
        </p:nvSpPr>
        <p:spPr>
          <a:xfrm>
            <a:off x="1763258" y="4357937"/>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19" name="Headshot_4" descr="PitchPerfect|Bio|Headshot_4">
            <a:extLst>
              <a:ext uri="{FF2B5EF4-FFF2-40B4-BE49-F238E27FC236}">
                <a16:creationId xmlns:a16="http://schemas.microsoft.com/office/drawing/2014/main" id="{EA9156D3-0A28-4B6B-AA5F-E8652341F399}"/>
              </a:ext>
            </a:extLst>
          </p:cNvPr>
          <p:cNvSpPr>
            <a:spLocks noGrp="1" noChangeAspect="1"/>
          </p:cNvSpPr>
          <p:nvPr>
            <p:ph type="pic" sz="quarter" idx="42"/>
          </p:nvPr>
        </p:nvSpPr>
        <p:spPr>
          <a:xfrm>
            <a:off x="8967310" y="1808237"/>
            <a:ext cx="899040" cy="730800"/>
          </a:xfrm>
          <a:prstGeom prst="ellipse">
            <a:avLst/>
          </a:prstGeom>
        </p:spPr>
        <p:txBody>
          <a:bodyPr/>
          <a:lstStyle/>
          <a:p>
            <a:r>
              <a:rPr lang="en-US"/>
              <a:t>Click icon to add picture</a:t>
            </a:r>
            <a:endParaRPr lang="en-GB"/>
          </a:p>
        </p:txBody>
      </p:sp>
      <p:sp>
        <p:nvSpPr>
          <p:cNvPr id="20" name="NameJobTitlePractice_4" descr="PitchPerfect|Bio|NameJobTitlePractice_4">
            <a:extLst>
              <a:ext uri="{FF2B5EF4-FFF2-40B4-BE49-F238E27FC236}">
                <a16:creationId xmlns:a16="http://schemas.microsoft.com/office/drawing/2014/main" id="{DB10E55B-F200-40FD-97E3-FD4C41419C29}"/>
              </a:ext>
            </a:extLst>
          </p:cNvPr>
          <p:cNvSpPr>
            <a:spLocks noGrp="1"/>
          </p:cNvSpPr>
          <p:nvPr>
            <p:ph type="body" sz="quarter" idx="43"/>
          </p:nvPr>
        </p:nvSpPr>
        <p:spPr>
          <a:xfrm>
            <a:off x="8929445" y="2650727"/>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1" name="Headshot_5" descr="PitchPerfect|Bio|Headshot_5">
            <a:extLst>
              <a:ext uri="{FF2B5EF4-FFF2-40B4-BE49-F238E27FC236}">
                <a16:creationId xmlns:a16="http://schemas.microsoft.com/office/drawing/2014/main" id="{4E4676B1-E44F-495D-9A5B-5BE695B9DE6D}"/>
              </a:ext>
            </a:extLst>
          </p:cNvPr>
          <p:cNvSpPr>
            <a:spLocks noGrp="1" noChangeAspect="1"/>
          </p:cNvSpPr>
          <p:nvPr>
            <p:ph type="pic" sz="quarter" idx="44"/>
          </p:nvPr>
        </p:nvSpPr>
        <p:spPr>
          <a:xfrm>
            <a:off x="10118848" y="1808237"/>
            <a:ext cx="899040" cy="730800"/>
          </a:xfrm>
          <a:prstGeom prst="ellipse">
            <a:avLst/>
          </a:prstGeom>
        </p:spPr>
        <p:txBody>
          <a:bodyPr/>
          <a:lstStyle/>
          <a:p>
            <a:r>
              <a:rPr lang="en-US"/>
              <a:t>Click icon to add picture</a:t>
            </a:r>
            <a:endParaRPr lang="en-GB"/>
          </a:p>
        </p:txBody>
      </p:sp>
      <p:sp>
        <p:nvSpPr>
          <p:cNvPr id="22" name="NameJobTitlePractice_5" descr="PitchPerfect|Bio|NameJobTitlePractice_5">
            <a:extLst>
              <a:ext uri="{FF2B5EF4-FFF2-40B4-BE49-F238E27FC236}">
                <a16:creationId xmlns:a16="http://schemas.microsoft.com/office/drawing/2014/main" id="{44F95E3A-9DC2-4CDC-B17D-965F316105E2}"/>
              </a:ext>
            </a:extLst>
          </p:cNvPr>
          <p:cNvSpPr>
            <a:spLocks noGrp="1"/>
          </p:cNvSpPr>
          <p:nvPr>
            <p:ph type="body" sz="quarter" idx="45"/>
          </p:nvPr>
        </p:nvSpPr>
        <p:spPr>
          <a:xfrm>
            <a:off x="10080984" y="2650727"/>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3" name="Headshot_6" descr="PitchPerfect|Bio|Headshot_6">
            <a:extLst>
              <a:ext uri="{FF2B5EF4-FFF2-40B4-BE49-F238E27FC236}">
                <a16:creationId xmlns:a16="http://schemas.microsoft.com/office/drawing/2014/main" id="{2013E2DB-2477-4D93-AEF4-E6A9ED722393}"/>
              </a:ext>
            </a:extLst>
          </p:cNvPr>
          <p:cNvSpPr>
            <a:spLocks noGrp="1" noChangeAspect="1"/>
          </p:cNvSpPr>
          <p:nvPr>
            <p:ph type="pic" sz="quarter" idx="46"/>
          </p:nvPr>
        </p:nvSpPr>
        <p:spPr>
          <a:xfrm>
            <a:off x="9549771" y="3515447"/>
            <a:ext cx="899040" cy="730800"/>
          </a:xfrm>
          <a:prstGeom prst="ellipse">
            <a:avLst/>
          </a:prstGeom>
        </p:spPr>
        <p:txBody>
          <a:bodyPr/>
          <a:lstStyle/>
          <a:p>
            <a:r>
              <a:rPr lang="en-US"/>
              <a:t>Click icon to add picture</a:t>
            </a:r>
            <a:endParaRPr lang="en-GB"/>
          </a:p>
        </p:txBody>
      </p:sp>
      <p:sp>
        <p:nvSpPr>
          <p:cNvPr id="24" name="NameJobTitlePractice_6" descr="PitchPerfect|Bio|NameJobTitlePractice_6">
            <a:extLst>
              <a:ext uri="{FF2B5EF4-FFF2-40B4-BE49-F238E27FC236}">
                <a16:creationId xmlns:a16="http://schemas.microsoft.com/office/drawing/2014/main" id="{B30DF95F-66FF-4987-AE9F-80C2327D8D80}"/>
              </a:ext>
            </a:extLst>
          </p:cNvPr>
          <p:cNvSpPr>
            <a:spLocks noGrp="1"/>
          </p:cNvSpPr>
          <p:nvPr>
            <p:ph type="body" sz="quarter" idx="47"/>
          </p:nvPr>
        </p:nvSpPr>
        <p:spPr>
          <a:xfrm>
            <a:off x="9511907" y="4357937"/>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5" name="Headshot_7" descr="PitchPerfect|Bio|Headshot_7">
            <a:extLst>
              <a:ext uri="{FF2B5EF4-FFF2-40B4-BE49-F238E27FC236}">
                <a16:creationId xmlns:a16="http://schemas.microsoft.com/office/drawing/2014/main" id="{27431478-2F5D-467F-8F68-43BA5183814B}"/>
              </a:ext>
            </a:extLst>
          </p:cNvPr>
          <p:cNvSpPr>
            <a:spLocks noGrp="1" noChangeAspect="1"/>
          </p:cNvSpPr>
          <p:nvPr>
            <p:ph type="pic" sz="quarter" idx="48"/>
          </p:nvPr>
        </p:nvSpPr>
        <p:spPr>
          <a:xfrm>
            <a:off x="4420507" y="4422817"/>
            <a:ext cx="899040" cy="730800"/>
          </a:xfrm>
          <a:prstGeom prst="ellipse">
            <a:avLst/>
          </a:prstGeom>
        </p:spPr>
        <p:txBody>
          <a:bodyPr/>
          <a:lstStyle/>
          <a:p>
            <a:r>
              <a:rPr lang="en-US"/>
              <a:t>Click icon to add picture</a:t>
            </a:r>
            <a:endParaRPr lang="en-GB"/>
          </a:p>
        </p:txBody>
      </p:sp>
      <p:sp>
        <p:nvSpPr>
          <p:cNvPr id="26" name="NameJobTitlePractice_7" descr="PitchPerfect|Bio|NameJobTitlePractice_7">
            <a:extLst>
              <a:ext uri="{FF2B5EF4-FFF2-40B4-BE49-F238E27FC236}">
                <a16:creationId xmlns:a16="http://schemas.microsoft.com/office/drawing/2014/main" id="{5CE5FBE6-D402-4292-9CD0-41488A54AD73}"/>
              </a:ext>
            </a:extLst>
          </p:cNvPr>
          <p:cNvSpPr>
            <a:spLocks noGrp="1"/>
          </p:cNvSpPr>
          <p:nvPr>
            <p:ph type="body" sz="quarter" idx="49"/>
          </p:nvPr>
        </p:nvSpPr>
        <p:spPr>
          <a:xfrm>
            <a:off x="4382643" y="5265307"/>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7" name="Headshot_8" descr="PitchPerfect|Bio|Headshot_8">
            <a:extLst>
              <a:ext uri="{FF2B5EF4-FFF2-40B4-BE49-F238E27FC236}">
                <a16:creationId xmlns:a16="http://schemas.microsoft.com/office/drawing/2014/main" id="{58B9BF34-833A-4B4F-BF6F-B465339FAADB}"/>
              </a:ext>
            </a:extLst>
          </p:cNvPr>
          <p:cNvSpPr>
            <a:spLocks noGrp="1" noChangeAspect="1"/>
          </p:cNvSpPr>
          <p:nvPr>
            <p:ph type="pic" sz="quarter" idx="50"/>
          </p:nvPr>
        </p:nvSpPr>
        <p:spPr>
          <a:xfrm>
            <a:off x="5627217" y="4428581"/>
            <a:ext cx="899040" cy="730800"/>
          </a:xfrm>
          <a:prstGeom prst="ellipse">
            <a:avLst/>
          </a:prstGeom>
        </p:spPr>
        <p:txBody>
          <a:bodyPr/>
          <a:lstStyle/>
          <a:p>
            <a:r>
              <a:rPr lang="en-US"/>
              <a:t>Click icon to add picture</a:t>
            </a:r>
            <a:endParaRPr lang="en-GB"/>
          </a:p>
        </p:txBody>
      </p:sp>
      <p:sp>
        <p:nvSpPr>
          <p:cNvPr id="28" name="NameJobTitlePractice_8" descr="PitchPerfect|Bio|NameJobTitlePractice_8">
            <a:extLst>
              <a:ext uri="{FF2B5EF4-FFF2-40B4-BE49-F238E27FC236}">
                <a16:creationId xmlns:a16="http://schemas.microsoft.com/office/drawing/2014/main" id="{B5D20F09-EB5B-45CA-BCFF-60B4FDD73A06}"/>
              </a:ext>
            </a:extLst>
          </p:cNvPr>
          <p:cNvSpPr>
            <a:spLocks noGrp="1"/>
          </p:cNvSpPr>
          <p:nvPr>
            <p:ph type="body" sz="quarter" idx="51"/>
          </p:nvPr>
        </p:nvSpPr>
        <p:spPr>
          <a:xfrm>
            <a:off x="5589353" y="5271071"/>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9" name="Headshot_9" descr="PitchPerfect|Bio|Headshot_9">
            <a:extLst>
              <a:ext uri="{FF2B5EF4-FFF2-40B4-BE49-F238E27FC236}">
                <a16:creationId xmlns:a16="http://schemas.microsoft.com/office/drawing/2014/main" id="{BE8C2303-61C4-4C91-9284-B33368C3CF1C}"/>
              </a:ext>
            </a:extLst>
          </p:cNvPr>
          <p:cNvSpPr>
            <a:spLocks noGrp="1" noChangeAspect="1"/>
          </p:cNvSpPr>
          <p:nvPr>
            <p:ph type="pic" sz="quarter" idx="52"/>
          </p:nvPr>
        </p:nvSpPr>
        <p:spPr>
          <a:xfrm>
            <a:off x="6833927" y="4422817"/>
            <a:ext cx="899040" cy="730800"/>
          </a:xfrm>
          <a:prstGeom prst="ellipse">
            <a:avLst/>
          </a:prstGeom>
        </p:spPr>
        <p:txBody>
          <a:bodyPr/>
          <a:lstStyle/>
          <a:p>
            <a:r>
              <a:rPr lang="en-US"/>
              <a:t>Click icon to add picture</a:t>
            </a:r>
            <a:endParaRPr lang="en-GB"/>
          </a:p>
        </p:txBody>
      </p:sp>
      <p:sp>
        <p:nvSpPr>
          <p:cNvPr id="30" name="NameJobTitlePractice_9" descr="PitchPerfect|Bio|NameJobTitlePractice_9">
            <a:extLst>
              <a:ext uri="{FF2B5EF4-FFF2-40B4-BE49-F238E27FC236}">
                <a16:creationId xmlns:a16="http://schemas.microsoft.com/office/drawing/2014/main" id="{CB2D622A-8046-4D33-B1DB-7D4897B95BBE}"/>
              </a:ext>
            </a:extLst>
          </p:cNvPr>
          <p:cNvSpPr>
            <a:spLocks noGrp="1"/>
          </p:cNvSpPr>
          <p:nvPr>
            <p:ph type="body" sz="quarter" idx="53"/>
          </p:nvPr>
        </p:nvSpPr>
        <p:spPr>
          <a:xfrm>
            <a:off x="6796063" y="5265307"/>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37" name="OrgChartHeading" descr="PitchPerfect|Bio|OrgChartHeading">
            <a:extLst>
              <a:ext uri="{FF2B5EF4-FFF2-40B4-BE49-F238E27FC236}">
                <a16:creationId xmlns:a16="http://schemas.microsoft.com/office/drawing/2014/main" id="{BFA573DA-1C16-4510-8AB5-08F205B3D2F7}"/>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31" name="Text Placeholder 9">
            <a:extLst>
              <a:ext uri="{FF2B5EF4-FFF2-40B4-BE49-F238E27FC236}">
                <a16:creationId xmlns:a16="http://schemas.microsoft.com/office/drawing/2014/main" id="{CA813CA6-26CA-411F-9EBD-C0F63073EAB0}"/>
              </a:ext>
            </a:extLst>
          </p:cNvPr>
          <p:cNvSpPr>
            <a:spLocks noGrp="1"/>
          </p:cNvSpPr>
          <p:nvPr>
            <p:ph type="body" sz="quarter" idx="39" hasCustomPrompt="1"/>
          </p:nvPr>
        </p:nvSpPr>
        <p:spPr>
          <a:xfrm>
            <a:off x="1347350" y="1418786"/>
            <a:ext cx="1772308" cy="211203"/>
          </a:xfrm>
          <a:solidFill>
            <a:schemeClr val="bg1"/>
          </a:solidFill>
          <a:ln>
            <a:solidFill>
              <a:schemeClr val="accent3"/>
            </a:solidFill>
          </a:ln>
        </p:spPr>
        <p:txBody>
          <a:bodyPr tIns="36000" bIns="36000">
            <a:spAutoFit/>
          </a:bodyPr>
          <a:lstStyle>
            <a:lvl1pPr algn="ctr">
              <a:defRPr sz="900">
                <a:solidFill>
                  <a:schemeClr val="tx1"/>
                </a:solidFill>
              </a:defRPr>
            </a:lvl1pPr>
          </a:lstStyle>
          <a:p>
            <a:pPr lvl="0"/>
            <a:r>
              <a:rPr lang="en-US" dirty="0"/>
              <a:t>INSERT HEADING</a:t>
            </a:r>
          </a:p>
        </p:txBody>
      </p:sp>
      <p:sp>
        <p:nvSpPr>
          <p:cNvPr id="32" name="Text Placeholder 9">
            <a:extLst>
              <a:ext uri="{FF2B5EF4-FFF2-40B4-BE49-F238E27FC236}">
                <a16:creationId xmlns:a16="http://schemas.microsoft.com/office/drawing/2014/main" id="{BF5AE6D4-7504-45EF-8308-EC41FB41E785}"/>
              </a:ext>
            </a:extLst>
          </p:cNvPr>
          <p:cNvSpPr>
            <a:spLocks noGrp="1"/>
          </p:cNvSpPr>
          <p:nvPr>
            <p:ph type="body" sz="quarter" idx="38" hasCustomPrompt="1"/>
          </p:nvPr>
        </p:nvSpPr>
        <p:spPr>
          <a:xfrm>
            <a:off x="9138973" y="1411037"/>
            <a:ext cx="1772308" cy="211203"/>
          </a:xfrm>
          <a:solidFill>
            <a:schemeClr val="bg1"/>
          </a:solidFill>
          <a:ln>
            <a:solidFill>
              <a:schemeClr val="accent3"/>
            </a:solidFill>
          </a:ln>
        </p:spPr>
        <p:txBody>
          <a:bodyPr tIns="36000" bIns="36000">
            <a:spAutoFit/>
          </a:bodyPr>
          <a:lstStyle>
            <a:lvl1pPr algn="ctr">
              <a:defRPr sz="900">
                <a:solidFill>
                  <a:schemeClr val="tx1"/>
                </a:solidFill>
              </a:defRPr>
            </a:lvl1pPr>
          </a:lstStyle>
          <a:p>
            <a:pPr lvl="0"/>
            <a:r>
              <a:rPr lang="en-US" dirty="0"/>
              <a:t>INSERT HEADING</a:t>
            </a:r>
          </a:p>
        </p:txBody>
      </p:sp>
      <p:sp>
        <p:nvSpPr>
          <p:cNvPr id="33" name="Text Placeholder 9">
            <a:extLst>
              <a:ext uri="{FF2B5EF4-FFF2-40B4-BE49-F238E27FC236}">
                <a16:creationId xmlns:a16="http://schemas.microsoft.com/office/drawing/2014/main" id="{0FCAE56C-652E-4016-917C-B692D539EC39}"/>
              </a:ext>
            </a:extLst>
          </p:cNvPr>
          <p:cNvSpPr>
            <a:spLocks noGrp="1"/>
          </p:cNvSpPr>
          <p:nvPr>
            <p:ph type="body" sz="quarter" idx="24" hasCustomPrompt="1"/>
          </p:nvPr>
        </p:nvSpPr>
        <p:spPr>
          <a:xfrm>
            <a:off x="5209944" y="3967978"/>
            <a:ext cx="1772308" cy="211203"/>
          </a:xfrm>
          <a:solidFill>
            <a:schemeClr val="bg1"/>
          </a:solidFill>
          <a:ln>
            <a:solidFill>
              <a:schemeClr val="accent3"/>
            </a:solidFill>
          </a:ln>
        </p:spPr>
        <p:txBody>
          <a:bodyPr tIns="36000" bIns="36000">
            <a:spAutoFit/>
          </a:bodyPr>
          <a:lstStyle>
            <a:lvl1pPr algn="ctr">
              <a:defRPr sz="900">
                <a:solidFill>
                  <a:schemeClr val="tx1"/>
                </a:solidFill>
              </a:defRPr>
            </a:lvl1pPr>
          </a:lstStyle>
          <a:p>
            <a:pPr lvl="0"/>
            <a:r>
              <a:rPr lang="en-US" dirty="0"/>
              <a:t>INSERT HEADING</a:t>
            </a:r>
          </a:p>
        </p:txBody>
      </p:sp>
    </p:spTree>
    <p:extLst>
      <p:ext uri="{BB962C8B-B14F-4D97-AF65-F5344CB8AC3E}">
        <p14:creationId xmlns:p14="http://schemas.microsoft.com/office/powerpoint/2010/main" val="11301663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ead Partner - 3 x 4 Teams">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B7BF5A9A-FC48-4122-9905-0DC7296983B4}"/>
              </a:ext>
            </a:extLst>
          </p:cNvPr>
          <p:cNvCxnSpPr>
            <a:cxnSpLocks/>
          </p:cNvCxnSpPr>
          <p:nvPr userDrawn="1"/>
        </p:nvCxnSpPr>
        <p:spPr>
          <a:xfrm flipH="1">
            <a:off x="873526" y="1495425"/>
            <a:ext cx="104449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81E26FF2-0A9A-4BB9-8B55-F562EBA3FFF3}"/>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cxnSp>
        <p:nvCxnSpPr>
          <p:cNvPr id="6" name="Straight Connector 5">
            <a:extLst>
              <a:ext uri="{FF2B5EF4-FFF2-40B4-BE49-F238E27FC236}">
                <a16:creationId xmlns:a16="http://schemas.microsoft.com/office/drawing/2014/main" id="{3D9A9B86-6D54-4FA0-B04C-3F0C8EEAC67F}"/>
              </a:ext>
            </a:extLst>
          </p:cNvPr>
          <p:cNvCxnSpPr>
            <a:cxnSpLocks/>
          </p:cNvCxnSpPr>
          <p:nvPr userDrawn="1"/>
        </p:nvCxnSpPr>
        <p:spPr>
          <a:xfrm flipH="1">
            <a:off x="3855675" y="3853340"/>
            <a:ext cx="4519385"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12F7E05-8E1B-4559-892C-0C619D028254}"/>
              </a:ext>
            </a:extLst>
          </p:cNvPr>
          <p:cNvCxnSpPr>
            <a:cxnSpLocks/>
          </p:cNvCxnSpPr>
          <p:nvPr userDrawn="1"/>
        </p:nvCxnSpPr>
        <p:spPr>
          <a:xfrm rot="16200000" flipH="1">
            <a:off x="4871621" y="2720317"/>
            <a:ext cx="2448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Headshot" descr="PitchPerfect|Bio|Headshot">
            <a:extLst>
              <a:ext uri="{FF2B5EF4-FFF2-40B4-BE49-F238E27FC236}">
                <a16:creationId xmlns:a16="http://schemas.microsoft.com/office/drawing/2014/main" id="{FB0FE5BB-2CA5-4246-B528-B29F6E525B5D}"/>
              </a:ext>
            </a:extLst>
          </p:cNvPr>
          <p:cNvSpPr>
            <a:spLocks noGrp="1" noChangeAspect="1"/>
          </p:cNvSpPr>
          <p:nvPr>
            <p:ph type="pic" sz="quarter" idx="21"/>
          </p:nvPr>
        </p:nvSpPr>
        <p:spPr>
          <a:xfrm>
            <a:off x="5552914" y="1964178"/>
            <a:ext cx="1124907" cy="914400"/>
          </a:xfrm>
          <a:prstGeom prst="ellipse">
            <a:avLst/>
          </a:prstGeom>
        </p:spPr>
        <p:txBody>
          <a:bodyPr/>
          <a:lstStyle/>
          <a:p>
            <a:r>
              <a:rPr lang="en-US"/>
              <a:t>Click icon to add picture</a:t>
            </a:r>
            <a:endParaRPr lang="en-GB"/>
          </a:p>
        </p:txBody>
      </p:sp>
      <p:sp>
        <p:nvSpPr>
          <p:cNvPr id="9" name="NameJobTitlePractice" descr="PitchPerfect|Bio|NameJobTitlePractice">
            <a:extLst>
              <a:ext uri="{FF2B5EF4-FFF2-40B4-BE49-F238E27FC236}">
                <a16:creationId xmlns:a16="http://schemas.microsoft.com/office/drawing/2014/main" id="{66B90069-F3DB-4C4C-AA31-E70FBFB29173}"/>
              </a:ext>
            </a:extLst>
          </p:cNvPr>
          <p:cNvSpPr>
            <a:spLocks noGrp="1"/>
          </p:cNvSpPr>
          <p:nvPr>
            <p:ph type="body" sz="quarter" idx="22"/>
          </p:nvPr>
        </p:nvSpPr>
        <p:spPr>
          <a:xfrm>
            <a:off x="5181489" y="3042553"/>
            <a:ext cx="1882725" cy="368233"/>
          </a:xfrm>
          <a:solidFill>
            <a:schemeClr val="bg1"/>
          </a:solidFill>
        </p:spPr>
        <p:txBody>
          <a:bodyPr wrap="square">
            <a:spAutoFit/>
          </a:bodyPr>
          <a:lstStyle>
            <a:lvl1pPr algn="ctr">
              <a:defRPr sz="800" b="1">
                <a:solidFill>
                  <a:schemeClr val="tx1"/>
                </a:solidFill>
                <a:latin typeface="Corporate S" pitchFamily="50" charset="0"/>
              </a:defRPr>
            </a:lvl1pPr>
            <a:lvl2pPr marL="0" indent="0" algn="ctr">
              <a:spcBef>
                <a:spcPts val="400"/>
              </a:spcBef>
              <a:defRPr sz="800">
                <a:solidFill>
                  <a:schemeClr val="tx1"/>
                </a:solidFill>
              </a:defRPr>
            </a:lvl2pPr>
          </a:lstStyle>
          <a:p>
            <a:pPr lvl="0"/>
            <a:r>
              <a:rPr lang="en-US"/>
              <a:t>Edit Master text styles</a:t>
            </a:r>
          </a:p>
          <a:p>
            <a:pPr lvl="1"/>
            <a:r>
              <a:rPr lang="en-US"/>
              <a:t>Second level</a:t>
            </a:r>
          </a:p>
        </p:txBody>
      </p:sp>
      <p:sp>
        <p:nvSpPr>
          <p:cNvPr id="10" name="Text Placeholder 9">
            <a:extLst>
              <a:ext uri="{FF2B5EF4-FFF2-40B4-BE49-F238E27FC236}">
                <a16:creationId xmlns:a16="http://schemas.microsoft.com/office/drawing/2014/main" id="{FC3A3EEE-7C41-41F1-BE99-DEF5E512CE25}"/>
              </a:ext>
            </a:extLst>
          </p:cNvPr>
          <p:cNvSpPr>
            <a:spLocks noGrp="1"/>
          </p:cNvSpPr>
          <p:nvPr>
            <p:ph type="body" sz="quarter" idx="24" hasCustomPrompt="1"/>
          </p:nvPr>
        </p:nvSpPr>
        <p:spPr>
          <a:xfrm>
            <a:off x="5209944" y="3762201"/>
            <a:ext cx="1772308" cy="211203"/>
          </a:xfrm>
          <a:solidFill>
            <a:schemeClr val="bg1"/>
          </a:solidFill>
          <a:ln>
            <a:solidFill>
              <a:schemeClr val="accent3"/>
            </a:solidFill>
          </a:ln>
        </p:spPr>
        <p:txBody>
          <a:bodyPr tIns="36000" bIns="36000">
            <a:spAutoFit/>
          </a:bodyPr>
          <a:lstStyle>
            <a:lvl1pPr algn="ctr">
              <a:defRPr sz="900">
                <a:solidFill>
                  <a:schemeClr val="tx1"/>
                </a:solidFill>
              </a:defRPr>
            </a:lvl1pPr>
          </a:lstStyle>
          <a:p>
            <a:pPr lvl="0"/>
            <a:r>
              <a:rPr lang="en-US" dirty="0"/>
              <a:t>INSERT HEADING</a:t>
            </a:r>
          </a:p>
        </p:txBody>
      </p:sp>
      <p:sp>
        <p:nvSpPr>
          <p:cNvPr id="11" name="Headshot_1" descr="PitchPerfect|Bio|Headshot_1">
            <a:extLst>
              <a:ext uri="{FF2B5EF4-FFF2-40B4-BE49-F238E27FC236}">
                <a16:creationId xmlns:a16="http://schemas.microsoft.com/office/drawing/2014/main" id="{812C02B4-0373-4D7B-9CB3-D37EB50B0D20}"/>
              </a:ext>
            </a:extLst>
          </p:cNvPr>
          <p:cNvSpPr>
            <a:spLocks noGrp="1" noChangeAspect="1"/>
          </p:cNvSpPr>
          <p:nvPr>
            <p:ph type="pic" sz="quarter" idx="30"/>
          </p:nvPr>
        </p:nvSpPr>
        <p:spPr>
          <a:xfrm>
            <a:off x="1212846" y="1811476"/>
            <a:ext cx="899040" cy="730800"/>
          </a:xfrm>
          <a:prstGeom prst="ellipse">
            <a:avLst/>
          </a:prstGeom>
        </p:spPr>
        <p:txBody>
          <a:bodyPr/>
          <a:lstStyle/>
          <a:p>
            <a:r>
              <a:rPr lang="en-US"/>
              <a:t>Click icon to add picture</a:t>
            </a:r>
            <a:endParaRPr lang="en-GB"/>
          </a:p>
        </p:txBody>
      </p:sp>
      <p:sp>
        <p:nvSpPr>
          <p:cNvPr id="12" name="NameJobTitlePractice_1" descr="PitchPerfect|Bio|NameJobTitlePractice_1">
            <a:extLst>
              <a:ext uri="{FF2B5EF4-FFF2-40B4-BE49-F238E27FC236}">
                <a16:creationId xmlns:a16="http://schemas.microsoft.com/office/drawing/2014/main" id="{C0188D7D-C630-4888-8A58-E81AE0BC7AB5}"/>
              </a:ext>
            </a:extLst>
          </p:cNvPr>
          <p:cNvSpPr>
            <a:spLocks noGrp="1"/>
          </p:cNvSpPr>
          <p:nvPr>
            <p:ph type="body" sz="quarter" idx="31"/>
          </p:nvPr>
        </p:nvSpPr>
        <p:spPr>
          <a:xfrm>
            <a:off x="1174981" y="2653966"/>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13" name="Headshot_2" descr="PitchPerfect|Bio|Headshot_2">
            <a:extLst>
              <a:ext uri="{FF2B5EF4-FFF2-40B4-BE49-F238E27FC236}">
                <a16:creationId xmlns:a16="http://schemas.microsoft.com/office/drawing/2014/main" id="{BBB5D3F0-D3D2-452A-A415-6B4E5C7814EB}"/>
              </a:ext>
            </a:extLst>
          </p:cNvPr>
          <p:cNvSpPr>
            <a:spLocks noGrp="1" noChangeAspect="1"/>
          </p:cNvSpPr>
          <p:nvPr>
            <p:ph type="pic" sz="quarter" idx="36"/>
          </p:nvPr>
        </p:nvSpPr>
        <p:spPr>
          <a:xfrm>
            <a:off x="2394446" y="1816560"/>
            <a:ext cx="899040" cy="730800"/>
          </a:xfrm>
          <a:prstGeom prst="ellipse">
            <a:avLst/>
          </a:prstGeom>
        </p:spPr>
        <p:txBody>
          <a:bodyPr/>
          <a:lstStyle/>
          <a:p>
            <a:r>
              <a:rPr lang="en-US"/>
              <a:t>Click icon to add picture</a:t>
            </a:r>
            <a:endParaRPr lang="en-GB"/>
          </a:p>
        </p:txBody>
      </p:sp>
      <p:sp>
        <p:nvSpPr>
          <p:cNvPr id="14" name="NameJobTitlePractice_2" descr="PitchPerfect|Bio|NameJobTitlePractice_2">
            <a:extLst>
              <a:ext uri="{FF2B5EF4-FFF2-40B4-BE49-F238E27FC236}">
                <a16:creationId xmlns:a16="http://schemas.microsoft.com/office/drawing/2014/main" id="{75C5C038-7C6A-4A02-83E6-23A7CE1EBAC3}"/>
              </a:ext>
            </a:extLst>
          </p:cNvPr>
          <p:cNvSpPr>
            <a:spLocks noGrp="1"/>
          </p:cNvSpPr>
          <p:nvPr>
            <p:ph type="body" sz="quarter" idx="37"/>
          </p:nvPr>
        </p:nvSpPr>
        <p:spPr>
          <a:xfrm>
            <a:off x="2356581" y="2659050"/>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15" name="Text Placeholder 9">
            <a:extLst>
              <a:ext uri="{FF2B5EF4-FFF2-40B4-BE49-F238E27FC236}">
                <a16:creationId xmlns:a16="http://schemas.microsoft.com/office/drawing/2014/main" id="{A9EBB7E7-D907-4E28-9156-C8FA3353325D}"/>
              </a:ext>
            </a:extLst>
          </p:cNvPr>
          <p:cNvSpPr>
            <a:spLocks noGrp="1"/>
          </p:cNvSpPr>
          <p:nvPr>
            <p:ph type="body" sz="quarter" idx="38" hasCustomPrompt="1"/>
          </p:nvPr>
        </p:nvSpPr>
        <p:spPr>
          <a:xfrm>
            <a:off x="8932007" y="1412777"/>
            <a:ext cx="1772308" cy="211203"/>
          </a:xfrm>
          <a:solidFill>
            <a:schemeClr val="bg1"/>
          </a:solidFill>
          <a:ln>
            <a:solidFill>
              <a:schemeClr val="accent3"/>
            </a:solidFill>
          </a:ln>
        </p:spPr>
        <p:txBody>
          <a:bodyPr tIns="36000" bIns="36000">
            <a:spAutoFit/>
          </a:bodyPr>
          <a:lstStyle>
            <a:lvl1pPr algn="ctr">
              <a:defRPr sz="900">
                <a:solidFill>
                  <a:schemeClr val="tx1"/>
                </a:solidFill>
              </a:defRPr>
            </a:lvl1pPr>
          </a:lstStyle>
          <a:p>
            <a:pPr lvl="0"/>
            <a:r>
              <a:rPr lang="en-US" dirty="0"/>
              <a:t>INSERT HEADING</a:t>
            </a:r>
          </a:p>
        </p:txBody>
      </p:sp>
      <p:sp>
        <p:nvSpPr>
          <p:cNvPr id="16" name="Text Placeholder 9">
            <a:extLst>
              <a:ext uri="{FF2B5EF4-FFF2-40B4-BE49-F238E27FC236}">
                <a16:creationId xmlns:a16="http://schemas.microsoft.com/office/drawing/2014/main" id="{F6210627-549A-419A-A7E6-6016C6C7C23E}"/>
              </a:ext>
            </a:extLst>
          </p:cNvPr>
          <p:cNvSpPr>
            <a:spLocks noGrp="1"/>
          </p:cNvSpPr>
          <p:nvPr>
            <p:ph type="body" sz="quarter" idx="39" hasCustomPrompt="1"/>
          </p:nvPr>
        </p:nvSpPr>
        <p:spPr>
          <a:xfrm>
            <a:off x="1347350" y="1420526"/>
            <a:ext cx="1772308" cy="211203"/>
          </a:xfrm>
          <a:solidFill>
            <a:schemeClr val="bg1"/>
          </a:solidFill>
          <a:ln>
            <a:solidFill>
              <a:schemeClr val="accent3"/>
            </a:solidFill>
          </a:ln>
        </p:spPr>
        <p:txBody>
          <a:bodyPr tIns="36000" bIns="36000" anchor="b" anchorCtr="0">
            <a:spAutoFit/>
          </a:bodyPr>
          <a:lstStyle>
            <a:lvl1pPr algn="ctr">
              <a:defRPr sz="900" cap="all" baseline="0">
                <a:solidFill>
                  <a:schemeClr val="tx1"/>
                </a:solidFill>
              </a:defRPr>
            </a:lvl1pPr>
          </a:lstStyle>
          <a:p>
            <a:pPr lvl="0"/>
            <a:r>
              <a:rPr lang="en-US" dirty="0"/>
              <a:t>Insert Heading</a:t>
            </a:r>
          </a:p>
        </p:txBody>
      </p:sp>
      <p:sp>
        <p:nvSpPr>
          <p:cNvPr id="17" name="Headshot_3" descr="PitchPerfect|Bio|Headshot_3">
            <a:extLst>
              <a:ext uri="{FF2B5EF4-FFF2-40B4-BE49-F238E27FC236}">
                <a16:creationId xmlns:a16="http://schemas.microsoft.com/office/drawing/2014/main" id="{B10CD687-DC2F-495B-A9BF-8ED042A99A7A}"/>
              </a:ext>
            </a:extLst>
          </p:cNvPr>
          <p:cNvSpPr>
            <a:spLocks noGrp="1" noChangeAspect="1"/>
          </p:cNvSpPr>
          <p:nvPr>
            <p:ph type="pic" sz="quarter" idx="40"/>
          </p:nvPr>
        </p:nvSpPr>
        <p:spPr>
          <a:xfrm>
            <a:off x="1212846" y="3514783"/>
            <a:ext cx="899040" cy="730800"/>
          </a:xfrm>
          <a:prstGeom prst="ellipse">
            <a:avLst/>
          </a:prstGeom>
        </p:spPr>
        <p:txBody>
          <a:bodyPr/>
          <a:lstStyle/>
          <a:p>
            <a:r>
              <a:rPr lang="en-US"/>
              <a:t>Click icon to add picture</a:t>
            </a:r>
            <a:endParaRPr lang="en-GB"/>
          </a:p>
        </p:txBody>
      </p:sp>
      <p:sp>
        <p:nvSpPr>
          <p:cNvPr id="18" name="NameJobTitlePractice_3" descr="PitchPerfect|Bio|NameJobTitlePractice_3">
            <a:extLst>
              <a:ext uri="{FF2B5EF4-FFF2-40B4-BE49-F238E27FC236}">
                <a16:creationId xmlns:a16="http://schemas.microsoft.com/office/drawing/2014/main" id="{FF349833-39FC-4656-B1FB-59DA4F5DD1A7}"/>
              </a:ext>
            </a:extLst>
          </p:cNvPr>
          <p:cNvSpPr>
            <a:spLocks noGrp="1"/>
          </p:cNvSpPr>
          <p:nvPr>
            <p:ph type="body" sz="quarter" idx="41"/>
          </p:nvPr>
        </p:nvSpPr>
        <p:spPr>
          <a:xfrm>
            <a:off x="1174981" y="4357273"/>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19" name="Headshot_4" descr="PitchPerfect|Bio|Headshot_4">
            <a:extLst>
              <a:ext uri="{FF2B5EF4-FFF2-40B4-BE49-F238E27FC236}">
                <a16:creationId xmlns:a16="http://schemas.microsoft.com/office/drawing/2014/main" id="{EA9156D3-0A28-4B6B-AA5F-E8652341F399}"/>
              </a:ext>
            </a:extLst>
          </p:cNvPr>
          <p:cNvSpPr>
            <a:spLocks noGrp="1" noChangeAspect="1"/>
          </p:cNvSpPr>
          <p:nvPr>
            <p:ph type="pic" sz="quarter" idx="42"/>
          </p:nvPr>
        </p:nvSpPr>
        <p:spPr>
          <a:xfrm>
            <a:off x="2394446" y="3519867"/>
            <a:ext cx="899040" cy="730800"/>
          </a:xfrm>
          <a:prstGeom prst="ellipse">
            <a:avLst/>
          </a:prstGeom>
        </p:spPr>
        <p:txBody>
          <a:bodyPr/>
          <a:lstStyle/>
          <a:p>
            <a:r>
              <a:rPr lang="en-US"/>
              <a:t>Click icon to add picture</a:t>
            </a:r>
            <a:endParaRPr lang="en-GB"/>
          </a:p>
        </p:txBody>
      </p:sp>
      <p:sp>
        <p:nvSpPr>
          <p:cNvPr id="20" name="NameJobTitlePractice_4" descr="PitchPerfect|Bio|NameJobTitlePractice_4">
            <a:extLst>
              <a:ext uri="{FF2B5EF4-FFF2-40B4-BE49-F238E27FC236}">
                <a16:creationId xmlns:a16="http://schemas.microsoft.com/office/drawing/2014/main" id="{DB10E55B-F200-40FD-97E3-FD4C41419C29}"/>
              </a:ext>
            </a:extLst>
          </p:cNvPr>
          <p:cNvSpPr>
            <a:spLocks noGrp="1"/>
          </p:cNvSpPr>
          <p:nvPr>
            <p:ph type="body" sz="quarter" idx="43"/>
          </p:nvPr>
        </p:nvSpPr>
        <p:spPr>
          <a:xfrm>
            <a:off x="2356581" y="4362357"/>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1" name="Headshot_5" descr="PitchPerfect|Bio|Headshot_5">
            <a:extLst>
              <a:ext uri="{FF2B5EF4-FFF2-40B4-BE49-F238E27FC236}">
                <a16:creationId xmlns:a16="http://schemas.microsoft.com/office/drawing/2014/main" id="{4E4676B1-E44F-495D-9A5B-5BE695B9DE6D}"/>
              </a:ext>
            </a:extLst>
          </p:cNvPr>
          <p:cNvSpPr>
            <a:spLocks noGrp="1" noChangeAspect="1"/>
          </p:cNvSpPr>
          <p:nvPr>
            <p:ph type="pic" sz="quarter" idx="44"/>
          </p:nvPr>
        </p:nvSpPr>
        <p:spPr>
          <a:xfrm>
            <a:off x="8780741" y="1806392"/>
            <a:ext cx="899040" cy="730800"/>
          </a:xfrm>
          <a:prstGeom prst="ellipse">
            <a:avLst/>
          </a:prstGeom>
        </p:spPr>
        <p:txBody>
          <a:bodyPr/>
          <a:lstStyle/>
          <a:p>
            <a:r>
              <a:rPr lang="en-US"/>
              <a:t>Click icon to add picture</a:t>
            </a:r>
            <a:endParaRPr lang="en-GB"/>
          </a:p>
        </p:txBody>
      </p:sp>
      <p:sp>
        <p:nvSpPr>
          <p:cNvPr id="22" name="NameJobTitlePractice_5" descr="PitchPerfect|Bio|NameJobTitlePractice_5">
            <a:extLst>
              <a:ext uri="{FF2B5EF4-FFF2-40B4-BE49-F238E27FC236}">
                <a16:creationId xmlns:a16="http://schemas.microsoft.com/office/drawing/2014/main" id="{44F95E3A-9DC2-4CDC-B17D-965F316105E2}"/>
              </a:ext>
            </a:extLst>
          </p:cNvPr>
          <p:cNvSpPr>
            <a:spLocks noGrp="1"/>
          </p:cNvSpPr>
          <p:nvPr>
            <p:ph type="body" sz="quarter" idx="45"/>
          </p:nvPr>
        </p:nvSpPr>
        <p:spPr>
          <a:xfrm>
            <a:off x="8742876" y="2648882"/>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3" name="Headshot_6" descr="PitchPerfect|Bio|Headshot_6">
            <a:extLst>
              <a:ext uri="{FF2B5EF4-FFF2-40B4-BE49-F238E27FC236}">
                <a16:creationId xmlns:a16="http://schemas.microsoft.com/office/drawing/2014/main" id="{2013E2DB-2477-4D93-AEF4-E6A9ED722393}"/>
              </a:ext>
            </a:extLst>
          </p:cNvPr>
          <p:cNvSpPr>
            <a:spLocks noGrp="1" noChangeAspect="1"/>
          </p:cNvSpPr>
          <p:nvPr>
            <p:ph type="pic" sz="quarter" idx="46"/>
          </p:nvPr>
        </p:nvSpPr>
        <p:spPr>
          <a:xfrm>
            <a:off x="9962341" y="1811476"/>
            <a:ext cx="899040" cy="730800"/>
          </a:xfrm>
          <a:prstGeom prst="ellipse">
            <a:avLst/>
          </a:prstGeom>
        </p:spPr>
        <p:txBody>
          <a:bodyPr/>
          <a:lstStyle/>
          <a:p>
            <a:r>
              <a:rPr lang="en-US"/>
              <a:t>Click icon to add picture</a:t>
            </a:r>
            <a:endParaRPr lang="en-GB"/>
          </a:p>
        </p:txBody>
      </p:sp>
      <p:sp>
        <p:nvSpPr>
          <p:cNvPr id="24" name="NameJobTitlePractice_6" descr="PitchPerfect|Bio|NameJobTitlePractice_6">
            <a:extLst>
              <a:ext uri="{FF2B5EF4-FFF2-40B4-BE49-F238E27FC236}">
                <a16:creationId xmlns:a16="http://schemas.microsoft.com/office/drawing/2014/main" id="{B30DF95F-66FF-4987-AE9F-80C2327D8D80}"/>
              </a:ext>
            </a:extLst>
          </p:cNvPr>
          <p:cNvSpPr>
            <a:spLocks noGrp="1"/>
          </p:cNvSpPr>
          <p:nvPr>
            <p:ph type="body" sz="quarter" idx="47"/>
          </p:nvPr>
        </p:nvSpPr>
        <p:spPr>
          <a:xfrm>
            <a:off x="9924476" y="2653966"/>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5" name="Headshot_7" descr="PitchPerfect|Bio|Headshot_7">
            <a:extLst>
              <a:ext uri="{FF2B5EF4-FFF2-40B4-BE49-F238E27FC236}">
                <a16:creationId xmlns:a16="http://schemas.microsoft.com/office/drawing/2014/main" id="{27431478-2F5D-467F-8F68-43BA5183814B}"/>
              </a:ext>
            </a:extLst>
          </p:cNvPr>
          <p:cNvSpPr>
            <a:spLocks noGrp="1" noChangeAspect="1"/>
          </p:cNvSpPr>
          <p:nvPr>
            <p:ph type="pic" sz="quarter" idx="48"/>
          </p:nvPr>
        </p:nvSpPr>
        <p:spPr>
          <a:xfrm>
            <a:off x="8780741" y="3509699"/>
            <a:ext cx="899040" cy="730800"/>
          </a:xfrm>
          <a:prstGeom prst="ellipse">
            <a:avLst/>
          </a:prstGeom>
        </p:spPr>
        <p:txBody>
          <a:bodyPr/>
          <a:lstStyle/>
          <a:p>
            <a:r>
              <a:rPr lang="en-US"/>
              <a:t>Click icon to add picture</a:t>
            </a:r>
            <a:endParaRPr lang="en-GB"/>
          </a:p>
        </p:txBody>
      </p:sp>
      <p:sp>
        <p:nvSpPr>
          <p:cNvPr id="26" name="NameJobTitlePractice_7" descr="PitchPerfect|Bio|NameJobTitlePractice_7">
            <a:extLst>
              <a:ext uri="{FF2B5EF4-FFF2-40B4-BE49-F238E27FC236}">
                <a16:creationId xmlns:a16="http://schemas.microsoft.com/office/drawing/2014/main" id="{5CE5FBE6-D402-4292-9CD0-41488A54AD73}"/>
              </a:ext>
            </a:extLst>
          </p:cNvPr>
          <p:cNvSpPr>
            <a:spLocks noGrp="1"/>
          </p:cNvSpPr>
          <p:nvPr>
            <p:ph type="body" sz="quarter" idx="49"/>
          </p:nvPr>
        </p:nvSpPr>
        <p:spPr>
          <a:xfrm>
            <a:off x="8742876" y="4352189"/>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7" name="Headshot_8" descr="PitchPerfect|Bio|Headshot_8">
            <a:extLst>
              <a:ext uri="{FF2B5EF4-FFF2-40B4-BE49-F238E27FC236}">
                <a16:creationId xmlns:a16="http://schemas.microsoft.com/office/drawing/2014/main" id="{58B9BF34-833A-4B4F-BF6F-B465339FAADB}"/>
              </a:ext>
            </a:extLst>
          </p:cNvPr>
          <p:cNvSpPr>
            <a:spLocks noGrp="1" noChangeAspect="1"/>
          </p:cNvSpPr>
          <p:nvPr>
            <p:ph type="pic" sz="quarter" idx="50"/>
          </p:nvPr>
        </p:nvSpPr>
        <p:spPr>
          <a:xfrm>
            <a:off x="9962341" y="3514783"/>
            <a:ext cx="899040" cy="730800"/>
          </a:xfrm>
          <a:prstGeom prst="ellipse">
            <a:avLst/>
          </a:prstGeom>
        </p:spPr>
        <p:txBody>
          <a:bodyPr/>
          <a:lstStyle/>
          <a:p>
            <a:r>
              <a:rPr lang="en-US"/>
              <a:t>Click icon to add picture</a:t>
            </a:r>
            <a:endParaRPr lang="en-GB"/>
          </a:p>
        </p:txBody>
      </p:sp>
      <p:sp>
        <p:nvSpPr>
          <p:cNvPr id="28" name="NameJobTitlePractice_8" descr="PitchPerfect|Bio|NameJobTitlePractice_8">
            <a:extLst>
              <a:ext uri="{FF2B5EF4-FFF2-40B4-BE49-F238E27FC236}">
                <a16:creationId xmlns:a16="http://schemas.microsoft.com/office/drawing/2014/main" id="{B5D20F09-EB5B-45CA-BCFF-60B4FDD73A06}"/>
              </a:ext>
            </a:extLst>
          </p:cNvPr>
          <p:cNvSpPr>
            <a:spLocks noGrp="1"/>
          </p:cNvSpPr>
          <p:nvPr>
            <p:ph type="body" sz="quarter" idx="51"/>
          </p:nvPr>
        </p:nvSpPr>
        <p:spPr>
          <a:xfrm>
            <a:off x="9924476" y="4357273"/>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29" name="Headshot_9" descr="PitchPerfect|Bio|Headshot_9">
            <a:extLst>
              <a:ext uri="{FF2B5EF4-FFF2-40B4-BE49-F238E27FC236}">
                <a16:creationId xmlns:a16="http://schemas.microsoft.com/office/drawing/2014/main" id="{BE8C2303-61C4-4C91-9284-B33368C3CF1C}"/>
              </a:ext>
            </a:extLst>
          </p:cNvPr>
          <p:cNvSpPr>
            <a:spLocks noGrp="1" noChangeAspect="1"/>
          </p:cNvSpPr>
          <p:nvPr>
            <p:ph type="pic" sz="quarter" idx="52"/>
          </p:nvPr>
        </p:nvSpPr>
        <p:spPr>
          <a:xfrm>
            <a:off x="3872729" y="4171266"/>
            <a:ext cx="899040" cy="730800"/>
          </a:xfrm>
          <a:prstGeom prst="ellipse">
            <a:avLst/>
          </a:prstGeom>
        </p:spPr>
        <p:txBody>
          <a:bodyPr/>
          <a:lstStyle/>
          <a:p>
            <a:r>
              <a:rPr lang="en-US"/>
              <a:t>Click icon to add picture</a:t>
            </a:r>
            <a:endParaRPr lang="en-GB"/>
          </a:p>
        </p:txBody>
      </p:sp>
      <p:sp>
        <p:nvSpPr>
          <p:cNvPr id="30" name="NameJobTitlePractice_9" descr="PitchPerfect|Bio|NameJobTitlePractice_9">
            <a:extLst>
              <a:ext uri="{FF2B5EF4-FFF2-40B4-BE49-F238E27FC236}">
                <a16:creationId xmlns:a16="http://schemas.microsoft.com/office/drawing/2014/main" id="{CB2D622A-8046-4D33-B1DB-7D4897B95BBE}"/>
              </a:ext>
            </a:extLst>
          </p:cNvPr>
          <p:cNvSpPr>
            <a:spLocks noGrp="1"/>
          </p:cNvSpPr>
          <p:nvPr>
            <p:ph type="body" sz="quarter" idx="53"/>
          </p:nvPr>
        </p:nvSpPr>
        <p:spPr>
          <a:xfrm>
            <a:off x="3834864" y="5013756"/>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31" name="Headshot_10" descr="PitchPerfect|Bio|Headshot_10">
            <a:extLst>
              <a:ext uri="{FF2B5EF4-FFF2-40B4-BE49-F238E27FC236}">
                <a16:creationId xmlns:a16="http://schemas.microsoft.com/office/drawing/2014/main" id="{4A318E6D-99AB-4E0D-99F7-407A52845FC9}"/>
              </a:ext>
            </a:extLst>
          </p:cNvPr>
          <p:cNvSpPr>
            <a:spLocks noGrp="1" noChangeAspect="1"/>
          </p:cNvSpPr>
          <p:nvPr>
            <p:ph type="pic" sz="quarter" idx="54"/>
          </p:nvPr>
        </p:nvSpPr>
        <p:spPr>
          <a:xfrm>
            <a:off x="5054329" y="4176350"/>
            <a:ext cx="899040" cy="730800"/>
          </a:xfrm>
          <a:prstGeom prst="ellipse">
            <a:avLst/>
          </a:prstGeom>
        </p:spPr>
        <p:txBody>
          <a:bodyPr/>
          <a:lstStyle/>
          <a:p>
            <a:r>
              <a:rPr lang="en-US"/>
              <a:t>Click icon to add picture</a:t>
            </a:r>
            <a:endParaRPr lang="en-GB"/>
          </a:p>
        </p:txBody>
      </p:sp>
      <p:sp>
        <p:nvSpPr>
          <p:cNvPr id="32" name="NameJobTitlePractice_10" descr="PitchPerfect|Bio|NameJobTitlePractice_10">
            <a:extLst>
              <a:ext uri="{FF2B5EF4-FFF2-40B4-BE49-F238E27FC236}">
                <a16:creationId xmlns:a16="http://schemas.microsoft.com/office/drawing/2014/main" id="{27719F9C-7405-4CDF-AA3C-7C349A0338B3}"/>
              </a:ext>
            </a:extLst>
          </p:cNvPr>
          <p:cNvSpPr>
            <a:spLocks noGrp="1"/>
          </p:cNvSpPr>
          <p:nvPr>
            <p:ph type="body" sz="quarter" idx="55"/>
          </p:nvPr>
        </p:nvSpPr>
        <p:spPr>
          <a:xfrm>
            <a:off x="5016464" y="5018840"/>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33" name="Headshot_11" descr="PitchPerfect|Bio|Headshot_11">
            <a:extLst>
              <a:ext uri="{FF2B5EF4-FFF2-40B4-BE49-F238E27FC236}">
                <a16:creationId xmlns:a16="http://schemas.microsoft.com/office/drawing/2014/main" id="{CCBF24FB-3495-4649-B263-59D4557AE461}"/>
              </a:ext>
            </a:extLst>
          </p:cNvPr>
          <p:cNvSpPr>
            <a:spLocks noGrp="1" noChangeAspect="1"/>
          </p:cNvSpPr>
          <p:nvPr>
            <p:ph type="pic" sz="quarter" idx="56"/>
          </p:nvPr>
        </p:nvSpPr>
        <p:spPr>
          <a:xfrm>
            <a:off x="6247700" y="4166182"/>
            <a:ext cx="899040" cy="730800"/>
          </a:xfrm>
          <a:prstGeom prst="ellipse">
            <a:avLst/>
          </a:prstGeom>
        </p:spPr>
        <p:txBody>
          <a:bodyPr/>
          <a:lstStyle/>
          <a:p>
            <a:r>
              <a:rPr lang="en-US"/>
              <a:t>Click icon to add picture</a:t>
            </a:r>
            <a:endParaRPr lang="en-GB"/>
          </a:p>
        </p:txBody>
      </p:sp>
      <p:sp>
        <p:nvSpPr>
          <p:cNvPr id="34" name="NameJobTitlePractice_11" descr="PitchPerfect|Bio|NameJobTitlePractice_11">
            <a:extLst>
              <a:ext uri="{FF2B5EF4-FFF2-40B4-BE49-F238E27FC236}">
                <a16:creationId xmlns:a16="http://schemas.microsoft.com/office/drawing/2014/main" id="{0FA2C1BF-6AAB-4024-BD94-544E5863B1E9}"/>
              </a:ext>
            </a:extLst>
          </p:cNvPr>
          <p:cNvSpPr>
            <a:spLocks noGrp="1"/>
          </p:cNvSpPr>
          <p:nvPr>
            <p:ph type="body" sz="quarter" idx="57"/>
          </p:nvPr>
        </p:nvSpPr>
        <p:spPr>
          <a:xfrm>
            <a:off x="6209835" y="5008672"/>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35" name="Headshot_12" descr="PitchPerfect|Bio|Headshot_12">
            <a:extLst>
              <a:ext uri="{FF2B5EF4-FFF2-40B4-BE49-F238E27FC236}">
                <a16:creationId xmlns:a16="http://schemas.microsoft.com/office/drawing/2014/main" id="{60F9C521-53D8-4F9E-AC8B-B6B992FFAD7F}"/>
              </a:ext>
            </a:extLst>
          </p:cNvPr>
          <p:cNvSpPr>
            <a:spLocks noGrp="1" noChangeAspect="1"/>
          </p:cNvSpPr>
          <p:nvPr>
            <p:ph type="pic" sz="quarter" idx="58"/>
          </p:nvPr>
        </p:nvSpPr>
        <p:spPr>
          <a:xfrm>
            <a:off x="7429300" y="4171266"/>
            <a:ext cx="899040" cy="730800"/>
          </a:xfrm>
          <a:prstGeom prst="ellipse">
            <a:avLst/>
          </a:prstGeom>
        </p:spPr>
        <p:txBody>
          <a:bodyPr/>
          <a:lstStyle/>
          <a:p>
            <a:r>
              <a:rPr lang="en-US"/>
              <a:t>Click icon to add picture</a:t>
            </a:r>
            <a:endParaRPr lang="en-GB"/>
          </a:p>
        </p:txBody>
      </p:sp>
      <p:sp>
        <p:nvSpPr>
          <p:cNvPr id="36" name="NameJobTitlePractice_12" descr="PitchPerfect|Bio|NameJobTitlePractice_12">
            <a:extLst>
              <a:ext uri="{FF2B5EF4-FFF2-40B4-BE49-F238E27FC236}">
                <a16:creationId xmlns:a16="http://schemas.microsoft.com/office/drawing/2014/main" id="{3C94B378-D08D-470C-9357-42CB95528157}"/>
              </a:ext>
            </a:extLst>
          </p:cNvPr>
          <p:cNvSpPr>
            <a:spLocks noGrp="1"/>
          </p:cNvSpPr>
          <p:nvPr>
            <p:ph type="body" sz="quarter" idx="59"/>
          </p:nvPr>
        </p:nvSpPr>
        <p:spPr>
          <a:xfrm>
            <a:off x="7391435" y="5013756"/>
            <a:ext cx="974769" cy="587284"/>
          </a:xfrm>
          <a:solidFill>
            <a:schemeClr val="bg1"/>
          </a:solidFill>
        </p:spPr>
        <p:txBody>
          <a:bodyPr/>
          <a:lstStyle>
            <a:lvl1pPr algn="ctr">
              <a:lnSpc>
                <a:spcPct val="100000"/>
              </a:lnSpc>
              <a:spcBef>
                <a:spcPts val="400"/>
              </a:spcBef>
              <a:defRPr sz="800" b="1">
                <a:solidFill>
                  <a:srgbClr val="000000"/>
                </a:solidFill>
                <a:latin typeface="Corporate S" pitchFamily="50" charset="0"/>
              </a:defRPr>
            </a:lvl1pPr>
            <a:lvl2pPr marL="0" indent="0" algn="ctr">
              <a:lnSpc>
                <a:spcPct val="100000"/>
              </a:lnSpc>
              <a:spcBef>
                <a:spcPts val="400"/>
              </a:spcBef>
              <a:defRPr sz="800">
                <a:solidFill>
                  <a:schemeClr val="tx1"/>
                </a:solidFill>
              </a:defRPr>
            </a:lvl2pPr>
          </a:lstStyle>
          <a:p>
            <a:pPr lvl="0"/>
            <a:r>
              <a:rPr lang="en-US"/>
              <a:t>Edit Master text styles</a:t>
            </a:r>
          </a:p>
          <a:p>
            <a:pPr lvl="1"/>
            <a:r>
              <a:rPr lang="en-US"/>
              <a:t>Second level</a:t>
            </a:r>
          </a:p>
        </p:txBody>
      </p:sp>
      <p:sp>
        <p:nvSpPr>
          <p:cNvPr id="37" name="OrgChartHeading" descr="PitchPerfect|Bio|OrgChartHeading">
            <a:extLst>
              <a:ext uri="{FF2B5EF4-FFF2-40B4-BE49-F238E27FC236}">
                <a16:creationId xmlns:a16="http://schemas.microsoft.com/office/drawing/2014/main" id="{BFA573DA-1C16-4510-8AB5-08F205B3D2F7}"/>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38952356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ead Partner - Large Team">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8E3FF7-EFC6-4944-BFFE-1E7139C28758}"/>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Headshot" descr="PitchPerfect|Bio|Headshot">
            <a:extLst>
              <a:ext uri="{FF2B5EF4-FFF2-40B4-BE49-F238E27FC236}">
                <a16:creationId xmlns:a16="http://schemas.microsoft.com/office/drawing/2014/main" id="{AD131BC6-4B44-41AF-AA13-171FA421F0D0}"/>
              </a:ext>
            </a:extLst>
          </p:cNvPr>
          <p:cNvSpPr>
            <a:spLocks noGrp="1" noChangeAspect="1"/>
          </p:cNvSpPr>
          <p:nvPr>
            <p:ph type="pic" sz="quarter" idx="21"/>
          </p:nvPr>
        </p:nvSpPr>
        <p:spPr>
          <a:xfrm>
            <a:off x="5533547" y="1196752"/>
            <a:ext cx="1124907" cy="914400"/>
          </a:xfrm>
          <a:prstGeom prst="ellipse">
            <a:avLst/>
          </a:prstGeom>
        </p:spPr>
        <p:txBody>
          <a:bodyPr/>
          <a:lstStyle/>
          <a:p>
            <a:r>
              <a:rPr lang="en-US"/>
              <a:t>Click icon to add picture</a:t>
            </a:r>
            <a:endParaRPr lang="en-GB" dirty="0"/>
          </a:p>
        </p:txBody>
      </p:sp>
      <p:cxnSp>
        <p:nvCxnSpPr>
          <p:cNvPr id="8" name="Straight Connector 7">
            <a:extLst>
              <a:ext uri="{FF2B5EF4-FFF2-40B4-BE49-F238E27FC236}">
                <a16:creationId xmlns:a16="http://schemas.microsoft.com/office/drawing/2014/main" id="{BEE9529D-F286-4AF5-BC9B-A044FBE0E9D0}"/>
              </a:ext>
            </a:extLst>
          </p:cNvPr>
          <p:cNvCxnSpPr>
            <a:cxnSpLocks/>
          </p:cNvCxnSpPr>
          <p:nvPr userDrawn="1"/>
        </p:nvCxnSpPr>
        <p:spPr>
          <a:xfrm flipH="1">
            <a:off x="873526" y="2808896"/>
            <a:ext cx="1044494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NameJobTitlePractice" descr="PitchPerfect|Bio|NameJobTitlePractice">
            <a:extLst>
              <a:ext uri="{FF2B5EF4-FFF2-40B4-BE49-F238E27FC236}">
                <a16:creationId xmlns:a16="http://schemas.microsoft.com/office/drawing/2014/main" id="{D26AE9D6-1CE0-4313-8D3E-862B5097F80A}"/>
              </a:ext>
            </a:extLst>
          </p:cNvPr>
          <p:cNvSpPr>
            <a:spLocks noGrp="1"/>
          </p:cNvSpPr>
          <p:nvPr>
            <p:ph type="body" sz="quarter" idx="22" hasCustomPrompt="1"/>
          </p:nvPr>
        </p:nvSpPr>
        <p:spPr>
          <a:xfrm>
            <a:off x="873526" y="2204788"/>
            <a:ext cx="10444949" cy="378052"/>
          </a:xfrm>
          <a:solidFill>
            <a:schemeClr val="bg1"/>
          </a:solidFill>
        </p:spPr>
        <p:txBody>
          <a:bodyPr wrap="square">
            <a:spAutoFit/>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1" name="Headshot_1" descr="PitchPerfect|Bio|Headshot_1">
            <a:extLst>
              <a:ext uri="{FF2B5EF4-FFF2-40B4-BE49-F238E27FC236}">
                <a16:creationId xmlns:a16="http://schemas.microsoft.com/office/drawing/2014/main" id="{E4748378-4E76-4F52-8000-78001F03FE08}"/>
              </a:ext>
            </a:extLst>
          </p:cNvPr>
          <p:cNvSpPr>
            <a:spLocks noGrp="1" noChangeAspect="1"/>
          </p:cNvSpPr>
          <p:nvPr>
            <p:ph type="pic" sz="quarter" idx="30"/>
          </p:nvPr>
        </p:nvSpPr>
        <p:spPr>
          <a:xfrm>
            <a:off x="996448" y="2979829"/>
            <a:ext cx="899040" cy="730800"/>
          </a:xfrm>
          <a:prstGeom prst="ellipse">
            <a:avLst/>
          </a:prstGeom>
        </p:spPr>
        <p:txBody>
          <a:bodyPr/>
          <a:lstStyle/>
          <a:p>
            <a:r>
              <a:rPr lang="en-US"/>
              <a:t>Click icon to add picture</a:t>
            </a:r>
            <a:endParaRPr lang="en-GB" dirty="0"/>
          </a:p>
        </p:txBody>
      </p:sp>
      <p:sp>
        <p:nvSpPr>
          <p:cNvPr id="12" name="NameJobTitlePractice_1" descr="PitchPerfect|Bio|NameJobTitlePractice_1">
            <a:extLst>
              <a:ext uri="{FF2B5EF4-FFF2-40B4-BE49-F238E27FC236}">
                <a16:creationId xmlns:a16="http://schemas.microsoft.com/office/drawing/2014/main" id="{6F2A89FE-C2A4-4A20-893D-E00523005423}"/>
              </a:ext>
            </a:extLst>
          </p:cNvPr>
          <p:cNvSpPr>
            <a:spLocks noGrp="1"/>
          </p:cNvSpPr>
          <p:nvPr>
            <p:ph type="body" sz="quarter" idx="31" hasCustomPrompt="1"/>
          </p:nvPr>
        </p:nvSpPr>
        <p:spPr>
          <a:xfrm>
            <a:off x="781353" y="3822319"/>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3" name="Headshot_2" descr="PitchPerfect|Bio|Headshot_2">
            <a:extLst>
              <a:ext uri="{FF2B5EF4-FFF2-40B4-BE49-F238E27FC236}">
                <a16:creationId xmlns:a16="http://schemas.microsoft.com/office/drawing/2014/main" id="{7C3FA399-806C-4590-A0EA-95B867F42045}"/>
              </a:ext>
            </a:extLst>
          </p:cNvPr>
          <p:cNvSpPr>
            <a:spLocks noGrp="1" noChangeAspect="1"/>
          </p:cNvSpPr>
          <p:nvPr>
            <p:ph type="pic" sz="quarter" idx="36"/>
          </p:nvPr>
        </p:nvSpPr>
        <p:spPr>
          <a:xfrm>
            <a:off x="2546937" y="2979829"/>
            <a:ext cx="899040" cy="730800"/>
          </a:xfrm>
          <a:prstGeom prst="ellipse">
            <a:avLst/>
          </a:prstGeom>
        </p:spPr>
        <p:txBody>
          <a:bodyPr/>
          <a:lstStyle/>
          <a:p>
            <a:r>
              <a:rPr lang="en-US"/>
              <a:t>Click icon to add picture</a:t>
            </a:r>
            <a:endParaRPr lang="en-GB"/>
          </a:p>
        </p:txBody>
      </p:sp>
      <p:sp>
        <p:nvSpPr>
          <p:cNvPr id="14" name="NameJobTitlePractice_2" descr="PitchPerfect|Bio|NameJobTitlePractice_2">
            <a:extLst>
              <a:ext uri="{FF2B5EF4-FFF2-40B4-BE49-F238E27FC236}">
                <a16:creationId xmlns:a16="http://schemas.microsoft.com/office/drawing/2014/main" id="{5D34EA85-A0F8-45AB-AB6E-43D39CEE6EFF}"/>
              </a:ext>
            </a:extLst>
          </p:cNvPr>
          <p:cNvSpPr>
            <a:spLocks noGrp="1"/>
          </p:cNvSpPr>
          <p:nvPr>
            <p:ph type="body" sz="quarter" idx="37" hasCustomPrompt="1"/>
          </p:nvPr>
        </p:nvSpPr>
        <p:spPr>
          <a:xfrm>
            <a:off x="2329452" y="3822319"/>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5" name="Headshot_3" descr="PitchPerfect|Bio|Headshot_3">
            <a:extLst>
              <a:ext uri="{FF2B5EF4-FFF2-40B4-BE49-F238E27FC236}">
                <a16:creationId xmlns:a16="http://schemas.microsoft.com/office/drawing/2014/main" id="{67259DBE-4AA0-4345-BFED-AA6D49C6F2BD}"/>
              </a:ext>
            </a:extLst>
          </p:cNvPr>
          <p:cNvSpPr>
            <a:spLocks noGrp="1" noChangeAspect="1"/>
          </p:cNvSpPr>
          <p:nvPr>
            <p:ph type="pic" sz="quarter" idx="38"/>
          </p:nvPr>
        </p:nvSpPr>
        <p:spPr>
          <a:xfrm>
            <a:off x="4097425" y="2979829"/>
            <a:ext cx="899040" cy="730800"/>
          </a:xfrm>
          <a:prstGeom prst="ellipse">
            <a:avLst/>
          </a:prstGeom>
        </p:spPr>
        <p:txBody>
          <a:bodyPr/>
          <a:lstStyle/>
          <a:p>
            <a:r>
              <a:rPr lang="en-US"/>
              <a:t>Click icon to add picture</a:t>
            </a:r>
            <a:endParaRPr lang="en-GB"/>
          </a:p>
        </p:txBody>
      </p:sp>
      <p:sp>
        <p:nvSpPr>
          <p:cNvPr id="16" name="NameJobTitlePractice_3" descr="PitchPerfect|Bio|NameJobTitlePractice_3">
            <a:extLst>
              <a:ext uri="{FF2B5EF4-FFF2-40B4-BE49-F238E27FC236}">
                <a16:creationId xmlns:a16="http://schemas.microsoft.com/office/drawing/2014/main" id="{7FA0528A-94A5-4A09-8D41-C80BFD799445}"/>
              </a:ext>
            </a:extLst>
          </p:cNvPr>
          <p:cNvSpPr>
            <a:spLocks noGrp="1"/>
          </p:cNvSpPr>
          <p:nvPr>
            <p:ph type="body" sz="quarter" idx="39" hasCustomPrompt="1"/>
          </p:nvPr>
        </p:nvSpPr>
        <p:spPr>
          <a:xfrm>
            <a:off x="3880418" y="3822319"/>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7" name="Headshot_4" descr="PitchPerfect|Bio|Headshot_4">
            <a:extLst>
              <a:ext uri="{FF2B5EF4-FFF2-40B4-BE49-F238E27FC236}">
                <a16:creationId xmlns:a16="http://schemas.microsoft.com/office/drawing/2014/main" id="{D1E2E7B5-4DB6-40DB-BD88-D2C73D19C247}"/>
              </a:ext>
            </a:extLst>
          </p:cNvPr>
          <p:cNvSpPr>
            <a:spLocks noGrp="1" noChangeAspect="1"/>
          </p:cNvSpPr>
          <p:nvPr>
            <p:ph type="pic" sz="quarter" idx="40"/>
          </p:nvPr>
        </p:nvSpPr>
        <p:spPr>
          <a:xfrm>
            <a:off x="5647914" y="2979829"/>
            <a:ext cx="899040" cy="730800"/>
          </a:xfrm>
          <a:prstGeom prst="ellipse">
            <a:avLst/>
          </a:prstGeom>
        </p:spPr>
        <p:txBody>
          <a:bodyPr/>
          <a:lstStyle/>
          <a:p>
            <a:r>
              <a:rPr lang="en-US"/>
              <a:t>Click icon to add picture</a:t>
            </a:r>
            <a:endParaRPr lang="en-GB"/>
          </a:p>
        </p:txBody>
      </p:sp>
      <p:sp>
        <p:nvSpPr>
          <p:cNvPr id="18" name="NameJobTitlePractice_4" descr="PitchPerfect|Bio|NameJobTitlePractice_4">
            <a:extLst>
              <a:ext uri="{FF2B5EF4-FFF2-40B4-BE49-F238E27FC236}">
                <a16:creationId xmlns:a16="http://schemas.microsoft.com/office/drawing/2014/main" id="{05C43286-15EE-40BB-B44A-18E44585EF31}"/>
              </a:ext>
            </a:extLst>
          </p:cNvPr>
          <p:cNvSpPr>
            <a:spLocks noGrp="1"/>
          </p:cNvSpPr>
          <p:nvPr>
            <p:ph type="body" sz="quarter" idx="41" hasCustomPrompt="1"/>
          </p:nvPr>
        </p:nvSpPr>
        <p:spPr>
          <a:xfrm>
            <a:off x="5431385" y="3822319"/>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9" name="Headshot_5" descr="PitchPerfect|Bio|Headshot_5">
            <a:extLst>
              <a:ext uri="{FF2B5EF4-FFF2-40B4-BE49-F238E27FC236}">
                <a16:creationId xmlns:a16="http://schemas.microsoft.com/office/drawing/2014/main" id="{C32D2EB2-96AC-450E-BB1E-DFF7521C249C}"/>
              </a:ext>
            </a:extLst>
          </p:cNvPr>
          <p:cNvSpPr>
            <a:spLocks noGrp="1" noChangeAspect="1"/>
          </p:cNvSpPr>
          <p:nvPr>
            <p:ph type="pic" sz="quarter" idx="42"/>
          </p:nvPr>
        </p:nvSpPr>
        <p:spPr>
          <a:xfrm>
            <a:off x="7198402" y="2979829"/>
            <a:ext cx="899040" cy="730800"/>
          </a:xfrm>
          <a:prstGeom prst="ellipse">
            <a:avLst/>
          </a:prstGeom>
        </p:spPr>
        <p:txBody>
          <a:bodyPr/>
          <a:lstStyle/>
          <a:p>
            <a:r>
              <a:rPr lang="en-US"/>
              <a:t>Click icon to add picture</a:t>
            </a:r>
            <a:endParaRPr lang="en-GB"/>
          </a:p>
        </p:txBody>
      </p:sp>
      <p:sp>
        <p:nvSpPr>
          <p:cNvPr id="20" name="NameJobTitlePractice_5" descr="PitchPerfect|Bio|NameJobTitlePractice_5">
            <a:extLst>
              <a:ext uri="{FF2B5EF4-FFF2-40B4-BE49-F238E27FC236}">
                <a16:creationId xmlns:a16="http://schemas.microsoft.com/office/drawing/2014/main" id="{A8A28BA4-0A38-42EA-9754-F3E46E2BA8C8}"/>
              </a:ext>
            </a:extLst>
          </p:cNvPr>
          <p:cNvSpPr>
            <a:spLocks noGrp="1"/>
          </p:cNvSpPr>
          <p:nvPr>
            <p:ph type="body" sz="quarter" idx="43" hasCustomPrompt="1"/>
          </p:nvPr>
        </p:nvSpPr>
        <p:spPr>
          <a:xfrm>
            <a:off x="6982351" y="3822319"/>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1" name="Headshot_6" descr="PitchPerfect|Bio|Headshot_6">
            <a:extLst>
              <a:ext uri="{FF2B5EF4-FFF2-40B4-BE49-F238E27FC236}">
                <a16:creationId xmlns:a16="http://schemas.microsoft.com/office/drawing/2014/main" id="{885A2906-65E4-4B7D-9197-4BD7963AF408}"/>
              </a:ext>
            </a:extLst>
          </p:cNvPr>
          <p:cNvSpPr>
            <a:spLocks noGrp="1" noChangeAspect="1"/>
          </p:cNvSpPr>
          <p:nvPr>
            <p:ph type="pic" sz="quarter" idx="44"/>
          </p:nvPr>
        </p:nvSpPr>
        <p:spPr>
          <a:xfrm>
            <a:off x="8748891" y="2979829"/>
            <a:ext cx="899040" cy="730800"/>
          </a:xfrm>
          <a:prstGeom prst="ellipse">
            <a:avLst/>
          </a:prstGeom>
        </p:spPr>
        <p:txBody>
          <a:bodyPr/>
          <a:lstStyle/>
          <a:p>
            <a:r>
              <a:rPr lang="en-US"/>
              <a:t>Click icon to add picture</a:t>
            </a:r>
            <a:endParaRPr lang="en-GB"/>
          </a:p>
        </p:txBody>
      </p:sp>
      <p:sp>
        <p:nvSpPr>
          <p:cNvPr id="22" name="NameJobTitlePractice_6" descr="PitchPerfect|Bio|NameJobTitlePractice_6">
            <a:extLst>
              <a:ext uri="{FF2B5EF4-FFF2-40B4-BE49-F238E27FC236}">
                <a16:creationId xmlns:a16="http://schemas.microsoft.com/office/drawing/2014/main" id="{F7C88138-8752-4ADC-AD9E-11A81DC5193D}"/>
              </a:ext>
            </a:extLst>
          </p:cNvPr>
          <p:cNvSpPr>
            <a:spLocks noGrp="1"/>
          </p:cNvSpPr>
          <p:nvPr>
            <p:ph type="body" sz="quarter" idx="45" hasCustomPrompt="1"/>
          </p:nvPr>
        </p:nvSpPr>
        <p:spPr>
          <a:xfrm>
            <a:off x="8533317" y="3822319"/>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3" name="Headshot_7" descr="PitchPerfect|Bio|Headshot_7">
            <a:extLst>
              <a:ext uri="{FF2B5EF4-FFF2-40B4-BE49-F238E27FC236}">
                <a16:creationId xmlns:a16="http://schemas.microsoft.com/office/drawing/2014/main" id="{0B66E247-C28B-4D54-9DA3-5AEE82704695}"/>
              </a:ext>
            </a:extLst>
          </p:cNvPr>
          <p:cNvSpPr>
            <a:spLocks noGrp="1" noChangeAspect="1"/>
          </p:cNvSpPr>
          <p:nvPr>
            <p:ph type="pic" sz="quarter" idx="46"/>
          </p:nvPr>
        </p:nvSpPr>
        <p:spPr>
          <a:xfrm>
            <a:off x="10299378" y="2979829"/>
            <a:ext cx="899040" cy="730800"/>
          </a:xfrm>
          <a:prstGeom prst="ellipse">
            <a:avLst/>
          </a:prstGeom>
        </p:spPr>
        <p:txBody>
          <a:bodyPr/>
          <a:lstStyle/>
          <a:p>
            <a:r>
              <a:rPr lang="en-US"/>
              <a:t>Click icon to add picture</a:t>
            </a:r>
            <a:endParaRPr lang="en-GB"/>
          </a:p>
        </p:txBody>
      </p:sp>
      <p:sp>
        <p:nvSpPr>
          <p:cNvPr id="24" name="NameJobTitlePractice_7" descr="PitchPerfect|Bio|NameJobTitlePractice_7">
            <a:extLst>
              <a:ext uri="{FF2B5EF4-FFF2-40B4-BE49-F238E27FC236}">
                <a16:creationId xmlns:a16="http://schemas.microsoft.com/office/drawing/2014/main" id="{3F6BE606-F00F-41C6-B8E6-10505F5066A8}"/>
              </a:ext>
            </a:extLst>
          </p:cNvPr>
          <p:cNvSpPr>
            <a:spLocks noGrp="1"/>
          </p:cNvSpPr>
          <p:nvPr>
            <p:ph type="body" sz="quarter" idx="47" hasCustomPrompt="1"/>
          </p:nvPr>
        </p:nvSpPr>
        <p:spPr>
          <a:xfrm>
            <a:off x="10084283" y="3822319"/>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5" name="Headshot_8" descr="PitchPerfect|Bio|Headshot_8">
            <a:extLst>
              <a:ext uri="{FF2B5EF4-FFF2-40B4-BE49-F238E27FC236}">
                <a16:creationId xmlns:a16="http://schemas.microsoft.com/office/drawing/2014/main" id="{573E3098-E623-414F-A7EB-7D6C0A4939DC}"/>
              </a:ext>
            </a:extLst>
          </p:cNvPr>
          <p:cNvSpPr>
            <a:spLocks noGrp="1" noChangeAspect="1"/>
          </p:cNvSpPr>
          <p:nvPr>
            <p:ph type="pic" sz="quarter" idx="48"/>
          </p:nvPr>
        </p:nvSpPr>
        <p:spPr>
          <a:xfrm>
            <a:off x="996448" y="4602116"/>
            <a:ext cx="899040" cy="730800"/>
          </a:xfrm>
          <a:prstGeom prst="ellipse">
            <a:avLst/>
          </a:prstGeom>
        </p:spPr>
        <p:txBody>
          <a:bodyPr/>
          <a:lstStyle/>
          <a:p>
            <a:r>
              <a:rPr lang="en-US"/>
              <a:t>Click icon to add picture</a:t>
            </a:r>
            <a:endParaRPr lang="en-GB"/>
          </a:p>
        </p:txBody>
      </p:sp>
      <p:sp>
        <p:nvSpPr>
          <p:cNvPr id="26" name="NameJobTitlePractice_8" descr="PitchPerfect|Bio|NameJobTitlePractice_8">
            <a:extLst>
              <a:ext uri="{FF2B5EF4-FFF2-40B4-BE49-F238E27FC236}">
                <a16:creationId xmlns:a16="http://schemas.microsoft.com/office/drawing/2014/main" id="{984B8552-6173-42DF-9AB2-02266E186D83}"/>
              </a:ext>
            </a:extLst>
          </p:cNvPr>
          <p:cNvSpPr>
            <a:spLocks noGrp="1"/>
          </p:cNvSpPr>
          <p:nvPr>
            <p:ph type="body" sz="quarter" idx="49" hasCustomPrompt="1"/>
          </p:nvPr>
        </p:nvSpPr>
        <p:spPr>
          <a:xfrm>
            <a:off x="781353" y="544460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7" name="Headshot_9" descr="PitchPerfect|Bio|Headshot_9">
            <a:extLst>
              <a:ext uri="{FF2B5EF4-FFF2-40B4-BE49-F238E27FC236}">
                <a16:creationId xmlns:a16="http://schemas.microsoft.com/office/drawing/2014/main" id="{C383C853-5DBA-4B1D-B5A8-00D1BB215E06}"/>
              </a:ext>
            </a:extLst>
          </p:cNvPr>
          <p:cNvSpPr>
            <a:spLocks noGrp="1" noChangeAspect="1"/>
          </p:cNvSpPr>
          <p:nvPr>
            <p:ph type="pic" sz="quarter" idx="50"/>
          </p:nvPr>
        </p:nvSpPr>
        <p:spPr>
          <a:xfrm>
            <a:off x="2546937" y="4602116"/>
            <a:ext cx="899040" cy="730800"/>
          </a:xfrm>
          <a:prstGeom prst="ellipse">
            <a:avLst/>
          </a:prstGeom>
        </p:spPr>
        <p:txBody>
          <a:bodyPr/>
          <a:lstStyle/>
          <a:p>
            <a:r>
              <a:rPr lang="en-US"/>
              <a:t>Click icon to add picture</a:t>
            </a:r>
            <a:endParaRPr lang="en-GB"/>
          </a:p>
        </p:txBody>
      </p:sp>
      <p:sp>
        <p:nvSpPr>
          <p:cNvPr id="28" name="NameJobTitlePractice_9" descr="PitchPerfect|Bio|NameJobTitlePractice_9">
            <a:extLst>
              <a:ext uri="{FF2B5EF4-FFF2-40B4-BE49-F238E27FC236}">
                <a16:creationId xmlns:a16="http://schemas.microsoft.com/office/drawing/2014/main" id="{6C4C57BD-DD69-462C-923B-7115668FFFBA}"/>
              </a:ext>
            </a:extLst>
          </p:cNvPr>
          <p:cNvSpPr>
            <a:spLocks noGrp="1"/>
          </p:cNvSpPr>
          <p:nvPr>
            <p:ph type="body" sz="quarter" idx="51" hasCustomPrompt="1"/>
          </p:nvPr>
        </p:nvSpPr>
        <p:spPr>
          <a:xfrm>
            <a:off x="2334230" y="544460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9" name="Headshot_10" descr="PitchPerfect|Bio|Headshot_10">
            <a:extLst>
              <a:ext uri="{FF2B5EF4-FFF2-40B4-BE49-F238E27FC236}">
                <a16:creationId xmlns:a16="http://schemas.microsoft.com/office/drawing/2014/main" id="{2DB78D46-9EE0-44D1-93D4-24091E19F657}"/>
              </a:ext>
            </a:extLst>
          </p:cNvPr>
          <p:cNvSpPr>
            <a:spLocks noGrp="1" noChangeAspect="1"/>
          </p:cNvSpPr>
          <p:nvPr>
            <p:ph type="pic" sz="quarter" idx="52"/>
          </p:nvPr>
        </p:nvSpPr>
        <p:spPr>
          <a:xfrm>
            <a:off x="4097425" y="4602116"/>
            <a:ext cx="899040" cy="730800"/>
          </a:xfrm>
          <a:prstGeom prst="ellipse">
            <a:avLst/>
          </a:prstGeom>
        </p:spPr>
        <p:txBody>
          <a:bodyPr/>
          <a:lstStyle/>
          <a:p>
            <a:r>
              <a:rPr lang="en-US"/>
              <a:t>Click icon to add picture</a:t>
            </a:r>
            <a:endParaRPr lang="en-GB"/>
          </a:p>
        </p:txBody>
      </p:sp>
      <p:sp>
        <p:nvSpPr>
          <p:cNvPr id="30" name="NameJobTitlePractice_10" descr="PitchPerfect|Bio|NameJobTitlePractice_10">
            <a:extLst>
              <a:ext uri="{FF2B5EF4-FFF2-40B4-BE49-F238E27FC236}">
                <a16:creationId xmlns:a16="http://schemas.microsoft.com/office/drawing/2014/main" id="{7B4ACB87-7FC7-4FA5-A574-E1F3593DB0E8}"/>
              </a:ext>
            </a:extLst>
          </p:cNvPr>
          <p:cNvSpPr>
            <a:spLocks noGrp="1"/>
          </p:cNvSpPr>
          <p:nvPr>
            <p:ph type="body" sz="quarter" idx="53" hasCustomPrompt="1"/>
          </p:nvPr>
        </p:nvSpPr>
        <p:spPr>
          <a:xfrm>
            <a:off x="3884241" y="544460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31" name="Headshot_11" descr="PitchPerfect|Bio|Headshot_11">
            <a:extLst>
              <a:ext uri="{FF2B5EF4-FFF2-40B4-BE49-F238E27FC236}">
                <a16:creationId xmlns:a16="http://schemas.microsoft.com/office/drawing/2014/main" id="{84E3E692-7C92-4757-BB34-203FAF5DE2F3}"/>
              </a:ext>
            </a:extLst>
          </p:cNvPr>
          <p:cNvSpPr>
            <a:spLocks noGrp="1" noChangeAspect="1"/>
          </p:cNvSpPr>
          <p:nvPr>
            <p:ph type="pic" sz="quarter" idx="54"/>
          </p:nvPr>
        </p:nvSpPr>
        <p:spPr>
          <a:xfrm>
            <a:off x="5647914" y="4602116"/>
            <a:ext cx="899040" cy="730800"/>
          </a:xfrm>
          <a:prstGeom prst="ellipse">
            <a:avLst/>
          </a:prstGeom>
        </p:spPr>
        <p:txBody>
          <a:bodyPr/>
          <a:lstStyle/>
          <a:p>
            <a:r>
              <a:rPr lang="en-US"/>
              <a:t>Click icon to add picture</a:t>
            </a:r>
            <a:endParaRPr lang="en-GB"/>
          </a:p>
        </p:txBody>
      </p:sp>
      <p:sp>
        <p:nvSpPr>
          <p:cNvPr id="32" name="NameJobTitlePractice_11" descr="PitchPerfect|Bio|NameJobTitlePractice_11">
            <a:extLst>
              <a:ext uri="{FF2B5EF4-FFF2-40B4-BE49-F238E27FC236}">
                <a16:creationId xmlns:a16="http://schemas.microsoft.com/office/drawing/2014/main" id="{D06B1C01-0851-4EF5-80CE-F37946FEB775}"/>
              </a:ext>
            </a:extLst>
          </p:cNvPr>
          <p:cNvSpPr>
            <a:spLocks noGrp="1"/>
          </p:cNvSpPr>
          <p:nvPr>
            <p:ph type="body" sz="quarter" idx="55" hasCustomPrompt="1"/>
          </p:nvPr>
        </p:nvSpPr>
        <p:spPr>
          <a:xfrm>
            <a:off x="5434252" y="544460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33" name="Headshot_12" descr="PitchPerfect|Bio|Headshot_12">
            <a:extLst>
              <a:ext uri="{FF2B5EF4-FFF2-40B4-BE49-F238E27FC236}">
                <a16:creationId xmlns:a16="http://schemas.microsoft.com/office/drawing/2014/main" id="{D75B096E-C39A-44EE-B9D1-C3328AC530EF}"/>
              </a:ext>
            </a:extLst>
          </p:cNvPr>
          <p:cNvSpPr>
            <a:spLocks noGrp="1" noChangeAspect="1"/>
          </p:cNvSpPr>
          <p:nvPr>
            <p:ph type="pic" sz="quarter" idx="56"/>
          </p:nvPr>
        </p:nvSpPr>
        <p:spPr>
          <a:xfrm>
            <a:off x="7198402" y="4602116"/>
            <a:ext cx="899040" cy="730800"/>
          </a:xfrm>
          <a:prstGeom prst="ellipse">
            <a:avLst/>
          </a:prstGeom>
        </p:spPr>
        <p:txBody>
          <a:bodyPr/>
          <a:lstStyle/>
          <a:p>
            <a:r>
              <a:rPr lang="en-US"/>
              <a:t>Click icon to add picture</a:t>
            </a:r>
            <a:endParaRPr lang="en-GB"/>
          </a:p>
        </p:txBody>
      </p:sp>
      <p:sp>
        <p:nvSpPr>
          <p:cNvPr id="34" name="NameJobTitlePractice_12" descr="PitchPerfect|Bio|NameJobTitlePractice_12">
            <a:extLst>
              <a:ext uri="{FF2B5EF4-FFF2-40B4-BE49-F238E27FC236}">
                <a16:creationId xmlns:a16="http://schemas.microsoft.com/office/drawing/2014/main" id="{7045FB77-6D96-4346-9348-8DFEE2FBC8F5}"/>
              </a:ext>
            </a:extLst>
          </p:cNvPr>
          <p:cNvSpPr>
            <a:spLocks noGrp="1"/>
          </p:cNvSpPr>
          <p:nvPr>
            <p:ph type="body" sz="quarter" idx="57" hasCustomPrompt="1"/>
          </p:nvPr>
        </p:nvSpPr>
        <p:spPr>
          <a:xfrm>
            <a:off x="6984263" y="544460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35" name="Headshot_13" descr="PitchPerfect|Bio|Headshot_13">
            <a:extLst>
              <a:ext uri="{FF2B5EF4-FFF2-40B4-BE49-F238E27FC236}">
                <a16:creationId xmlns:a16="http://schemas.microsoft.com/office/drawing/2014/main" id="{03252C24-889A-4451-94E8-8FD1FD1B949D}"/>
              </a:ext>
            </a:extLst>
          </p:cNvPr>
          <p:cNvSpPr>
            <a:spLocks noGrp="1" noChangeAspect="1"/>
          </p:cNvSpPr>
          <p:nvPr>
            <p:ph type="pic" sz="quarter" idx="58"/>
          </p:nvPr>
        </p:nvSpPr>
        <p:spPr>
          <a:xfrm>
            <a:off x="8748891" y="4602116"/>
            <a:ext cx="899040" cy="730800"/>
          </a:xfrm>
          <a:prstGeom prst="ellipse">
            <a:avLst/>
          </a:prstGeom>
        </p:spPr>
        <p:txBody>
          <a:bodyPr/>
          <a:lstStyle/>
          <a:p>
            <a:r>
              <a:rPr lang="en-US"/>
              <a:t>Click icon to add picture</a:t>
            </a:r>
            <a:endParaRPr lang="en-GB"/>
          </a:p>
        </p:txBody>
      </p:sp>
      <p:sp>
        <p:nvSpPr>
          <p:cNvPr id="36" name="NameJobTitlePractice_13" descr="PitchPerfect|Bio|NameJobTitlePractice_13">
            <a:extLst>
              <a:ext uri="{FF2B5EF4-FFF2-40B4-BE49-F238E27FC236}">
                <a16:creationId xmlns:a16="http://schemas.microsoft.com/office/drawing/2014/main" id="{2347C865-60F8-47B4-BC32-A1865584B433}"/>
              </a:ext>
            </a:extLst>
          </p:cNvPr>
          <p:cNvSpPr>
            <a:spLocks noGrp="1"/>
          </p:cNvSpPr>
          <p:nvPr>
            <p:ph type="body" sz="quarter" idx="59" hasCustomPrompt="1"/>
          </p:nvPr>
        </p:nvSpPr>
        <p:spPr>
          <a:xfrm>
            <a:off x="8534274" y="544460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37" name="Headshot_14" descr="PitchPerfect|Bio|Headshot_14">
            <a:extLst>
              <a:ext uri="{FF2B5EF4-FFF2-40B4-BE49-F238E27FC236}">
                <a16:creationId xmlns:a16="http://schemas.microsoft.com/office/drawing/2014/main" id="{EEB87875-DDCF-4DE6-95F6-7351F8089F20}"/>
              </a:ext>
            </a:extLst>
          </p:cNvPr>
          <p:cNvSpPr>
            <a:spLocks noGrp="1" noChangeAspect="1"/>
          </p:cNvSpPr>
          <p:nvPr>
            <p:ph type="pic" sz="quarter" idx="60"/>
          </p:nvPr>
        </p:nvSpPr>
        <p:spPr>
          <a:xfrm>
            <a:off x="10299378" y="4602116"/>
            <a:ext cx="899040" cy="730800"/>
          </a:xfrm>
          <a:prstGeom prst="ellipse">
            <a:avLst/>
          </a:prstGeom>
        </p:spPr>
        <p:txBody>
          <a:bodyPr/>
          <a:lstStyle/>
          <a:p>
            <a:r>
              <a:rPr lang="en-US"/>
              <a:t>Click icon to add picture</a:t>
            </a:r>
            <a:endParaRPr lang="en-GB"/>
          </a:p>
        </p:txBody>
      </p:sp>
      <p:sp>
        <p:nvSpPr>
          <p:cNvPr id="38" name="NameJobTitlePractice_14" descr="PitchPerfect|Bio|NameJobTitlePractice_14">
            <a:extLst>
              <a:ext uri="{FF2B5EF4-FFF2-40B4-BE49-F238E27FC236}">
                <a16:creationId xmlns:a16="http://schemas.microsoft.com/office/drawing/2014/main" id="{3F2CBF57-5C15-493E-9EAA-AB41A205F305}"/>
              </a:ext>
            </a:extLst>
          </p:cNvPr>
          <p:cNvSpPr>
            <a:spLocks noGrp="1"/>
          </p:cNvSpPr>
          <p:nvPr>
            <p:ph type="body" sz="quarter" idx="61" hasCustomPrompt="1"/>
          </p:nvPr>
        </p:nvSpPr>
        <p:spPr>
          <a:xfrm>
            <a:off x="10084283" y="544460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47" name="OrgChartHeading" descr="PitchPerfect|Bio|OrgChartHeading">
            <a:extLst>
              <a:ext uri="{FF2B5EF4-FFF2-40B4-BE49-F238E27FC236}">
                <a16:creationId xmlns:a16="http://schemas.microsoft.com/office/drawing/2014/main" id="{65DDD91D-AE1B-42A1-ACB3-30D17D9B4C65}"/>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43" name="Text Placeholder 9">
            <a:extLst>
              <a:ext uri="{FF2B5EF4-FFF2-40B4-BE49-F238E27FC236}">
                <a16:creationId xmlns:a16="http://schemas.microsoft.com/office/drawing/2014/main" id="{111D99FA-9A46-4A78-A9D4-B1DDB840C702}"/>
              </a:ext>
            </a:extLst>
          </p:cNvPr>
          <p:cNvSpPr>
            <a:spLocks noGrp="1"/>
          </p:cNvSpPr>
          <p:nvPr>
            <p:ph type="body" sz="quarter" idx="24" hasCustomPrompt="1"/>
          </p:nvPr>
        </p:nvSpPr>
        <p:spPr>
          <a:xfrm>
            <a:off x="4434143" y="2745399"/>
            <a:ext cx="3323077" cy="138499"/>
          </a:xfrm>
          <a:solidFill>
            <a:schemeClr val="bg1"/>
          </a:solidFill>
          <a:ln w="9525">
            <a:solidFill>
              <a:schemeClr val="accent3"/>
            </a:solidFill>
          </a:ln>
        </p:spPr>
        <p:txBody>
          <a:bodyPr wrap="square" bIns="0" anchor="ctr" anchorCtr="0">
            <a:spAutoFit/>
          </a:bodyPr>
          <a:lstStyle>
            <a:lvl1pPr algn="ctr">
              <a:spcBef>
                <a:spcPts val="0"/>
              </a:spcBef>
              <a:defRPr sz="900">
                <a:solidFill>
                  <a:schemeClr val="tx1"/>
                </a:solidFill>
              </a:defRPr>
            </a:lvl1pPr>
          </a:lstStyle>
          <a:p>
            <a:pPr lvl="0"/>
            <a:r>
              <a:rPr lang="en-US" dirty="0"/>
              <a:t>INSERT HEADING</a:t>
            </a:r>
          </a:p>
        </p:txBody>
      </p:sp>
    </p:spTree>
    <p:extLst>
      <p:ext uri="{BB962C8B-B14F-4D97-AF65-F5344CB8AC3E}">
        <p14:creationId xmlns:p14="http://schemas.microsoft.com/office/powerpoint/2010/main" val="427672572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white">
    <p:bg>
      <p:bgPr>
        <a:solidFill>
          <a:schemeClr val="bg1"/>
        </a:solidFill>
        <a:effectLst/>
      </p:bgPr>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6C2B568A-0147-42B3-9F7A-A5D8C9D99F6D}"/>
              </a:ext>
            </a:extLst>
          </p:cNvPr>
          <p:cNvSpPr>
            <a:spLocks noGrp="1"/>
          </p:cNvSpPr>
          <p:nvPr>
            <p:ph type="dt" sz="half" idx="10"/>
            <p:custDataLst>
              <p:tags r:id="rId1"/>
            </p:custDataLst>
          </p:nvPr>
        </p:nvSpPr>
        <p:spPr/>
        <p:txBody>
          <a:bodyPr/>
          <a:lstStyle>
            <a:lvl1pPr>
              <a:defRPr lang="en-GB" dirty="0"/>
            </a:lvl1pPr>
          </a:lstStyle>
          <a:p>
            <a:endParaRPr lang="de-AT"/>
          </a:p>
        </p:txBody>
      </p:sp>
      <p:sp>
        <p:nvSpPr>
          <p:cNvPr id="6" name="Foliennummernplatzhalter 5">
            <a:extLst>
              <a:ext uri="{FF2B5EF4-FFF2-40B4-BE49-F238E27FC236}">
                <a16:creationId xmlns:a16="http://schemas.microsoft.com/office/drawing/2014/main" id="{C2BCD42F-6371-4FD7-AFEC-F5CF851D7985}"/>
              </a:ext>
            </a:extLst>
          </p:cNvPr>
          <p:cNvSpPr>
            <a:spLocks noGrp="1"/>
          </p:cNvSpPr>
          <p:nvPr>
            <p:ph type="sldNum" sz="quarter" idx="12"/>
            <p:custDataLst>
              <p:tags r:id="rId2"/>
            </p:custDataLst>
          </p:nvPr>
        </p:nvSpPr>
        <p:spPr/>
        <p:txBody>
          <a:bodyPr/>
          <a:lstStyle/>
          <a:p>
            <a:fld id="{B459E51B-A277-4897-9DDF-ABA4750400EB}" type="slidenum">
              <a:rPr lang="en-GB" smtClean="0"/>
              <a:t>‹Nr.›</a:t>
            </a:fld>
            <a:endParaRPr lang="en-GB" dirty="0"/>
          </a:p>
        </p:txBody>
      </p:sp>
      <p:sp>
        <p:nvSpPr>
          <p:cNvPr id="2" name="Title 1">
            <a:extLst>
              <a:ext uri="{FF2B5EF4-FFF2-40B4-BE49-F238E27FC236}">
                <a16:creationId xmlns:a16="http://schemas.microsoft.com/office/drawing/2014/main" id="{366C5A8D-85B5-47A9-9F97-DB9EDC0AEFA7}"/>
              </a:ext>
            </a:extLst>
          </p:cNvPr>
          <p:cNvSpPr>
            <a:spLocks noGrp="1"/>
          </p:cNvSpPr>
          <p:nvPr>
            <p:ph type="title"/>
            <p:custDataLst>
              <p:tags r:id="rId3"/>
            </p:custDataLst>
          </p:nvPr>
        </p:nvSpPr>
        <p:spPr/>
        <p:txBody>
          <a:bodyPr/>
          <a:lstStyle/>
          <a:p>
            <a:r>
              <a:rPr lang="en-US"/>
              <a:t>Click to edit Master title style</a:t>
            </a:r>
            <a:endParaRPr lang="en-GB" dirty="0"/>
          </a:p>
        </p:txBody>
      </p:sp>
      <p:sp>
        <p:nvSpPr>
          <p:cNvPr id="9" name="Content Placeholder 8">
            <a:extLst>
              <a:ext uri="{FF2B5EF4-FFF2-40B4-BE49-F238E27FC236}">
                <a16:creationId xmlns:a16="http://schemas.microsoft.com/office/drawing/2014/main" id="{21981A1A-CF43-4243-AFD4-643CB1151C5A}"/>
              </a:ext>
            </a:extLst>
          </p:cNvPr>
          <p:cNvSpPr>
            <a:spLocks noGrp="1"/>
          </p:cNvSpPr>
          <p:nvPr>
            <p:ph sz="quarter" idx="13"/>
            <p:custDataLst>
              <p:tags r:id="rId4"/>
            </p:custDataLst>
          </p:nvPr>
        </p:nvSpPr>
        <p:spPr>
          <a:xfrm>
            <a:off x="461640" y="1592265"/>
            <a:ext cx="9839325" cy="41532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659142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arge Team">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8E3FF7-EFC6-4944-BFFE-1E7139C28758}"/>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11" name="Headshot" descr="PitchPerfect|Bio|Headshot">
            <a:extLst>
              <a:ext uri="{FF2B5EF4-FFF2-40B4-BE49-F238E27FC236}">
                <a16:creationId xmlns:a16="http://schemas.microsoft.com/office/drawing/2014/main" id="{E4748378-4E76-4F52-8000-78001F03FE08}"/>
              </a:ext>
            </a:extLst>
          </p:cNvPr>
          <p:cNvSpPr>
            <a:spLocks noGrp="1" noChangeAspect="1"/>
          </p:cNvSpPr>
          <p:nvPr>
            <p:ph type="pic" sz="quarter" idx="30"/>
          </p:nvPr>
        </p:nvSpPr>
        <p:spPr>
          <a:xfrm>
            <a:off x="996448" y="1484784"/>
            <a:ext cx="899040" cy="730800"/>
          </a:xfrm>
          <a:prstGeom prst="ellipse">
            <a:avLst/>
          </a:prstGeom>
        </p:spPr>
        <p:txBody>
          <a:bodyPr/>
          <a:lstStyle/>
          <a:p>
            <a:r>
              <a:rPr lang="en-US"/>
              <a:t>Click icon to add picture</a:t>
            </a:r>
            <a:endParaRPr lang="en-GB" dirty="0"/>
          </a:p>
        </p:txBody>
      </p:sp>
      <p:sp>
        <p:nvSpPr>
          <p:cNvPr id="12" name="NameJobTitlePractice" descr="PitchPerfect|Bio|NameJobTitlePractice">
            <a:extLst>
              <a:ext uri="{FF2B5EF4-FFF2-40B4-BE49-F238E27FC236}">
                <a16:creationId xmlns:a16="http://schemas.microsoft.com/office/drawing/2014/main" id="{6F2A89FE-C2A4-4A20-893D-E00523005423}"/>
              </a:ext>
            </a:extLst>
          </p:cNvPr>
          <p:cNvSpPr>
            <a:spLocks noGrp="1"/>
          </p:cNvSpPr>
          <p:nvPr>
            <p:ph type="body" sz="quarter" idx="31" hasCustomPrompt="1"/>
          </p:nvPr>
        </p:nvSpPr>
        <p:spPr>
          <a:xfrm>
            <a:off x="781353" y="232727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3" name="Headshot_1" descr="PitchPerfect|Bio|Headshot_1">
            <a:extLst>
              <a:ext uri="{FF2B5EF4-FFF2-40B4-BE49-F238E27FC236}">
                <a16:creationId xmlns:a16="http://schemas.microsoft.com/office/drawing/2014/main" id="{7C3FA399-806C-4590-A0EA-95B867F42045}"/>
              </a:ext>
            </a:extLst>
          </p:cNvPr>
          <p:cNvSpPr>
            <a:spLocks noGrp="1" noChangeAspect="1"/>
          </p:cNvSpPr>
          <p:nvPr>
            <p:ph type="pic" sz="quarter" idx="36"/>
          </p:nvPr>
        </p:nvSpPr>
        <p:spPr>
          <a:xfrm>
            <a:off x="2546937" y="1484784"/>
            <a:ext cx="899040" cy="730800"/>
          </a:xfrm>
          <a:prstGeom prst="ellipse">
            <a:avLst/>
          </a:prstGeom>
        </p:spPr>
        <p:txBody>
          <a:bodyPr/>
          <a:lstStyle/>
          <a:p>
            <a:r>
              <a:rPr lang="en-US"/>
              <a:t>Click icon to add picture</a:t>
            </a:r>
            <a:endParaRPr lang="en-GB"/>
          </a:p>
        </p:txBody>
      </p:sp>
      <p:sp>
        <p:nvSpPr>
          <p:cNvPr id="14" name="NameJobTitlePractice_1" descr="PitchPerfect|Bio|NameJobTitlePractice_1">
            <a:extLst>
              <a:ext uri="{FF2B5EF4-FFF2-40B4-BE49-F238E27FC236}">
                <a16:creationId xmlns:a16="http://schemas.microsoft.com/office/drawing/2014/main" id="{5D34EA85-A0F8-45AB-AB6E-43D39CEE6EFF}"/>
              </a:ext>
            </a:extLst>
          </p:cNvPr>
          <p:cNvSpPr>
            <a:spLocks noGrp="1"/>
          </p:cNvSpPr>
          <p:nvPr>
            <p:ph type="body" sz="quarter" idx="37" hasCustomPrompt="1"/>
          </p:nvPr>
        </p:nvSpPr>
        <p:spPr>
          <a:xfrm>
            <a:off x="2329452" y="232727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5" name="Headshot_2" descr="PitchPerfect|Bio|Headshot_2">
            <a:extLst>
              <a:ext uri="{FF2B5EF4-FFF2-40B4-BE49-F238E27FC236}">
                <a16:creationId xmlns:a16="http://schemas.microsoft.com/office/drawing/2014/main" id="{67259DBE-4AA0-4345-BFED-AA6D49C6F2BD}"/>
              </a:ext>
            </a:extLst>
          </p:cNvPr>
          <p:cNvSpPr>
            <a:spLocks noGrp="1" noChangeAspect="1"/>
          </p:cNvSpPr>
          <p:nvPr>
            <p:ph type="pic" sz="quarter" idx="38"/>
          </p:nvPr>
        </p:nvSpPr>
        <p:spPr>
          <a:xfrm>
            <a:off x="4097425" y="1484784"/>
            <a:ext cx="899040" cy="730800"/>
          </a:xfrm>
          <a:prstGeom prst="ellipse">
            <a:avLst/>
          </a:prstGeom>
        </p:spPr>
        <p:txBody>
          <a:bodyPr/>
          <a:lstStyle/>
          <a:p>
            <a:r>
              <a:rPr lang="en-US"/>
              <a:t>Click icon to add picture</a:t>
            </a:r>
            <a:endParaRPr lang="en-GB"/>
          </a:p>
        </p:txBody>
      </p:sp>
      <p:sp>
        <p:nvSpPr>
          <p:cNvPr id="16" name="NameJobTitlePractice_2" descr="PitchPerfect|Bio|NameJobTitlePractice_2">
            <a:extLst>
              <a:ext uri="{FF2B5EF4-FFF2-40B4-BE49-F238E27FC236}">
                <a16:creationId xmlns:a16="http://schemas.microsoft.com/office/drawing/2014/main" id="{7FA0528A-94A5-4A09-8D41-C80BFD799445}"/>
              </a:ext>
            </a:extLst>
          </p:cNvPr>
          <p:cNvSpPr>
            <a:spLocks noGrp="1"/>
          </p:cNvSpPr>
          <p:nvPr>
            <p:ph type="body" sz="quarter" idx="39" hasCustomPrompt="1"/>
          </p:nvPr>
        </p:nvSpPr>
        <p:spPr>
          <a:xfrm>
            <a:off x="3880418" y="232727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7" name="Headshot_3" descr="PitchPerfect|Bio|Headshot_3">
            <a:extLst>
              <a:ext uri="{FF2B5EF4-FFF2-40B4-BE49-F238E27FC236}">
                <a16:creationId xmlns:a16="http://schemas.microsoft.com/office/drawing/2014/main" id="{D1E2E7B5-4DB6-40DB-BD88-D2C73D19C247}"/>
              </a:ext>
            </a:extLst>
          </p:cNvPr>
          <p:cNvSpPr>
            <a:spLocks noGrp="1" noChangeAspect="1"/>
          </p:cNvSpPr>
          <p:nvPr>
            <p:ph type="pic" sz="quarter" idx="40"/>
          </p:nvPr>
        </p:nvSpPr>
        <p:spPr>
          <a:xfrm>
            <a:off x="5647914" y="1484784"/>
            <a:ext cx="899040" cy="730800"/>
          </a:xfrm>
          <a:prstGeom prst="ellipse">
            <a:avLst/>
          </a:prstGeom>
        </p:spPr>
        <p:txBody>
          <a:bodyPr/>
          <a:lstStyle/>
          <a:p>
            <a:r>
              <a:rPr lang="en-US"/>
              <a:t>Click icon to add picture</a:t>
            </a:r>
            <a:endParaRPr lang="en-GB"/>
          </a:p>
        </p:txBody>
      </p:sp>
      <p:sp>
        <p:nvSpPr>
          <p:cNvPr id="18" name="NameJobTitlePractice_3" descr="PitchPerfect|Bio|NameJobTitlePractice_3">
            <a:extLst>
              <a:ext uri="{FF2B5EF4-FFF2-40B4-BE49-F238E27FC236}">
                <a16:creationId xmlns:a16="http://schemas.microsoft.com/office/drawing/2014/main" id="{05C43286-15EE-40BB-B44A-18E44585EF31}"/>
              </a:ext>
            </a:extLst>
          </p:cNvPr>
          <p:cNvSpPr>
            <a:spLocks noGrp="1"/>
          </p:cNvSpPr>
          <p:nvPr>
            <p:ph type="body" sz="quarter" idx="41" hasCustomPrompt="1"/>
          </p:nvPr>
        </p:nvSpPr>
        <p:spPr>
          <a:xfrm>
            <a:off x="5431385" y="232727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19" name="Headshot_4" descr="PitchPerfect|Bio|Headshot_4">
            <a:extLst>
              <a:ext uri="{FF2B5EF4-FFF2-40B4-BE49-F238E27FC236}">
                <a16:creationId xmlns:a16="http://schemas.microsoft.com/office/drawing/2014/main" id="{C32D2EB2-96AC-450E-BB1E-DFF7521C249C}"/>
              </a:ext>
            </a:extLst>
          </p:cNvPr>
          <p:cNvSpPr>
            <a:spLocks noGrp="1" noChangeAspect="1"/>
          </p:cNvSpPr>
          <p:nvPr>
            <p:ph type="pic" sz="quarter" idx="42"/>
          </p:nvPr>
        </p:nvSpPr>
        <p:spPr>
          <a:xfrm>
            <a:off x="7198402" y="1484784"/>
            <a:ext cx="899040" cy="730800"/>
          </a:xfrm>
          <a:prstGeom prst="ellipse">
            <a:avLst/>
          </a:prstGeom>
        </p:spPr>
        <p:txBody>
          <a:bodyPr/>
          <a:lstStyle/>
          <a:p>
            <a:r>
              <a:rPr lang="en-US"/>
              <a:t>Click icon to add picture</a:t>
            </a:r>
            <a:endParaRPr lang="en-GB"/>
          </a:p>
        </p:txBody>
      </p:sp>
      <p:sp>
        <p:nvSpPr>
          <p:cNvPr id="20" name="NameJobTitlePractice_4" descr="PitchPerfect|Bio|NameJobTitlePractice_4">
            <a:extLst>
              <a:ext uri="{FF2B5EF4-FFF2-40B4-BE49-F238E27FC236}">
                <a16:creationId xmlns:a16="http://schemas.microsoft.com/office/drawing/2014/main" id="{A8A28BA4-0A38-42EA-9754-F3E46E2BA8C8}"/>
              </a:ext>
            </a:extLst>
          </p:cNvPr>
          <p:cNvSpPr>
            <a:spLocks noGrp="1"/>
          </p:cNvSpPr>
          <p:nvPr>
            <p:ph type="body" sz="quarter" idx="43" hasCustomPrompt="1"/>
          </p:nvPr>
        </p:nvSpPr>
        <p:spPr>
          <a:xfrm>
            <a:off x="6982351" y="232727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1" name="Headshot_5" descr="PitchPerfect|Bio|Headshot_5">
            <a:extLst>
              <a:ext uri="{FF2B5EF4-FFF2-40B4-BE49-F238E27FC236}">
                <a16:creationId xmlns:a16="http://schemas.microsoft.com/office/drawing/2014/main" id="{885A2906-65E4-4B7D-9197-4BD7963AF408}"/>
              </a:ext>
            </a:extLst>
          </p:cNvPr>
          <p:cNvSpPr>
            <a:spLocks noGrp="1" noChangeAspect="1"/>
          </p:cNvSpPr>
          <p:nvPr>
            <p:ph type="pic" sz="quarter" idx="44"/>
          </p:nvPr>
        </p:nvSpPr>
        <p:spPr>
          <a:xfrm>
            <a:off x="8748891" y="1484784"/>
            <a:ext cx="899040" cy="730800"/>
          </a:xfrm>
          <a:prstGeom prst="ellipse">
            <a:avLst/>
          </a:prstGeom>
        </p:spPr>
        <p:txBody>
          <a:bodyPr/>
          <a:lstStyle/>
          <a:p>
            <a:r>
              <a:rPr lang="en-US"/>
              <a:t>Click icon to add picture</a:t>
            </a:r>
            <a:endParaRPr lang="en-GB"/>
          </a:p>
        </p:txBody>
      </p:sp>
      <p:sp>
        <p:nvSpPr>
          <p:cNvPr id="22" name="NameJobTitlePractice_5" descr="PitchPerfect|Bio|NameJobTitlePractice_5">
            <a:extLst>
              <a:ext uri="{FF2B5EF4-FFF2-40B4-BE49-F238E27FC236}">
                <a16:creationId xmlns:a16="http://schemas.microsoft.com/office/drawing/2014/main" id="{F7C88138-8752-4ADC-AD9E-11A81DC5193D}"/>
              </a:ext>
            </a:extLst>
          </p:cNvPr>
          <p:cNvSpPr>
            <a:spLocks noGrp="1"/>
          </p:cNvSpPr>
          <p:nvPr>
            <p:ph type="body" sz="quarter" idx="45" hasCustomPrompt="1"/>
          </p:nvPr>
        </p:nvSpPr>
        <p:spPr>
          <a:xfrm>
            <a:off x="8533317" y="232727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3" name="Headshot_6" descr="PitchPerfect|Bio|Headshot_6">
            <a:extLst>
              <a:ext uri="{FF2B5EF4-FFF2-40B4-BE49-F238E27FC236}">
                <a16:creationId xmlns:a16="http://schemas.microsoft.com/office/drawing/2014/main" id="{0B66E247-C28B-4D54-9DA3-5AEE82704695}"/>
              </a:ext>
            </a:extLst>
          </p:cNvPr>
          <p:cNvSpPr>
            <a:spLocks noGrp="1" noChangeAspect="1"/>
          </p:cNvSpPr>
          <p:nvPr>
            <p:ph type="pic" sz="quarter" idx="46"/>
          </p:nvPr>
        </p:nvSpPr>
        <p:spPr>
          <a:xfrm>
            <a:off x="10299378" y="1484784"/>
            <a:ext cx="899040" cy="730800"/>
          </a:xfrm>
          <a:prstGeom prst="ellipse">
            <a:avLst/>
          </a:prstGeom>
        </p:spPr>
        <p:txBody>
          <a:bodyPr/>
          <a:lstStyle/>
          <a:p>
            <a:r>
              <a:rPr lang="en-US"/>
              <a:t>Click icon to add picture</a:t>
            </a:r>
            <a:endParaRPr lang="en-GB"/>
          </a:p>
        </p:txBody>
      </p:sp>
      <p:sp>
        <p:nvSpPr>
          <p:cNvPr id="24" name="NameJobTitlePractice_6" descr="PitchPerfect|Bio|NameJobTitlePractice_6">
            <a:extLst>
              <a:ext uri="{FF2B5EF4-FFF2-40B4-BE49-F238E27FC236}">
                <a16:creationId xmlns:a16="http://schemas.microsoft.com/office/drawing/2014/main" id="{3F6BE606-F00F-41C6-B8E6-10505F5066A8}"/>
              </a:ext>
            </a:extLst>
          </p:cNvPr>
          <p:cNvSpPr>
            <a:spLocks noGrp="1"/>
          </p:cNvSpPr>
          <p:nvPr>
            <p:ph type="body" sz="quarter" idx="47" hasCustomPrompt="1"/>
          </p:nvPr>
        </p:nvSpPr>
        <p:spPr>
          <a:xfrm>
            <a:off x="10084283" y="232727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5" name="Headshot_7" descr="PitchPerfect|Bio|Headshot_7">
            <a:extLst>
              <a:ext uri="{FF2B5EF4-FFF2-40B4-BE49-F238E27FC236}">
                <a16:creationId xmlns:a16="http://schemas.microsoft.com/office/drawing/2014/main" id="{573E3098-E623-414F-A7EB-7D6C0A4939DC}"/>
              </a:ext>
            </a:extLst>
          </p:cNvPr>
          <p:cNvSpPr>
            <a:spLocks noGrp="1" noChangeAspect="1"/>
          </p:cNvSpPr>
          <p:nvPr>
            <p:ph type="pic" sz="quarter" idx="48"/>
          </p:nvPr>
        </p:nvSpPr>
        <p:spPr>
          <a:xfrm>
            <a:off x="996448" y="3101064"/>
            <a:ext cx="899040" cy="730800"/>
          </a:xfrm>
          <a:prstGeom prst="ellipse">
            <a:avLst/>
          </a:prstGeom>
        </p:spPr>
        <p:txBody>
          <a:bodyPr/>
          <a:lstStyle/>
          <a:p>
            <a:r>
              <a:rPr lang="en-US"/>
              <a:t>Click icon to add picture</a:t>
            </a:r>
            <a:endParaRPr lang="en-GB" dirty="0"/>
          </a:p>
        </p:txBody>
      </p:sp>
      <p:sp>
        <p:nvSpPr>
          <p:cNvPr id="26" name="NameJobTitlePractice_7" descr="PitchPerfect|Bio|NameJobTitlePractice_7">
            <a:extLst>
              <a:ext uri="{FF2B5EF4-FFF2-40B4-BE49-F238E27FC236}">
                <a16:creationId xmlns:a16="http://schemas.microsoft.com/office/drawing/2014/main" id="{984B8552-6173-42DF-9AB2-02266E186D83}"/>
              </a:ext>
            </a:extLst>
          </p:cNvPr>
          <p:cNvSpPr>
            <a:spLocks noGrp="1"/>
          </p:cNvSpPr>
          <p:nvPr>
            <p:ph type="body" sz="quarter" idx="49" hasCustomPrompt="1"/>
          </p:nvPr>
        </p:nvSpPr>
        <p:spPr>
          <a:xfrm>
            <a:off x="781353" y="393894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7" name="Headshot_8" descr="PitchPerfect|Bio|Headshot_8">
            <a:extLst>
              <a:ext uri="{FF2B5EF4-FFF2-40B4-BE49-F238E27FC236}">
                <a16:creationId xmlns:a16="http://schemas.microsoft.com/office/drawing/2014/main" id="{C383C853-5DBA-4B1D-B5A8-00D1BB215E06}"/>
              </a:ext>
            </a:extLst>
          </p:cNvPr>
          <p:cNvSpPr>
            <a:spLocks noGrp="1" noChangeAspect="1"/>
          </p:cNvSpPr>
          <p:nvPr>
            <p:ph type="pic" sz="quarter" idx="50"/>
          </p:nvPr>
        </p:nvSpPr>
        <p:spPr>
          <a:xfrm>
            <a:off x="2546937" y="3101064"/>
            <a:ext cx="899040" cy="730800"/>
          </a:xfrm>
          <a:prstGeom prst="ellipse">
            <a:avLst/>
          </a:prstGeom>
        </p:spPr>
        <p:txBody>
          <a:bodyPr/>
          <a:lstStyle/>
          <a:p>
            <a:r>
              <a:rPr lang="en-US"/>
              <a:t>Click icon to add picture</a:t>
            </a:r>
            <a:endParaRPr lang="en-GB" dirty="0"/>
          </a:p>
        </p:txBody>
      </p:sp>
      <p:sp>
        <p:nvSpPr>
          <p:cNvPr id="28" name="NameJobTitlePractice_8" descr="PitchPerfect|Bio|NameJobTitlePractice_8">
            <a:extLst>
              <a:ext uri="{FF2B5EF4-FFF2-40B4-BE49-F238E27FC236}">
                <a16:creationId xmlns:a16="http://schemas.microsoft.com/office/drawing/2014/main" id="{6C4C57BD-DD69-462C-923B-7115668FFFBA}"/>
              </a:ext>
            </a:extLst>
          </p:cNvPr>
          <p:cNvSpPr>
            <a:spLocks noGrp="1"/>
          </p:cNvSpPr>
          <p:nvPr>
            <p:ph type="body" sz="quarter" idx="51" hasCustomPrompt="1"/>
          </p:nvPr>
        </p:nvSpPr>
        <p:spPr>
          <a:xfrm>
            <a:off x="2334230" y="393894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29" name="Headshot_9" descr="PitchPerfect|Bio|Headshot_9">
            <a:extLst>
              <a:ext uri="{FF2B5EF4-FFF2-40B4-BE49-F238E27FC236}">
                <a16:creationId xmlns:a16="http://schemas.microsoft.com/office/drawing/2014/main" id="{2DB78D46-9EE0-44D1-93D4-24091E19F657}"/>
              </a:ext>
            </a:extLst>
          </p:cNvPr>
          <p:cNvSpPr>
            <a:spLocks noGrp="1" noChangeAspect="1"/>
          </p:cNvSpPr>
          <p:nvPr>
            <p:ph type="pic" sz="quarter" idx="52"/>
          </p:nvPr>
        </p:nvSpPr>
        <p:spPr>
          <a:xfrm>
            <a:off x="4097425" y="3101064"/>
            <a:ext cx="899040" cy="730800"/>
          </a:xfrm>
          <a:prstGeom prst="ellipse">
            <a:avLst/>
          </a:prstGeom>
        </p:spPr>
        <p:txBody>
          <a:bodyPr/>
          <a:lstStyle/>
          <a:p>
            <a:r>
              <a:rPr lang="en-US"/>
              <a:t>Click icon to add picture</a:t>
            </a:r>
            <a:endParaRPr lang="en-GB"/>
          </a:p>
        </p:txBody>
      </p:sp>
      <p:sp>
        <p:nvSpPr>
          <p:cNvPr id="30" name="NameJobTitlePractice_9" descr="PitchPerfect|Bio|NameJobTitlePractice_9">
            <a:extLst>
              <a:ext uri="{FF2B5EF4-FFF2-40B4-BE49-F238E27FC236}">
                <a16:creationId xmlns:a16="http://schemas.microsoft.com/office/drawing/2014/main" id="{7B4ACB87-7FC7-4FA5-A574-E1F3593DB0E8}"/>
              </a:ext>
            </a:extLst>
          </p:cNvPr>
          <p:cNvSpPr>
            <a:spLocks noGrp="1"/>
          </p:cNvSpPr>
          <p:nvPr>
            <p:ph type="body" sz="quarter" idx="53" hasCustomPrompt="1"/>
          </p:nvPr>
        </p:nvSpPr>
        <p:spPr>
          <a:xfrm>
            <a:off x="3884241" y="393894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31" name="Headshot_10" descr="PitchPerfect|Bio|Headshot_10">
            <a:extLst>
              <a:ext uri="{FF2B5EF4-FFF2-40B4-BE49-F238E27FC236}">
                <a16:creationId xmlns:a16="http://schemas.microsoft.com/office/drawing/2014/main" id="{84E3E692-7C92-4757-BB34-203FAF5DE2F3}"/>
              </a:ext>
            </a:extLst>
          </p:cNvPr>
          <p:cNvSpPr>
            <a:spLocks noGrp="1" noChangeAspect="1"/>
          </p:cNvSpPr>
          <p:nvPr>
            <p:ph type="pic" sz="quarter" idx="54"/>
          </p:nvPr>
        </p:nvSpPr>
        <p:spPr>
          <a:xfrm>
            <a:off x="5647914" y="3101064"/>
            <a:ext cx="899040" cy="730800"/>
          </a:xfrm>
          <a:prstGeom prst="ellipse">
            <a:avLst/>
          </a:prstGeom>
        </p:spPr>
        <p:txBody>
          <a:bodyPr/>
          <a:lstStyle/>
          <a:p>
            <a:r>
              <a:rPr lang="en-US"/>
              <a:t>Click icon to add picture</a:t>
            </a:r>
            <a:endParaRPr lang="en-GB"/>
          </a:p>
        </p:txBody>
      </p:sp>
      <p:sp>
        <p:nvSpPr>
          <p:cNvPr id="32" name="NameJobTitlePractice_10" descr="PitchPerfect|Bio|NameJobTitlePractice_10">
            <a:extLst>
              <a:ext uri="{FF2B5EF4-FFF2-40B4-BE49-F238E27FC236}">
                <a16:creationId xmlns:a16="http://schemas.microsoft.com/office/drawing/2014/main" id="{D06B1C01-0851-4EF5-80CE-F37946FEB775}"/>
              </a:ext>
            </a:extLst>
          </p:cNvPr>
          <p:cNvSpPr>
            <a:spLocks noGrp="1"/>
          </p:cNvSpPr>
          <p:nvPr>
            <p:ph type="body" sz="quarter" idx="55" hasCustomPrompt="1"/>
          </p:nvPr>
        </p:nvSpPr>
        <p:spPr>
          <a:xfrm>
            <a:off x="5434252" y="393894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33" name="Headshot_11" descr="PitchPerfect|Bio|Headshot_11">
            <a:extLst>
              <a:ext uri="{FF2B5EF4-FFF2-40B4-BE49-F238E27FC236}">
                <a16:creationId xmlns:a16="http://schemas.microsoft.com/office/drawing/2014/main" id="{D75B096E-C39A-44EE-B9D1-C3328AC530EF}"/>
              </a:ext>
            </a:extLst>
          </p:cNvPr>
          <p:cNvSpPr>
            <a:spLocks noGrp="1" noChangeAspect="1"/>
          </p:cNvSpPr>
          <p:nvPr>
            <p:ph type="pic" sz="quarter" idx="56"/>
          </p:nvPr>
        </p:nvSpPr>
        <p:spPr>
          <a:xfrm>
            <a:off x="7198402" y="3101064"/>
            <a:ext cx="899040" cy="730800"/>
          </a:xfrm>
          <a:prstGeom prst="ellipse">
            <a:avLst/>
          </a:prstGeom>
        </p:spPr>
        <p:txBody>
          <a:bodyPr/>
          <a:lstStyle/>
          <a:p>
            <a:r>
              <a:rPr lang="en-US"/>
              <a:t>Click icon to add picture</a:t>
            </a:r>
            <a:endParaRPr lang="en-GB"/>
          </a:p>
        </p:txBody>
      </p:sp>
      <p:sp>
        <p:nvSpPr>
          <p:cNvPr id="34" name="NameJobTitlePractice_11" descr="PitchPerfect|Bio|NameJobTitlePractice_11">
            <a:extLst>
              <a:ext uri="{FF2B5EF4-FFF2-40B4-BE49-F238E27FC236}">
                <a16:creationId xmlns:a16="http://schemas.microsoft.com/office/drawing/2014/main" id="{7045FB77-6D96-4346-9348-8DFEE2FBC8F5}"/>
              </a:ext>
            </a:extLst>
          </p:cNvPr>
          <p:cNvSpPr>
            <a:spLocks noGrp="1"/>
          </p:cNvSpPr>
          <p:nvPr>
            <p:ph type="body" sz="quarter" idx="57" hasCustomPrompt="1"/>
          </p:nvPr>
        </p:nvSpPr>
        <p:spPr>
          <a:xfrm>
            <a:off x="6984263" y="393894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35" name="Headshot_12" descr="PitchPerfect|Bio|Headshot_12">
            <a:extLst>
              <a:ext uri="{FF2B5EF4-FFF2-40B4-BE49-F238E27FC236}">
                <a16:creationId xmlns:a16="http://schemas.microsoft.com/office/drawing/2014/main" id="{03252C24-889A-4451-94E8-8FD1FD1B949D}"/>
              </a:ext>
            </a:extLst>
          </p:cNvPr>
          <p:cNvSpPr>
            <a:spLocks noGrp="1" noChangeAspect="1"/>
          </p:cNvSpPr>
          <p:nvPr>
            <p:ph type="pic" sz="quarter" idx="58"/>
          </p:nvPr>
        </p:nvSpPr>
        <p:spPr>
          <a:xfrm>
            <a:off x="8748891" y="3101064"/>
            <a:ext cx="899040" cy="730800"/>
          </a:xfrm>
          <a:prstGeom prst="ellipse">
            <a:avLst/>
          </a:prstGeom>
        </p:spPr>
        <p:txBody>
          <a:bodyPr/>
          <a:lstStyle/>
          <a:p>
            <a:r>
              <a:rPr lang="en-US"/>
              <a:t>Click icon to add picture</a:t>
            </a:r>
            <a:endParaRPr lang="en-GB"/>
          </a:p>
        </p:txBody>
      </p:sp>
      <p:sp>
        <p:nvSpPr>
          <p:cNvPr id="36" name="NameJobTitlePractice_12" descr="PitchPerfect|Bio|NameJobTitlePractice_12">
            <a:extLst>
              <a:ext uri="{FF2B5EF4-FFF2-40B4-BE49-F238E27FC236}">
                <a16:creationId xmlns:a16="http://schemas.microsoft.com/office/drawing/2014/main" id="{2347C865-60F8-47B4-BC32-A1865584B433}"/>
              </a:ext>
            </a:extLst>
          </p:cNvPr>
          <p:cNvSpPr>
            <a:spLocks noGrp="1"/>
          </p:cNvSpPr>
          <p:nvPr>
            <p:ph type="body" sz="quarter" idx="59" hasCustomPrompt="1"/>
          </p:nvPr>
        </p:nvSpPr>
        <p:spPr>
          <a:xfrm>
            <a:off x="8534274" y="393894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37" name="Headshot_13" descr="PitchPerfect|Bio|Headshot_13">
            <a:extLst>
              <a:ext uri="{FF2B5EF4-FFF2-40B4-BE49-F238E27FC236}">
                <a16:creationId xmlns:a16="http://schemas.microsoft.com/office/drawing/2014/main" id="{EEB87875-DDCF-4DE6-95F6-7351F8089F20}"/>
              </a:ext>
            </a:extLst>
          </p:cNvPr>
          <p:cNvSpPr>
            <a:spLocks noGrp="1" noChangeAspect="1"/>
          </p:cNvSpPr>
          <p:nvPr>
            <p:ph type="pic" sz="quarter" idx="60"/>
          </p:nvPr>
        </p:nvSpPr>
        <p:spPr>
          <a:xfrm>
            <a:off x="10299378" y="3101064"/>
            <a:ext cx="899040" cy="730800"/>
          </a:xfrm>
          <a:prstGeom prst="ellipse">
            <a:avLst/>
          </a:prstGeom>
        </p:spPr>
        <p:txBody>
          <a:bodyPr/>
          <a:lstStyle/>
          <a:p>
            <a:r>
              <a:rPr lang="en-US"/>
              <a:t>Click icon to add picture</a:t>
            </a:r>
            <a:endParaRPr lang="en-GB"/>
          </a:p>
        </p:txBody>
      </p:sp>
      <p:sp>
        <p:nvSpPr>
          <p:cNvPr id="38" name="NameJobTitlePractice_13" descr="PitchPerfect|Bio|NameJobTitlePractice_13">
            <a:extLst>
              <a:ext uri="{FF2B5EF4-FFF2-40B4-BE49-F238E27FC236}">
                <a16:creationId xmlns:a16="http://schemas.microsoft.com/office/drawing/2014/main" id="{3F2CBF57-5C15-493E-9EAA-AB41A205F305}"/>
              </a:ext>
            </a:extLst>
          </p:cNvPr>
          <p:cNvSpPr>
            <a:spLocks noGrp="1"/>
          </p:cNvSpPr>
          <p:nvPr>
            <p:ph type="body" sz="quarter" idx="61" hasCustomPrompt="1"/>
          </p:nvPr>
        </p:nvSpPr>
        <p:spPr>
          <a:xfrm>
            <a:off x="10084283" y="3938944"/>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47" name="OrgChartHeading" descr="PitchPerfect|Bio|OrgChartHeading">
            <a:extLst>
              <a:ext uri="{FF2B5EF4-FFF2-40B4-BE49-F238E27FC236}">
                <a16:creationId xmlns:a16="http://schemas.microsoft.com/office/drawing/2014/main" id="{65DDD91D-AE1B-42A1-ACB3-30D17D9B4C65}"/>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39" name="Headshot_14" descr="PitchPerfect|Bio|Headshot_14">
            <a:extLst>
              <a:ext uri="{FF2B5EF4-FFF2-40B4-BE49-F238E27FC236}">
                <a16:creationId xmlns:a16="http://schemas.microsoft.com/office/drawing/2014/main" id="{8924ADAA-E382-4CCD-9BE2-074352B825E9}"/>
              </a:ext>
            </a:extLst>
          </p:cNvPr>
          <p:cNvSpPr>
            <a:spLocks noGrp="1" noChangeAspect="1"/>
          </p:cNvSpPr>
          <p:nvPr>
            <p:ph type="pic" sz="quarter" idx="62"/>
          </p:nvPr>
        </p:nvSpPr>
        <p:spPr>
          <a:xfrm>
            <a:off x="996448" y="4706346"/>
            <a:ext cx="899040" cy="730800"/>
          </a:xfrm>
          <a:prstGeom prst="ellipse">
            <a:avLst/>
          </a:prstGeom>
        </p:spPr>
        <p:txBody>
          <a:bodyPr/>
          <a:lstStyle/>
          <a:p>
            <a:r>
              <a:rPr lang="en-US"/>
              <a:t>Click icon to add picture</a:t>
            </a:r>
            <a:endParaRPr lang="en-GB"/>
          </a:p>
        </p:txBody>
      </p:sp>
      <p:sp>
        <p:nvSpPr>
          <p:cNvPr id="40" name="NameJobTitlePractice_14" descr="PitchPerfect|Bio|NameJobTitlePractice_14">
            <a:extLst>
              <a:ext uri="{FF2B5EF4-FFF2-40B4-BE49-F238E27FC236}">
                <a16:creationId xmlns:a16="http://schemas.microsoft.com/office/drawing/2014/main" id="{66E9394F-F5BE-4461-8D96-EA664CE96FAC}"/>
              </a:ext>
            </a:extLst>
          </p:cNvPr>
          <p:cNvSpPr>
            <a:spLocks noGrp="1"/>
          </p:cNvSpPr>
          <p:nvPr>
            <p:ph type="body" sz="quarter" idx="63" hasCustomPrompt="1"/>
          </p:nvPr>
        </p:nvSpPr>
        <p:spPr>
          <a:xfrm>
            <a:off x="781353" y="554883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41" name="Headshot_15" descr="PitchPerfect|Bio|Headshot_15">
            <a:extLst>
              <a:ext uri="{FF2B5EF4-FFF2-40B4-BE49-F238E27FC236}">
                <a16:creationId xmlns:a16="http://schemas.microsoft.com/office/drawing/2014/main" id="{9B902262-328C-4EDF-93E8-C1BF6C352BAB}"/>
              </a:ext>
            </a:extLst>
          </p:cNvPr>
          <p:cNvSpPr>
            <a:spLocks noGrp="1" noChangeAspect="1"/>
          </p:cNvSpPr>
          <p:nvPr>
            <p:ph type="pic" sz="quarter" idx="64"/>
          </p:nvPr>
        </p:nvSpPr>
        <p:spPr>
          <a:xfrm>
            <a:off x="2546937" y="4706346"/>
            <a:ext cx="899040" cy="730800"/>
          </a:xfrm>
          <a:prstGeom prst="ellipse">
            <a:avLst/>
          </a:prstGeom>
        </p:spPr>
        <p:txBody>
          <a:bodyPr/>
          <a:lstStyle/>
          <a:p>
            <a:r>
              <a:rPr lang="en-US"/>
              <a:t>Click icon to add picture</a:t>
            </a:r>
            <a:endParaRPr lang="en-GB"/>
          </a:p>
        </p:txBody>
      </p:sp>
      <p:sp>
        <p:nvSpPr>
          <p:cNvPr id="42" name="NameJobTitlePractice_15" descr="PitchPerfect|Bio|NameJobTitlePractice_15">
            <a:extLst>
              <a:ext uri="{FF2B5EF4-FFF2-40B4-BE49-F238E27FC236}">
                <a16:creationId xmlns:a16="http://schemas.microsoft.com/office/drawing/2014/main" id="{A866DD1D-5046-47C1-9A33-D0EB4F2CBAEE}"/>
              </a:ext>
            </a:extLst>
          </p:cNvPr>
          <p:cNvSpPr>
            <a:spLocks noGrp="1"/>
          </p:cNvSpPr>
          <p:nvPr>
            <p:ph type="body" sz="quarter" idx="65" hasCustomPrompt="1"/>
          </p:nvPr>
        </p:nvSpPr>
        <p:spPr>
          <a:xfrm>
            <a:off x="2334230" y="554883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44" name="Headshot_16" descr="PitchPerfect|Bio|Headshot_16">
            <a:extLst>
              <a:ext uri="{FF2B5EF4-FFF2-40B4-BE49-F238E27FC236}">
                <a16:creationId xmlns:a16="http://schemas.microsoft.com/office/drawing/2014/main" id="{72DC1817-3FDA-4E28-8E9C-F4C5C39277E3}"/>
              </a:ext>
            </a:extLst>
          </p:cNvPr>
          <p:cNvSpPr>
            <a:spLocks noGrp="1" noChangeAspect="1"/>
          </p:cNvSpPr>
          <p:nvPr>
            <p:ph type="pic" sz="quarter" idx="66"/>
          </p:nvPr>
        </p:nvSpPr>
        <p:spPr>
          <a:xfrm>
            <a:off x="4097425" y="4706346"/>
            <a:ext cx="899040" cy="730800"/>
          </a:xfrm>
          <a:prstGeom prst="ellipse">
            <a:avLst/>
          </a:prstGeom>
        </p:spPr>
        <p:txBody>
          <a:bodyPr/>
          <a:lstStyle/>
          <a:p>
            <a:r>
              <a:rPr lang="en-US"/>
              <a:t>Click icon to add picture</a:t>
            </a:r>
            <a:endParaRPr lang="en-GB"/>
          </a:p>
        </p:txBody>
      </p:sp>
      <p:sp>
        <p:nvSpPr>
          <p:cNvPr id="45" name="NameJobTitlePractice_16" descr="PitchPerfect|Bio|NameJobTitlePractice_16">
            <a:extLst>
              <a:ext uri="{FF2B5EF4-FFF2-40B4-BE49-F238E27FC236}">
                <a16:creationId xmlns:a16="http://schemas.microsoft.com/office/drawing/2014/main" id="{ECDF60B5-3159-423F-AF67-2918103F9D85}"/>
              </a:ext>
            </a:extLst>
          </p:cNvPr>
          <p:cNvSpPr>
            <a:spLocks noGrp="1"/>
          </p:cNvSpPr>
          <p:nvPr>
            <p:ph type="body" sz="quarter" idx="67" hasCustomPrompt="1"/>
          </p:nvPr>
        </p:nvSpPr>
        <p:spPr>
          <a:xfrm>
            <a:off x="3884241" y="554883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46" name="Headshot_17" descr="PitchPerfect|Bio|Headshot_17">
            <a:extLst>
              <a:ext uri="{FF2B5EF4-FFF2-40B4-BE49-F238E27FC236}">
                <a16:creationId xmlns:a16="http://schemas.microsoft.com/office/drawing/2014/main" id="{8FC1654D-3848-4621-9DD2-6ECAF9F886AE}"/>
              </a:ext>
            </a:extLst>
          </p:cNvPr>
          <p:cNvSpPr>
            <a:spLocks noGrp="1" noChangeAspect="1"/>
          </p:cNvSpPr>
          <p:nvPr>
            <p:ph type="pic" sz="quarter" idx="68"/>
          </p:nvPr>
        </p:nvSpPr>
        <p:spPr>
          <a:xfrm>
            <a:off x="5647914" y="4706346"/>
            <a:ext cx="899040" cy="730800"/>
          </a:xfrm>
          <a:prstGeom prst="ellipse">
            <a:avLst/>
          </a:prstGeom>
        </p:spPr>
        <p:txBody>
          <a:bodyPr/>
          <a:lstStyle/>
          <a:p>
            <a:r>
              <a:rPr lang="en-US"/>
              <a:t>Click icon to add picture</a:t>
            </a:r>
            <a:endParaRPr lang="en-GB"/>
          </a:p>
        </p:txBody>
      </p:sp>
      <p:sp>
        <p:nvSpPr>
          <p:cNvPr id="48" name="NameJobTitlePractice_17" descr="PitchPerfect|Bio|NameJobTitlePractice_17">
            <a:extLst>
              <a:ext uri="{FF2B5EF4-FFF2-40B4-BE49-F238E27FC236}">
                <a16:creationId xmlns:a16="http://schemas.microsoft.com/office/drawing/2014/main" id="{252DD94B-8468-4B4E-B4EF-665D855BF475}"/>
              </a:ext>
            </a:extLst>
          </p:cNvPr>
          <p:cNvSpPr>
            <a:spLocks noGrp="1"/>
          </p:cNvSpPr>
          <p:nvPr>
            <p:ph type="body" sz="quarter" idx="69" hasCustomPrompt="1"/>
          </p:nvPr>
        </p:nvSpPr>
        <p:spPr>
          <a:xfrm>
            <a:off x="5434252" y="554883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49" name="Headshot_18" descr="PitchPerfect|Bio|Headshot_18">
            <a:extLst>
              <a:ext uri="{FF2B5EF4-FFF2-40B4-BE49-F238E27FC236}">
                <a16:creationId xmlns:a16="http://schemas.microsoft.com/office/drawing/2014/main" id="{F757DF51-A4D9-4529-9D89-0A64BCAA0E7A}"/>
              </a:ext>
            </a:extLst>
          </p:cNvPr>
          <p:cNvSpPr>
            <a:spLocks noGrp="1" noChangeAspect="1"/>
          </p:cNvSpPr>
          <p:nvPr>
            <p:ph type="pic" sz="quarter" idx="70"/>
          </p:nvPr>
        </p:nvSpPr>
        <p:spPr>
          <a:xfrm>
            <a:off x="7198402" y="4706346"/>
            <a:ext cx="899040" cy="730800"/>
          </a:xfrm>
          <a:prstGeom prst="ellipse">
            <a:avLst/>
          </a:prstGeom>
        </p:spPr>
        <p:txBody>
          <a:bodyPr/>
          <a:lstStyle/>
          <a:p>
            <a:r>
              <a:rPr lang="en-US"/>
              <a:t>Click icon to add picture</a:t>
            </a:r>
            <a:endParaRPr lang="en-GB"/>
          </a:p>
        </p:txBody>
      </p:sp>
      <p:sp>
        <p:nvSpPr>
          <p:cNvPr id="50" name="NameJobTitlePractice_18" descr="PitchPerfect|Bio|NameJobTitlePractice_18">
            <a:extLst>
              <a:ext uri="{FF2B5EF4-FFF2-40B4-BE49-F238E27FC236}">
                <a16:creationId xmlns:a16="http://schemas.microsoft.com/office/drawing/2014/main" id="{91DEB604-4EB5-43BB-983E-18A9C2DE6E79}"/>
              </a:ext>
            </a:extLst>
          </p:cNvPr>
          <p:cNvSpPr>
            <a:spLocks noGrp="1"/>
          </p:cNvSpPr>
          <p:nvPr>
            <p:ph type="body" sz="quarter" idx="71" hasCustomPrompt="1"/>
          </p:nvPr>
        </p:nvSpPr>
        <p:spPr>
          <a:xfrm>
            <a:off x="6984263" y="554883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51" name="Headshot_19" descr="PitchPerfect|Bio|Headshot_19">
            <a:extLst>
              <a:ext uri="{FF2B5EF4-FFF2-40B4-BE49-F238E27FC236}">
                <a16:creationId xmlns:a16="http://schemas.microsoft.com/office/drawing/2014/main" id="{9BFEA4E5-0B43-43A4-B718-3D8DF9A10284}"/>
              </a:ext>
            </a:extLst>
          </p:cNvPr>
          <p:cNvSpPr>
            <a:spLocks noGrp="1" noChangeAspect="1"/>
          </p:cNvSpPr>
          <p:nvPr>
            <p:ph type="pic" sz="quarter" idx="72"/>
          </p:nvPr>
        </p:nvSpPr>
        <p:spPr>
          <a:xfrm>
            <a:off x="8748891" y="4706346"/>
            <a:ext cx="899040" cy="730800"/>
          </a:xfrm>
          <a:prstGeom prst="ellipse">
            <a:avLst/>
          </a:prstGeom>
        </p:spPr>
        <p:txBody>
          <a:bodyPr/>
          <a:lstStyle/>
          <a:p>
            <a:r>
              <a:rPr lang="en-US"/>
              <a:t>Click icon to add picture</a:t>
            </a:r>
            <a:endParaRPr lang="en-GB"/>
          </a:p>
        </p:txBody>
      </p:sp>
      <p:sp>
        <p:nvSpPr>
          <p:cNvPr id="52" name="NameJobTitlePractice_19" descr="PitchPerfect|Bio|NameJobTitlePractice_19">
            <a:extLst>
              <a:ext uri="{FF2B5EF4-FFF2-40B4-BE49-F238E27FC236}">
                <a16:creationId xmlns:a16="http://schemas.microsoft.com/office/drawing/2014/main" id="{A5C1638E-304B-4162-BAB5-C13C26EE0BE7}"/>
              </a:ext>
            </a:extLst>
          </p:cNvPr>
          <p:cNvSpPr>
            <a:spLocks noGrp="1"/>
          </p:cNvSpPr>
          <p:nvPr>
            <p:ph type="body" sz="quarter" idx="73" hasCustomPrompt="1"/>
          </p:nvPr>
        </p:nvSpPr>
        <p:spPr>
          <a:xfrm>
            <a:off x="8534274" y="554883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
        <p:nvSpPr>
          <p:cNvPr id="53" name="Headshot_20" descr="PitchPerfect|Bio|Headshot_20">
            <a:extLst>
              <a:ext uri="{FF2B5EF4-FFF2-40B4-BE49-F238E27FC236}">
                <a16:creationId xmlns:a16="http://schemas.microsoft.com/office/drawing/2014/main" id="{F71A2CE9-199D-4DC3-81E7-CC68B509FFAB}"/>
              </a:ext>
            </a:extLst>
          </p:cNvPr>
          <p:cNvSpPr>
            <a:spLocks noGrp="1" noChangeAspect="1"/>
          </p:cNvSpPr>
          <p:nvPr>
            <p:ph type="pic" sz="quarter" idx="74"/>
          </p:nvPr>
        </p:nvSpPr>
        <p:spPr>
          <a:xfrm>
            <a:off x="10299378" y="4706346"/>
            <a:ext cx="899040" cy="730800"/>
          </a:xfrm>
          <a:prstGeom prst="ellipse">
            <a:avLst/>
          </a:prstGeom>
        </p:spPr>
        <p:txBody>
          <a:bodyPr/>
          <a:lstStyle/>
          <a:p>
            <a:r>
              <a:rPr lang="en-US"/>
              <a:t>Click icon to add picture</a:t>
            </a:r>
            <a:endParaRPr lang="en-GB"/>
          </a:p>
        </p:txBody>
      </p:sp>
      <p:sp>
        <p:nvSpPr>
          <p:cNvPr id="54" name="NameJobTitlePractice_20" descr="PitchPerfect|Bio|NameJobTitlePractice_20">
            <a:extLst>
              <a:ext uri="{FF2B5EF4-FFF2-40B4-BE49-F238E27FC236}">
                <a16:creationId xmlns:a16="http://schemas.microsoft.com/office/drawing/2014/main" id="{3050377F-B953-49C6-B407-53ABD660A208}"/>
              </a:ext>
            </a:extLst>
          </p:cNvPr>
          <p:cNvSpPr>
            <a:spLocks noGrp="1"/>
          </p:cNvSpPr>
          <p:nvPr>
            <p:ph type="body" sz="quarter" idx="75" hasCustomPrompt="1"/>
          </p:nvPr>
        </p:nvSpPr>
        <p:spPr>
          <a:xfrm>
            <a:off x="10084283" y="5548836"/>
            <a:ext cx="1329231" cy="587284"/>
          </a:xfrm>
          <a:solidFill>
            <a:schemeClr val="bg1"/>
          </a:solidFill>
        </p:spPr>
        <p:txBody>
          <a:bodyPr/>
          <a:lstStyle>
            <a:lvl1pPr algn="ctr">
              <a:defRPr sz="800" b="1">
                <a:solidFill>
                  <a:srgbClr val="000000"/>
                </a:solidFill>
                <a:latin typeface="Corporate S" pitchFamily="50" charset="0"/>
              </a:defRPr>
            </a:lvl1pPr>
            <a:lvl2pPr marL="0" indent="0" algn="ctr">
              <a:defRPr sz="800">
                <a:solidFill>
                  <a:schemeClr val="tx1"/>
                </a:solidFill>
              </a:defRPr>
            </a:lvl2pPr>
          </a:lstStyle>
          <a:p>
            <a:pPr lvl="0"/>
            <a:r>
              <a:rPr lang="en-US" dirty="0"/>
              <a:t>Name</a:t>
            </a:r>
          </a:p>
          <a:p>
            <a:pPr lvl="1"/>
            <a:r>
              <a:rPr lang="en-US" dirty="0"/>
              <a:t>Second level</a:t>
            </a:r>
          </a:p>
        </p:txBody>
      </p:sp>
    </p:spTree>
    <p:extLst>
      <p:ext uri="{BB962C8B-B14F-4D97-AF65-F5344CB8AC3E}">
        <p14:creationId xmlns:p14="http://schemas.microsoft.com/office/powerpoint/2010/main" val="117777297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ur Value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6575ED5-8E41-442F-83D7-D1D9B6B55C80}"/>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7" name="Picture Placeholder 6">
            <a:extLst>
              <a:ext uri="{FF2B5EF4-FFF2-40B4-BE49-F238E27FC236}">
                <a16:creationId xmlns:a16="http://schemas.microsoft.com/office/drawing/2014/main" id="{110E1925-79F3-4B65-9CD0-8996DEA35393}"/>
              </a:ext>
            </a:extLst>
          </p:cNvPr>
          <p:cNvSpPr>
            <a:spLocks noGrp="1" noChangeAspect="1"/>
          </p:cNvSpPr>
          <p:nvPr>
            <p:ph type="pic" sz="quarter" idx="13"/>
          </p:nvPr>
        </p:nvSpPr>
        <p:spPr>
          <a:xfrm>
            <a:off x="777632" y="1844824"/>
            <a:ext cx="1550769" cy="1260000"/>
          </a:xfrm>
          <a:prstGeom prst="ellipse">
            <a:avLst/>
          </a:prstGeom>
        </p:spPr>
        <p:txBody>
          <a:bodyPr/>
          <a:lstStyle/>
          <a:p>
            <a:r>
              <a:rPr lang="en-US"/>
              <a:t>Click icon to add picture</a:t>
            </a:r>
            <a:endParaRPr lang="en-GB"/>
          </a:p>
        </p:txBody>
      </p:sp>
      <p:sp>
        <p:nvSpPr>
          <p:cNvPr id="9" name="Text Placeholder 8">
            <a:extLst>
              <a:ext uri="{FF2B5EF4-FFF2-40B4-BE49-F238E27FC236}">
                <a16:creationId xmlns:a16="http://schemas.microsoft.com/office/drawing/2014/main" id="{B650BD63-2CC5-48A6-9165-704D84934633}"/>
              </a:ext>
            </a:extLst>
          </p:cNvPr>
          <p:cNvSpPr>
            <a:spLocks noGrp="1"/>
          </p:cNvSpPr>
          <p:nvPr>
            <p:ph type="body" sz="quarter" idx="14"/>
          </p:nvPr>
        </p:nvSpPr>
        <p:spPr>
          <a:xfrm>
            <a:off x="777632" y="3340594"/>
            <a:ext cx="1550769" cy="884720"/>
          </a:xfrm>
          <a:prstGeom prst="rect">
            <a:avLst/>
          </a:prstGeom>
        </p:spPr>
        <p:txBody>
          <a:bodyPr/>
          <a:lstStyle>
            <a:lvl1pPr algn="ctr">
              <a:lnSpc>
                <a:spcPct val="100000"/>
              </a:lnSpc>
              <a:spcAft>
                <a:spcPts val="400"/>
              </a:spcAft>
              <a:defRPr sz="1500" b="0" cap="none" baseline="0"/>
            </a:lvl1pPr>
            <a:lvl2pPr algn="ctr">
              <a:lnSpc>
                <a:spcPct val="100000"/>
              </a:lnSpc>
              <a:defRPr sz="1000">
                <a:solidFill>
                  <a:schemeClr val="tx1"/>
                </a:solidFill>
              </a:defRPr>
            </a:lvl2pPr>
            <a:lvl3pPr marL="0" indent="0">
              <a:buNone/>
              <a:defRPr/>
            </a:lvl3pPr>
          </a:lstStyle>
          <a:p>
            <a:pPr lvl="0"/>
            <a:r>
              <a:rPr lang="en-US"/>
              <a:t>Edit Master text styles</a:t>
            </a:r>
          </a:p>
          <a:p>
            <a:pPr lvl="1"/>
            <a:r>
              <a:rPr lang="en-US"/>
              <a:t>Second level</a:t>
            </a:r>
          </a:p>
        </p:txBody>
      </p:sp>
      <p:sp>
        <p:nvSpPr>
          <p:cNvPr id="10" name="Text Placeholder 15">
            <a:extLst>
              <a:ext uri="{FF2B5EF4-FFF2-40B4-BE49-F238E27FC236}">
                <a16:creationId xmlns:a16="http://schemas.microsoft.com/office/drawing/2014/main" id="{5759F196-EE73-48D7-9683-CC82044DE3F6}"/>
              </a:ext>
            </a:extLst>
          </p:cNvPr>
          <p:cNvSpPr>
            <a:spLocks noGrp="1"/>
          </p:cNvSpPr>
          <p:nvPr>
            <p:ph type="body" sz="quarter" idx="21"/>
          </p:nvPr>
        </p:nvSpPr>
        <p:spPr>
          <a:xfrm>
            <a:off x="778486" y="4797152"/>
            <a:ext cx="10636738" cy="1271778"/>
          </a:xfrm>
          <a:prstGeom prst="rect">
            <a:avLst/>
          </a:prstGeom>
        </p:spPr>
        <p:txBody>
          <a:bodyPr numCol="2" spcCol="360000"/>
          <a:lstStyle>
            <a:lvl1pPr>
              <a:lnSpc>
                <a:spcPct val="100000"/>
              </a:lnSpc>
              <a:defRPr sz="1100" b="0">
                <a:solidFill>
                  <a:schemeClr val="tx1"/>
                </a:solidFill>
                <a:latin typeface="+mn-lt"/>
              </a:defRPr>
            </a:lvl1pPr>
          </a:lstStyle>
          <a:p>
            <a:pPr lvl="0"/>
            <a:r>
              <a:rPr lang="en-US"/>
              <a:t>Edit Master text styles</a:t>
            </a:r>
          </a:p>
        </p:txBody>
      </p:sp>
      <p:sp>
        <p:nvSpPr>
          <p:cNvPr id="11" name="Picture Placeholder 6">
            <a:extLst>
              <a:ext uri="{FF2B5EF4-FFF2-40B4-BE49-F238E27FC236}">
                <a16:creationId xmlns:a16="http://schemas.microsoft.com/office/drawing/2014/main" id="{9F876B8B-C7A7-410E-98EA-CC00ACCCA499}"/>
              </a:ext>
            </a:extLst>
          </p:cNvPr>
          <p:cNvSpPr>
            <a:spLocks noGrp="1" noChangeAspect="1"/>
          </p:cNvSpPr>
          <p:nvPr>
            <p:ph type="pic" sz="quarter" idx="22"/>
          </p:nvPr>
        </p:nvSpPr>
        <p:spPr>
          <a:xfrm>
            <a:off x="3049124" y="1844824"/>
            <a:ext cx="1550769" cy="1260000"/>
          </a:xfrm>
          <a:prstGeom prst="ellipse">
            <a:avLst/>
          </a:prstGeom>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D9054533-06A4-4805-BDD0-B9C618EEF5D1}"/>
              </a:ext>
            </a:extLst>
          </p:cNvPr>
          <p:cNvSpPr>
            <a:spLocks noGrp="1" noChangeAspect="1"/>
          </p:cNvSpPr>
          <p:nvPr>
            <p:ph type="pic" sz="quarter" idx="23"/>
          </p:nvPr>
        </p:nvSpPr>
        <p:spPr>
          <a:xfrm>
            <a:off x="5320616" y="1844824"/>
            <a:ext cx="1550769" cy="1260000"/>
          </a:xfrm>
          <a:prstGeom prst="ellipse">
            <a:avLst/>
          </a:prstGeom>
        </p:spPr>
        <p:txBody>
          <a:bodyPr/>
          <a:lstStyle/>
          <a:p>
            <a:r>
              <a:rPr lang="en-US"/>
              <a:t>Click icon to add picture</a:t>
            </a:r>
            <a:endParaRPr lang="en-GB"/>
          </a:p>
        </p:txBody>
      </p:sp>
      <p:sp>
        <p:nvSpPr>
          <p:cNvPr id="13" name="Picture Placeholder 6">
            <a:extLst>
              <a:ext uri="{FF2B5EF4-FFF2-40B4-BE49-F238E27FC236}">
                <a16:creationId xmlns:a16="http://schemas.microsoft.com/office/drawing/2014/main" id="{9E0545EE-D46E-46EB-BA69-CBA93A169D47}"/>
              </a:ext>
            </a:extLst>
          </p:cNvPr>
          <p:cNvSpPr>
            <a:spLocks noGrp="1" noChangeAspect="1"/>
          </p:cNvSpPr>
          <p:nvPr>
            <p:ph type="pic" sz="quarter" idx="24"/>
          </p:nvPr>
        </p:nvSpPr>
        <p:spPr>
          <a:xfrm>
            <a:off x="7592107" y="1844824"/>
            <a:ext cx="1550769" cy="1260000"/>
          </a:xfrm>
          <a:prstGeom prst="ellipse">
            <a:avLst/>
          </a:prstGeom>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F13EBC6D-9696-4130-BAB0-C99043E1F2B6}"/>
              </a:ext>
            </a:extLst>
          </p:cNvPr>
          <p:cNvSpPr>
            <a:spLocks noGrp="1" noChangeAspect="1"/>
          </p:cNvSpPr>
          <p:nvPr>
            <p:ph type="pic" sz="quarter" idx="25"/>
          </p:nvPr>
        </p:nvSpPr>
        <p:spPr>
          <a:xfrm>
            <a:off x="9863601" y="1844824"/>
            <a:ext cx="1550769" cy="1260000"/>
          </a:xfrm>
          <a:prstGeom prst="ellipse">
            <a:avLst/>
          </a:prstGeom>
        </p:spPr>
        <p:txBody>
          <a:bodyPr/>
          <a:lstStyle/>
          <a:p>
            <a:r>
              <a:rPr lang="en-US"/>
              <a:t>Click icon to add picture</a:t>
            </a:r>
            <a:endParaRPr lang="en-GB"/>
          </a:p>
        </p:txBody>
      </p:sp>
      <p:sp>
        <p:nvSpPr>
          <p:cNvPr id="15" name="Text Placeholder 8">
            <a:extLst>
              <a:ext uri="{FF2B5EF4-FFF2-40B4-BE49-F238E27FC236}">
                <a16:creationId xmlns:a16="http://schemas.microsoft.com/office/drawing/2014/main" id="{EA33F32E-488F-4658-A283-6CD59E73A209}"/>
              </a:ext>
            </a:extLst>
          </p:cNvPr>
          <p:cNvSpPr>
            <a:spLocks noGrp="1"/>
          </p:cNvSpPr>
          <p:nvPr>
            <p:ph type="body" sz="quarter" idx="26"/>
          </p:nvPr>
        </p:nvSpPr>
        <p:spPr>
          <a:xfrm>
            <a:off x="3049125" y="3340594"/>
            <a:ext cx="1550769" cy="884720"/>
          </a:xfrm>
          <a:prstGeom prst="rect">
            <a:avLst/>
          </a:prstGeom>
        </p:spPr>
        <p:txBody>
          <a:bodyPr/>
          <a:lstStyle>
            <a:lvl1pPr algn="ctr">
              <a:lnSpc>
                <a:spcPct val="100000"/>
              </a:lnSpc>
              <a:spcAft>
                <a:spcPts val="400"/>
              </a:spcAft>
              <a:defRPr sz="1500" b="0" cap="none" baseline="0"/>
            </a:lvl1pPr>
            <a:lvl2pPr algn="ctr">
              <a:lnSpc>
                <a:spcPct val="100000"/>
              </a:lnSpc>
              <a:defRPr sz="1000"/>
            </a:lvl2pPr>
            <a:lvl3pPr marL="0" indent="0">
              <a:buNone/>
              <a:defRPr/>
            </a:lvl3pPr>
          </a:lstStyle>
          <a:p>
            <a:pPr lvl="0"/>
            <a:r>
              <a:rPr lang="en-US"/>
              <a:t>Edit Master text styles</a:t>
            </a:r>
          </a:p>
          <a:p>
            <a:pPr lvl="1"/>
            <a:r>
              <a:rPr lang="en-US"/>
              <a:t>Second level</a:t>
            </a:r>
          </a:p>
        </p:txBody>
      </p:sp>
      <p:sp>
        <p:nvSpPr>
          <p:cNvPr id="16" name="Text Placeholder 8">
            <a:extLst>
              <a:ext uri="{FF2B5EF4-FFF2-40B4-BE49-F238E27FC236}">
                <a16:creationId xmlns:a16="http://schemas.microsoft.com/office/drawing/2014/main" id="{5A46E092-A68B-40FB-93DB-BD0D32780D44}"/>
              </a:ext>
            </a:extLst>
          </p:cNvPr>
          <p:cNvSpPr>
            <a:spLocks noGrp="1"/>
          </p:cNvSpPr>
          <p:nvPr>
            <p:ph type="body" sz="quarter" idx="27"/>
          </p:nvPr>
        </p:nvSpPr>
        <p:spPr>
          <a:xfrm>
            <a:off x="5320618" y="3340594"/>
            <a:ext cx="1550769" cy="884720"/>
          </a:xfrm>
          <a:prstGeom prst="rect">
            <a:avLst/>
          </a:prstGeom>
        </p:spPr>
        <p:txBody>
          <a:bodyPr/>
          <a:lstStyle>
            <a:lvl1pPr algn="ctr">
              <a:lnSpc>
                <a:spcPct val="100000"/>
              </a:lnSpc>
              <a:spcAft>
                <a:spcPts val="400"/>
              </a:spcAft>
              <a:defRPr sz="1500" b="0" cap="none" baseline="0"/>
            </a:lvl1pPr>
            <a:lvl2pPr algn="ctr">
              <a:lnSpc>
                <a:spcPct val="100000"/>
              </a:lnSpc>
              <a:defRPr sz="1000"/>
            </a:lvl2pPr>
            <a:lvl3pPr marL="0" indent="0">
              <a:buNone/>
              <a:defRPr/>
            </a:lvl3pPr>
          </a:lstStyle>
          <a:p>
            <a:pPr lvl="0"/>
            <a:r>
              <a:rPr lang="en-US"/>
              <a:t>Edit Master text styles</a:t>
            </a:r>
          </a:p>
          <a:p>
            <a:pPr lvl="1"/>
            <a:r>
              <a:rPr lang="en-US"/>
              <a:t>Second level</a:t>
            </a:r>
          </a:p>
        </p:txBody>
      </p:sp>
      <p:sp>
        <p:nvSpPr>
          <p:cNvPr id="17" name="Text Placeholder 8">
            <a:extLst>
              <a:ext uri="{FF2B5EF4-FFF2-40B4-BE49-F238E27FC236}">
                <a16:creationId xmlns:a16="http://schemas.microsoft.com/office/drawing/2014/main" id="{1057BDA2-1F88-4454-845E-8E55FA9367A1}"/>
              </a:ext>
            </a:extLst>
          </p:cNvPr>
          <p:cNvSpPr>
            <a:spLocks noGrp="1"/>
          </p:cNvSpPr>
          <p:nvPr>
            <p:ph type="body" sz="quarter" idx="28"/>
          </p:nvPr>
        </p:nvSpPr>
        <p:spPr>
          <a:xfrm>
            <a:off x="7592111" y="3340594"/>
            <a:ext cx="1550769" cy="884720"/>
          </a:xfrm>
          <a:prstGeom prst="rect">
            <a:avLst/>
          </a:prstGeom>
        </p:spPr>
        <p:txBody>
          <a:bodyPr/>
          <a:lstStyle>
            <a:lvl1pPr algn="ctr">
              <a:lnSpc>
                <a:spcPct val="100000"/>
              </a:lnSpc>
              <a:spcAft>
                <a:spcPts val="400"/>
              </a:spcAft>
              <a:defRPr sz="1500" b="0" cap="none" baseline="0"/>
            </a:lvl1pPr>
            <a:lvl2pPr algn="ctr">
              <a:lnSpc>
                <a:spcPct val="100000"/>
              </a:lnSpc>
              <a:defRPr sz="1000"/>
            </a:lvl2pPr>
            <a:lvl3pPr marL="0" indent="0">
              <a:buNone/>
              <a:defRPr/>
            </a:lvl3pPr>
          </a:lstStyle>
          <a:p>
            <a:pPr lvl="0"/>
            <a:r>
              <a:rPr lang="en-US"/>
              <a:t>Edit Master text styles</a:t>
            </a:r>
          </a:p>
          <a:p>
            <a:pPr lvl="1"/>
            <a:r>
              <a:rPr lang="en-US"/>
              <a:t>Second level</a:t>
            </a:r>
          </a:p>
        </p:txBody>
      </p:sp>
      <p:sp>
        <p:nvSpPr>
          <p:cNvPr id="18" name="Text Placeholder 8">
            <a:extLst>
              <a:ext uri="{FF2B5EF4-FFF2-40B4-BE49-F238E27FC236}">
                <a16:creationId xmlns:a16="http://schemas.microsoft.com/office/drawing/2014/main" id="{6BC77325-1027-4CFE-81AE-4172F0315498}"/>
              </a:ext>
            </a:extLst>
          </p:cNvPr>
          <p:cNvSpPr>
            <a:spLocks noGrp="1"/>
          </p:cNvSpPr>
          <p:nvPr>
            <p:ph type="body" sz="quarter" idx="29"/>
          </p:nvPr>
        </p:nvSpPr>
        <p:spPr>
          <a:xfrm>
            <a:off x="9863601" y="3340594"/>
            <a:ext cx="1550769" cy="884720"/>
          </a:xfrm>
          <a:prstGeom prst="rect">
            <a:avLst/>
          </a:prstGeom>
        </p:spPr>
        <p:txBody>
          <a:bodyPr/>
          <a:lstStyle>
            <a:lvl1pPr algn="ctr">
              <a:lnSpc>
                <a:spcPct val="100000"/>
              </a:lnSpc>
              <a:spcAft>
                <a:spcPts val="400"/>
              </a:spcAft>
              <a:defRPr sz="1500" b="0" cap="none" baseline="0"/>
            </a:lvl1pPr>
            <a:lvl2pPr algn="ctr">
              <a:lnSpc>
                <a:spcPct val="100000"/>
              </a:lnSpc>
              <a:defRPr sz="1000"/>
            </a:lvl2pPr>
            <a:lvl3pPr marL="0" indent="0">
              <a:buNone/>
              <a:defRPr/>
            </a:lvl3pPr>
          </a:lstStyle>
          <a:p>
            <a:pPr lvl="0"/>
            <a:r>
              <a:rPr lang="en-US"/>
              <a:t>Edit Master text styles</a:t>
            </a:r>
          </a:p>
          <a:p>
            <a:pPr lvl="1"/>
            <a:r>
              <a:rPr lang="en-US"/>
              <a:t>Second level</a:t>
            </a:r>
          </a:p>
        </p:txBody>
      </p:sp>
      <p:sp>
        <p:nvSpPr>
          <p:cNvPr id="21" name="Heading">
            <a:extLst>
              <a:ext uri="{FF2B5EF4-FFF2-40B4-BE49-F238E27FC236}">
                <a16:creationId xmlns:a16="http://schemas.microsoft.com/office/drawing/2014/main" id="{2D79F1FB-395E-44CC-AC02-56A1E8AA4B56}"/>
              </a:ext>
            </a:extLst>
          </p:cNvPr>
          <p:cNvSpPr>
            <a:spLocks noGrp="1"/>
          </p:cNvSpPr>
          <p:nvPr>
            <p:ph type="body" sz="quarter" idx="30"/>
          </p:nvPr>
        </p:nvSpPr>
        <p:spPr>
          <a:xfrm>
            <a:off x="798150"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13009108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y Choose Matheson">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6575ED5-8E41-442F-83D7-D1D9B6B55C80}"/>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7" name="Picture Placeholder 6">
            <a:extLst>
              <a:ext uri="{FF2B5EF4-FFF2-40B4-BE49-F238E27FC236}">
                <a16:creationId xmlns:a16="http://schemas.microsoft.com/office/drawing/2014/main" id="{110E1925-79F3-4B65-9CD0-8996DEA35393}"/>
              </a:ext>
            </a:extLst>
          </p:cNvPr>
          <p:cNvSpPr>
            <a:spLocks noGrp="1" noChangeAspect="1"/>
          </p:cNvSpPr>
          <p:nvPr>
            <p:ph type="pic" sz="quarter" idx="13"/>
          </p:nvPr>
        </p:nvSpPr>
        <p:spPr>
          <a:xfrm>
            <a:off x="1130458" y="1844824"/>
            <a:ext cx="1550769" cy="1260000"/>
          </a:xfrm>
          <a:prstGeom prst="ellipse">
            <a:avLst/>
          </a:prstGeom>
        </p:spPr>
        <p:txBody>
          <a:bodyPr/>
          <a:lstStyle/>
          <a:p>
            <a:r>
              <a:rPr lang="en-US"/>
              <a:t>Click icon to add picture</a:t>
            </a:r>
            <a:endParaRPr lang="en-GB"/>
          </a:p>
        </p:txBody>
      </p:sp>
      <p:sp>
        <p:nvSpPr>
          <p:cNvPr id="9" name="Text Placeholder 8">
            <a:extLst>
              <a:ext uri="{FF2B5EF4-FFF2-40B4-BE49-F238E27FC236}">
                <a16:creationId xmlns:a16="http://schemas.microsoft.com/office/drawing/2014/main" id="{B650BD63-2CC5-48A6-9165-704D84934633}"/>
              </a:ext>
            </a:extLst>
          </p:cNvPr>
          <p:cNvSpPr>
            <a:spLocks noGrp="1"/>
          </p:cNvSpPr>
          <p:nvPr>
            <p:ph type="body" sz="quarter" idx="14"/>
          </p:nvPr>
        </p:nvSpPr>
        <p:spPr>
          <a:xfrm>
            <a:off x="798150" y="3287643"/>
            <a:ext cx="2304000" cy="2160067"/>
          </a:xfrm>
          <a:prstGeom prst="rect">
            <a:avLst/>
          </a:prstGeom>
        </p:spPr>
        <p:txBody>
          <a:bodyPr/>
          <a:lstStyle>
            <a:lvl1pPr algn="ctr">
              <a:spcAft>
                <a:spcPts val="400"/>
              </a:spcAft>
              <a:defRPr sz="1200"/>
            </a:lvl1pPr>
            <a:lvl2pPr algn="ctr">
              <a:defRPr sz="950"/>
            </a:lvl2pPr>
            <a:lvl3pPr marL="0" indent="0">
              <a:buNone/>
              <a:defRPr/>
            </a:lvl3pPr>
          </a:lstStyle>
          <a:p>
            <a:pPr lvl="0"/>
            <a:r>
              <a:rPr lang="en-US"/>
              <a:t>Edit Master text styles</a:t>
            </a:r>
          </a:p>
          <a:p>
            <a:pPr lvl="1"/>
            <a:r>
              <a:rPr lang="en-US"/>
              <a:t>Second level</a:t>
            </a:r>
          </a:p>
        </p:txBody>
      </p:sp>
      <p:sp>
        <p:nvSpPr>
          <p:cNvPr id="11" name="Picture Placeholder 6">
            <a:extLst>
              <a:ext uri="{FF2B5EF4-FFF2-40B4-BE49-F238E27FC236}">
                <a16:creationId xmlns:a16="http://schemas.microsoft.com/office/drawing/2014/main" id="{9F876B8B-C7A7-410E-98EA-CC00ACCCA499}"/>
              </a:ext>
            </a:extLst>
          </p:cNvPr>
          <p:cNvSpPr>
            <a:spLocks noGrp="1" noChangeAspect="1"/>
          </p:cNvSpPr>
          <p:nvPr>
            <p:ph type="pic" sz="quarter" idx="22"/>
          </p:nvPr>
        </p:nvSpPr>
        <p:spPr>
          <a:xfrm>
            <a:off x="3910026" y="1844824"/>
            <a:ext cx="1550769" cy="1260000"/>
          </a:xfrm>
          <a:prstGeom prst="ellipse">
            <a:avLst/>
          </a:prstGeom>
        </p:spPr>
        <p:txBody>
          <a:bodyPr/>
          <a:lstStyle/>
          <a:p>
            <a:r>
              <a:rPr lang="en-US"/>
              <a:t>Click icon to add picture</a:t>
            </a:r>
            <a:endParaRPr lang="en-GB"/>
          </a:p>
        </p:txBody>
      </p:sp>
      <p:sp>
        <p:nvSpPr>
          <p:cNvPr id="12" name="Picture Placeholder 6">
            <a:extLst>
              <a:ext uri="{FF2B5EF4-FFF2-40B4-BE49-F238E27FC236}">
                <a16:creationId xmlns:a16="http://schemas.microsoft.com/office/drawing/2014/main" id="{D9054533-06A4-4805-BDD0-B9C618EEF5D1}"/>
              </a:ext>
            </a:extLst>
          </p:cNvPr>
          <p:cNvSpPr>
            <a:spLocks noGrp="1" noChangeAspect="1"/>
          </p:cNvSpPr>
          <p:nvPr>
            <p:ph type="pic" sz="quarter" idx="23"/>
          </p:nvPr>
        </p:nvSpPr>
        <p:spPr>
          <a:xfrm>
            <a:off x="6642580" y="1844824"/>
            <a:ext cx="1550769" cy="1260000"/>
          </a:xfrm>
          <a:prstGeom prst="ellipse">
            <a:avLst/>
          </a:prstGeom>
        </p:spPr>
        <p:txBody>
          <a:bodyPr/>
          <a:lstStyle/>
          <a:p>
            <a:r>
              <a:rPr lang="en-US"/>
              <a:t>Click icon to add picture</a:t>
            </a:r>
            <a:endParaRPr lang="en-GB"/>
          </a:p>
        </p:txBody>
      </p:sp>
      <p:sp>
        <p:nvSpPr>
          <p:cNvPr id="14" name="Picture Placeholder 6">
            <a:extLst>
              <a:ext uri="{FF2B5EF4-FFF2-40B4-BE49-F238E27FC236}">
                <a16:creationId xmlns:a16="http://schemas.microsoft.com/office/drawing/2014/main" id="{F13EBC6D-9696-4130-BAB0-C99043E1F2B6}"/>
              </a:ext>
            </a:extLst>
          </p:cNvPr>
          <p:cNvSpPr>
            <a:spLocks noGrp="1" noChangeAspect="1"/>
          </p:cNvSpPr>
          <p:nvPr>
            <p:ph type="pic" sz="quarter" idx="25"/>
          </p:nvPr>
        </p:nvSpPr>
        <p:spPr>
          <a:xfrm>
            <a:off x="9375134" y="1844824"/>
            <a:ext cx="1550769" cy="1260000"/>
          </a:xfrm>
          <a:prstGeom prst="ellipse">
            <a:avLst/>
          </a:prstGeom>
        </p:spPr>
        <p:txBody>
          <a:bodyPr/>
          <a:lstStyle/>
          <a:p>
            <a:r>
              <a:rPr lang="en-US"/>
              <a:t>Click icon to add picture</a:t>
            </a:r>
            <a:endParaRPr lang="en-GB" dirty="0"/>
          </a:p>
        </p:txBody>
      </p:sp>
      <p:sp>
        <p:nvSpPr>
          <p:cNvPr id="15" name="Text Placeholder 8">
            <a:extLst>
              <a:ext uri="{FF2B5EF4-FFF2-40B4-BE49-F238E27FC236}">
                <a16:creationId xmlns:a16="http://schemas.microsoft.com/office/drawing/2014/main" id="{EA33F32E-488F-4658-A283-6CD59E73A209}"/>
              </a:ext>
            </a:extLst>
          </p:cNvPr>
          <p:cNvSpPr>
            <a:spLocks noGrp="1"/>
          </p:cNvSpPr>
          <p:nvPr>
            <p:ph type="body" sz="quarter" idx="26"/>
          </p:nvPr>
        </p:nvSpPr>
        <p:spPr>
          <a:xfrm>
            <a:off x="3568890" y="3287643"/>
            <a:ext cx="2304000" cy="2160067"/>
          </a:xfrm>
          <a:prstGeom prst="rect">
            <a:avLst/>
          </a:prstGeom>
        </p:spPr>
        <p:txBody>
          <a:bodyPr/>
          <a:lstStyle>
            <a:lvl1pPr algn="ctr">
              <a:spcAft>
                <a:spcPts val="400"/>
              </a:spcAft>
              <a:defRPr sz="1200"/>
            </a:lvl1pPr>
            <a:lvl2pPr algn="ctr">
              <a:defRPr sz="950"/>
            </a:lvl2pPr>
            <a:lvl3pPr marL="0" indent="0">
              <a:buNone/>
              <a:defRPr/>
            </a:lvl3pPr>
          </a:lstStyle>
          <a:p>
            <a:pPr lvl="0"/>
            <a:r>
              <a:rPr lang="en-US"/>
              <a:t>Edit Master text styles</a:t>
            </a:r>
          </a:p>
          <a:p>
            <a:pPr lvl="1"/>
            <a:r>
              <a:rPr lang="en-US"/>
              <a:t>Second level</a:t>
            </a:r>
          </a:p>
        </p:txBody>
      </p:sp>
      <p:sp>
        <p:nvSpPr>
          <p:cNvPr id="16" name="Text Placeholder 8">
            <a:extLst>
              <a:ext uri="{FF2B5EF4-FFF2-40B4-BE49-F238E27FC236}">
                <a16:creationId xmlns:a16="http://schemas.microsoft.com/office/drawing/2014/main" id="{5A46E092-A68B-40FB-93DB-BD0D32780D44}"/>
              </a:ext>
            </a:extLst>
          </p:cNvPr>
          <p:cNvSpPr>
            <a:spLocks noGrp="1"/>
          </p:cNvSpPr>
          <p:nvPr>
            <p:ph type="body" sz="quarter" idx="27"/>
          </p:nvPr>
        </p:nvSpPr>
        <p:spPr>
          <a:xfrm>
            <a:off x="6339630" y="3287643"/>
            <a:ext cx="2304000" cy="2160067"/>
          </a:xfrm>
          <a:prstGeom prst="rect">
            <a:avLst/>
          </a:prstGeom>
        </p:spPr>
        <p:txBody>
          <a:bodyPr/>
          <a:lstStyle>
            <a:lvl1pPr algn="ctr">
              <a:spcAft>
                <a:spcPts val="400"/>
              </a:spcAft>
              <a:defRPr sz="1200"/>
            </a:lvl1pPr>
            <a:lvl2pPr algn="ctr">
              <a:defRPr sz="950"/>
            </a:lvl2pPr>
            <a:lvl3pPr marL="0" indent="0">
              <a:buNone/>
              <a:defRPr/>
            </a:lvl3pPr>
          </a:lstStyle>
          <a:p>
            <a:pPr lvl="0"/>
            <a:r>
              <a:rPr lang="en-US"/>
              <a:t>Edit Master text styles</a:t>
            </a:r>
          </a:p>
          <a:p>
            <a:pPr lvl="1"/>
            <a:r>
              <a:rPr lang="en-US"/>
              <a:t>Second level</a:t>
            </a:r>
          </a:p>
        </p:txBody>
      </p:sp>
      <p:sp>
        <p:nvSpPr>
          <p:cNvPr id="18" name="Text Placeholder 8">
            <a:extLst>
              <a:ext uri="{FF2B5EF4-FFF2-40B4-BE49-F238E27FC236}">
                <a16:creationId xmlns:a16="http://schemas.microsoft.com/office/drawing/2014/main" id="{6BC77325-1027-4CFE-81AE-4172F0315498}"/>
              </a:ext>
            </a:extLst>
          </p:cNvPr>
          <p:cNvSpPr>
            <a:spLocks noGrp="1"/>
          </p:cNvSpPr>
          <p:nvPr>
            <p:ph type="body" sz="quarter" idx="29"/>
          </p:nvPr>
        </p:nvSpPr>
        <p:spPr>
          <a:xfrm>
            <a:off x="9110369" y="3284985"/>
            <a:ext cx="2304000" cy="2160067"/>
          </a:xfrm>
          <a:prstGeom prst="rect">
            <a:avLst/>
          </a:prstGeom>
        </p:spPr>
        <p:txBody>
          <a:bodyPr/>
          <a:lstStyle>
            <a:lvl1pPr algn="ctr">
              <a:spcAft>
                <a:spcPts val="400"/>
              </a:spcAft>
              <a:defRPr sz="1200"/>
            </a:lvl1pPr>
            <a:lvl2pPr algn="ctr">
              <a:defRPr sz="950"/>
            </a:lvl2pPr>
            <a:lvl3pPr marL="0" indent="0">
              <a:buNone/>
              <a:defRPr/>
            </a:lvl3pPr>
          </a:lstStyle>
          <a:p>
            <a:pPr lvl="0"/>
            <a:r>
              <a:rPr lang="en-US"/>
              <a:t>Edit Master text styles</a:t>
            </a:r>
          </a:p>
          <a:p>
            <a:pPr lvl="1"/>
            <a:r>
              <a:rPr lang="en-US"/>
              <a:t>Second level</a:t>
            </a:r>
          </a:p>
        </p:txBody>
      </p:sp>
      <p:sp>
        <p:nvSpPr>
          <p:cNvPr id="20" name="Heading">
            <a:extLst>
              <a:ext uri="{FF2B5EF4-FFF2-40B4-BE49-F238E27FC236}">
                <a16:creationId xmlns:a16="http://schemas.microsoft.com/office/drawing/2014/main" id="{57928DB9-FECE-4BC4-9ADC-390CA8F9B1F2}"/>
              </a:ext>
            </a:extLst>
          </p:cNvPr>
          <p:cNvSpPr>
            <a:spLocks noGrp="1"/>
          </p:cNvSpPr>
          <p:nvPr>
            <p:ph type="body" sz="quarter" idx="30"/>
          </p:nvPr>
        </p:nvSpPr>
        <p:spPr>
          <a:xfrm>
            <a:off x="798150"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21175499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icin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BBC8EDD-78BB-416D-86F3-E7C9316D8641}"/>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PPTIntroHeading" descr="PitchPerfect|Intro|PPTIntroHeading">
            <a:extLst>
              <a:ext uri="{FF2B5EF4-FFF2-40B4-BE49-F238E27FC236}">
                <a16:creationId xmlns:a16="http://schemas.microsoft.com/office/drawing/2014/main" id="{6129991A-F687-4BE5-8DE5-48C9B0A04F93}"/>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
        <p:nvSpPr>
          <p:cNvPr id="8" name="Text Placeholder 7">
            <a:extLst>
              <a:ext uri="{FF2B5EF4-FFF2-40B4-BE49-F238E27FC236}">
                <a16:creationId xmlns:a16="http://schemas.microsoft.com/office/drawing/2014/main" id="{9550D3F1-46D8-4EBA-8D78-85BBBF02CB52}"/>
              </a:ext>
            </a:extLst>
          </p:cNvPr>
          <p:cNvSpPr>
            <a:spLocks noGrp="1"/>
          </p:cNvSpPr>
          <p:nvPr>
            <p:ph type="body" sz="quarter" idx="26"/>
          </p:nvPr>
        </p:nvSpPr>
        <p:spPr>
          <a:xfrm>
            <a:off x="777631" y="1412777"/>
            <a:ext cx="10636738" cy="1152129"/>
          </a:xfrm>
        </p:spPr>
        <p:txBody>
          <a:bodyPr/>
          <a:lstStyle>
            <a:lvl1pPr>
              <a:spcAft>
                <a:spcPts val="400"/>
              </a:spcAft>
              <a:defRPr sz="13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able Placeholder 9">
            <a:extLst>
              <a:ext uri="{FF2B5EF4-FFF2-40B4-BE49-F238E27FC236}">
                <a16:creationId xmlns:a16="http://schemas.microsoft.com/office/drawing/2014/main" id="{6C996FBF-3EA7-4015-BAA8-F70A81F99FF9}"/>
              </a:ext>
            </a:extLst>
          </p:cNvPr>
          <p:cNvSpPr>
            <a:spLocks noGrp="1"/>
          </p:cNvSpPr>
          <p:nvPr>
            <p:ph type="tbl" sz="quarter" idx="27"/>
          </p:nvPr>
        </p:nvSpPr>
        <p:spPr>
          <a:xfrm>
            <a:off x="2728241" y="2744432"/>
            <a:ext cx="6735518" cy="3492880"/>
          </a:xfrm>
        </p:spPr>
        <p:txBody>
          <a:bodyPr/>
          <a:lstStyle/>
          <a:p>
            <a:r>
              <a:rPr lang="en-US"/>
              <a:t>Click icon to add table</a:t>
            </a:r>
            <a:endParaRPr lang="en-GB"/>
          </a:p>
        </p:txBody>
      </p:sp>
    </p:spTree>
    <p:extLst>
      <p:ext uri="{BB962C8B-B14F-4D97-AF65-F5344CB8AC3E}">
        <p14:creationId xmlns:p14="http://schemas.microsoft.com/office/powerpoint/2010/main" val="39327326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4AD7CDD-43E6-4786-981D-BBA273ADC07F}"/>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6" name="Text Placeholder 15">
            <a:extLst>
              <a:ext uri="{FF2B5EF4-FFF2-40B4-BE49-F238E27FC236}">
                <a16:creationId xmlns:a16="http://schemas.microsoft.com/office/drawing/2014/main" id="{43F19808-B31D-4D02-9425-049E95328696}"/>
              </a:ext>
            </a:extLst>
          </p:cNvPr>
          <p:cNvSpPr>
            <a:spLocks noGrp="1"/>
          </p:cNvSpPr>
          <p:nvPr>
            <p:ph type="body" sz="quarter" idx="21" hasCustomPrompt="1"/>
          </p:nvPr>
        </p:nvSpPr>
        <p:spPr>
          <a:xfrm>
            <a:off x="777631" y="1412776"/>
            <a:ext cx="10636738" cy="4680520"/>
          </a:xfrm>
          <a:prstGeom prst="rect">
            <a:avLst/>
          </a:prstGeom>
        </p:spPr>
        <p:txBody>
          <a:bodyPr numCol="2"/>
          <a:lstStyle>
            <a:lvl1pPr>
              <a:defRPr sz="1100" b="0">
                <a:solidFill>
                  <a:schemeClr val="tx1"/>
                </a:solidFill>
                <a:latin typeface="+mn-lt"/>
              </a:defRPr>
            </a:lvl1pPr>
            <a:lvl2pPr marL="171450" indent="-171450">
              <a:buFont typeface="Arial" panose="020B0604020202020204" pitchFamily="34" charset="0"/>
              <a:buChar char="•"/>
              <a:defRPr sz="1100"/>
            </a:lvl2pPr>
            <a:lvl3pPr marL="431800" indent="-215900">
              <a:buClr>
                <a:schemeClr val="tx1"/>
              </a:buClr>
              <a:buFont typeface="Wingdings" panose="05000000000000000000" pitchFamily="2" charset="2"/>
              <a:buChar char="§"/>
              <a:defRPr lang="en-US" sz="1100" kern="1200" baseline="0" dirty="0">
                <a:solidFill>
                  <a:schemeClr val="tx1"/>
                </a:solidFill>
                <a:latin typeface="+mn-lt"/>
                <a:ea typeface="+mn-ea"/>
                <a:cs typeface="+mn-cs"/>
              </a:defRPr>
            </a:lvl3pPr>
            <a:lvl4pPr marL="648000" indent="-216000">
              <a:buFont typeface="Wingdings" panose="05000000000000000000" pitchFamily="2" charset="2"/>
              <a:buChar char="§"/>
              <a:defRPr/>
            </a:lvl4pPr>
          </a:lstStyle>
          <a:p>
            <a:pPr marL="216000" lvl="2" indent="-216000" algn="just" defTabSz="914400" rtl="0" eaLnBrk="1" latinLnBrk="0" hangingPunct="1">
              <a:lnSpc>
                <a:spcPct val="102000"/>
              </a:lnSpc>
              <a:spcBef>
                <a:spcPts val="500"/>
              </a:spcBef>
              <a:buFont typeface="Wingdings" panose="05000000000000000000" pitchFamily="2" charset="2"/>
              <a:buChar char="§"/>
            </a:pPr>
            <a:r>
              <a:rPr lang="en-US" dirty="0"/>
              <a:t>Click to add text</a:t>
            </a:r>
          </a:p>
          <a:p>
            <a:pPr lvl="2"/>
            <a:r>
              <a:rPr lang="en-US" dirty="0"/>
              <a:t>Second level</a:t>
            </a:r>
          </a:p>
          <a:p>
            <a:pPr lvl="3"/>
            <a:r>
              <a:rPr lang="en-US" dirty="0"/>
              <a:t>Third level</a:t>
            </a:r>
          </a:p>
        </p:txBody>
      </p:sp>
      <p:sp>
        <p:nvSpPr>
          <p:cNvPr id="14" name="Heading">
            <a:extLst>
              <a:ext uri="{FF2B5EF4-FFF2-40B4-BE49-F238E27FC236}">
                <a16:creationId xmlns:a16="http://schemas.microsoft.com/office/drawing/2014/main" id="{ECD2C0BA-F86D-44BB-9391-E78E742A3157}"/>
              </a:ext>
            </a:extLst>
          </p:cNvPr>
          <p:cNvSpPr>
            <a:spLocks noGrp="1"/>
          </p:cNvSpPr>
          <p:nvPr>
            <p:ph type="body" sz="quarter" idx="25"/>
          </p:nvPr>
        </p:nvSpPr>
        <p:spPr>
          <a:xfrm>
            <a:off x="798150"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7766066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Bulle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801969" y="1411200"/>
            <a:ext cx="10593969" cy="4644000"/>
          </a:xfrm>
        </p:spPr>
        <p:txBody>
          <a:bodyPr/>
          <a:lstStyle>
            <a:lvl1pPr marL="396000" indent="-396000">
              <a:buFont typeface="Wingdings" panose="05000000000000000000" pitchFamily="2" charset="2"/>
              <a:buChar char="§"/>
              <a:tabLst>
                <a:tab pos="354013" algn="l"/>
              </a:tabLst>
              <a:defRPr sz="2800" baseline="0">
                <a:solidFill>
                  <a:srgbClr val="505050"/>
                </a:solidFill>
              </a:defRPr>
            </a:lvl1pPr>
            <a:lvl2pPr marL="720000" indent="-288925">
              <a:buFont typeface="Wingdings" panose="05000000000000000000" pitchFamily="2" charset="2"/>
              <a:buChar char="§"/>
              <a:defRPr sz="2400" baseline="0"/>
            </a:lvl2pPr>
            <a:lvl3pPr marL="1044000" indent="-288000">
              <a:spcBef>
                <a:spcPts val="500"/>
              </a:spcBef>
              <a:defRPr sz="2000" baseline="0"/>
            </a:lvl3pPr>
            <a:lvl4pPr marL="1368000" indent="-288000">
              <a:buFont typeface="Wingdings" panose="05000000000000000000" pitchFamily="2" charset="2"/>
              <a:buChar char="§"/>
              <a:defRPr sz="1800" baseline="0"/>
            </a:lvl4pPr>
            <a:lvl5pPr marL="1656000" indent="-288000">
              <a:buFont typeface="Wingdings" panose="05000000000000000000" pitchFamily="2" charset="2"/>
              <a:buChar char="§"/>
              <a:defRPr sz="18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PPTIntroHeading" descr="PitchPerfect|Intro|PPTIntroHeading">
            <a:extLst>
              <a:ext uri="{FF2B5EF4-FFF2-40B4-BE49-F238E27FC236}">
                <a16:creationId xmlns:a16="http://schemas.microsoft.com/office/drawing/2014/main" id="{0A61E1BC-B2E8-4ACD-91F0-D1E4918CAC53}"/>
              </a:ext>
            </a:extLst>
          </p:cNvPr>
          <p:cNvSpPr>
            <a:spLocks noGrp="1"/>
          </p:cNvSpPr>
          <p:nvPr>
            <p:ph type="body" sz="quarter" idx="25" hasCustomPrompt="1"/>
          </p:nvPr>
        </p:nvSpPr>
        <p:spPr>
          <a:xfrm>
            <a:off x="797538" y="620689"/>
            <a:ext cx="8161216" cy="268719"/>
          </a:xfrm>
        </p:spPr>
        <p:txBody>
          <a:bodyPr>
            <a:noAutofit/>
          </a:bodyPr>
          <a:lstStyle>
            <a:lvl1pPr marL="0" indent="0">
              <a:buFontTx/>
              <a:buNone/>
              <a:defRPr sz="2000" b="1" cap="all" baseline="0">
                <a:solidFill>
                  <a:srgbClr val="E60000"/>
                </a:solidFill>
              </a:defRPr>
            </a:lvl1pPr>
          </a:lstStyle>
          <a:p>
            <a:pPr lvl="0"/>
            <a:r>
              <a:rPr lang="en-US" dirty="0"/>
              <a:t>Click to ADD TEXT</a:t>
            </a:r>
            <a:endParaRPr lang="en-GB" dirty="0"/>
          </a:p>
        </p:txBody>
      </p:sp>
      <p:sp>
        <p:nvSpPr>
          <p:cNvPr id="10" name="Slide Number Placeholder 4">
            <a:extLst>
              <a:ext uri="{FF2B5EF4-FFF2-40B4-BE49-F238E27FC236}">
                <a16:creationId xmlns:a16="http://schemas.microsoft.com/office/drawing/2014/main" id="{0560D6F3-9104-4A44-9320-E3667DA21B07}"/>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Tree>
    <p:extLst>
      <p:ext uri="{BB962C8B-B14F-4D97-AF65-F5344CB8AC3E}">
        <p14:creationId xmlns:p14="http://schemas.microsoft.com/office/powerpoint/2010/main" val="8940553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irm Overview">
    <p:spTree>
      <p:nvGrpSpPr>
        <p:cNvPr id="1" name=""/>
        <p:cNvGrpSpPr/>
        <p:nvPr/>
      </p:nvGrpSpPr>
      <p:grpSpPr>
        <a:xfrm>
          <a:off x="0" y="0"/>
          <a:ext cx="0" cy="0"/>
          <a:chOff x="0" y="0"/>
          <a:chExt cx="0" cy="0"/>
        </a:xfrm>
      </p:grpSpPr>
      <p:sp>
        <p:nvSpPr>
          <p:cNvPr id="5" name="Bullets">
            <a:extLst>
              <a:ext uri="{FF2B5EF4-FFF2-40B4-BE49-F238E27FC236}">
                <a16:creationId xmlns:a16="http://schemas.microsoft.com/office/drawing/2014/main" id="{73FAE25F-3B51-4BB5-BB1A-F961B1D30DED}"/>
              </a:ext>
            </a:extLst>
          </p:cNvPr>
          <p:cNvSpPr>
            <a:spLocks noGrp="1"/>
          </p:cNvSpPr>
          <p:nvPr>
            <p:ph type="sldNum" sz="quarter" idx="12"/>
          </p:nvPr>
        </p:nvSpPr>
        <p:spPr>
          <a:xfrm>
            <a:off x="8671169" y="6455673"/>
            <a:ext cx="2743200" cy="164195"/>
          </a:xfrm>
          <a:prstGeom prst="rect">
            <a:avLst/>
          </a:prstGeom>
        </p:spPr>
        <p:txBody>
          <a:bodyPr/>
          <a:lstStyle/>
          <a:p>
            <a:endParaRPr lang="en-GB" dirty="0"/>
          </a:p>
        </p:txBody>
      </p:sp>
      <p:sp>
        <p:nvSpPr>
          <p:cNvPr id="7" name="Overview">
            <a:extLst>
              <a:ext uri="{FF2B5EF4-FFF2-40B4-BE49-F238E27FC236}">
                <a16:creationId xmlns:a16="http://schemas.microsoft.com/office/drawing/2014/main" id="{A2068247-40B9-4649-A939-1906F326C79F}"/>
              </a:ext>
            </a:extLst>
          </p:cNvPr>
          <p:cNvSpPr>
            <a:spLocks noGrp="1"/>
          </p:cNvSpPr>
          <p:nvPr>
            <p:ph type="body" sz="quarter" idx="13"/>
          </p:nvPr>
        </p:nvSpPr>
        <p:spPr>
          <a:xfrm>
            <a:off x="798151" y="3650566"/>
            <a:ext cx="5563726" cy="2586746"/>
          </a:xfrm>
        </p:spPr>
        <p:txBody>
          <a:bodyPr wrap="square" bIns="0" numCol="2" spcCol="288000">
            <a:noAutofit/>
          </a:bodyPr>
          <a:lstStyle>
            <a:lvl1pPr>
              <a:lnSpc>
                <a:spcPct val="100000"/>
              </a:lnSpc>
              <a:defRPr sz="1300"/>
            </a:lvl1pPr>
            <a:lvl2pPr>
              <a:lnSpc>
                <a:spcPct val="100000"/>
              </a:lnSpc>
              <a:defRPr sz="1000"/>
            </a:lvl2pPr>
            <a:lvl3pPr>
              <a:lnSpc>
                <a:spcPct val="100000"/>
              </a:lnSpc>
              <a:defRPr sz="1000"/>
            </a:lvl3pPr>
            <a:lvl4pPr>
              <a:lnSpc>
                <a:spcPct val="100000"/>
              </a:lnSpc>
              <a:defRPr sz="1000"/>
            </a:lvl4pPr>
            <a:lvl5pPr>
              <a:lnSpc>
                <a:spcPct val="100000"/>
              </a:lnSpc>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Map">
            <a:extLst>
              <a:ext uri="{FF2B5EF4-FFF2-40B4-BE49-F238E27FC236}">
                <a16:creationId xmlns:a16="http://schemas.microsoft.com/office/drawing/2014/main" id="{CB9D8D09-1272-47ED-8FAC-244595732FBB}"/>
              </a:ext>
            </a:extLst>
          </p:cNvPr>
          <p:cNvSpPr>
            <a:spLocks noGrp="1"/>
          </p:cNvSpPr>
          <p:nvPr>
            <p:ph type="pic" sz="quarter" idx="14"/>
          </p:nvPr>
        </p:nvSpPr>
        <p:spPr>
          <a:xfrm>
            <a:off x="6539524" y="1868389"/>
            <a:ext cx="4854326" cy="1690687"/>
          </a:xfrm>
        </p:spPr>
        <p:txBody>
          <a:bodyPr/>
          <a:lstStyle/>
          <a:p>
            <a:r>
              <a:rPr lang="en-US"/>
              <a:t>Click icon to add picture</a:t>
            </a:r>
            <a:endParaRPr lang="en-GB"/>
          </a:p>
        </p:txBody>
      </p:sp>
      <p:sp>
        <p:nvSpPr>
          <p:cNvPr id="11" name="Facts">
            <a:extLst>
              <a:ext uri="{FF2B5EF4-FFF2-40B4-BE49-F238E27FC236}">
                <a16:creationId xmlns:a16="http://schemas.microsoft.com/office/drawing/2014/main" id="{5DE4692F-9F62-49B5-AA0F-E85A8C69F21D}"/>
              </a:ext>
            </a:extLst>
          </p:cNvPr>
          <p:cNvSpPr>
            <a:spLocks noGrp="1"/>
          </p:cNvSpPr>
          <p:nvPr>
            <p:ph type="body" sz="quarter" idx="15"/>
          </p:nvPr>
        </p:nvSpPr>
        <p:spPr>
          <a:xfrm>
            <a:off x="776562" y="1739080"/>
            <a:ext cx="1775162" cy="153888"/>
          </a:xfrm>
        </p:spPr>
        <p:txBody>
          <a:bodyPr wrap="square" bIns="0">
            <a:spAutoFit/>
          </a:bodyPr>
          <a:lstStyle>
            <a:lvl1pPr>
              <a:spcBef>
                <a:spcPts val="600"/>
              </a:spcBef>
              <a:defRPr sz="1000">
                <a:solidFill>
                  <a:schemeClr val="tx1"/>
                </a:solidFill>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Edit Master text styles</a:t>
            </a:r>
          </a:p>
        </p:txBody>
      </p:sp>
      <p:sp>
        <p:nvSpPr>
          <p:cNvPr id="13" name="Offices">
            <a:extLst>
              <a:ext uri="{FF2B5EF4-FFF2-40B4-BE49-F238E27FC236}">
                <a16:creationId xmlns:a16="http://schemas.microsoft.com/office/drawing/2014/main" id="{8D13FA11-25DF-46AF-ABEA-061F460B9A96}"/>
              </a:ext>
            </a:extLst>
          </p:cNvPr>
          <p:cNvSpPr>
            <a:spLocks noGrp="1"/>
          </p:cNvSpPr>
          <p:nvPr>
            <p:ph type="body" sz="quarter" idx="16"/>
          </p:nvPr>
        </p:nvSpPr>
        <p:spPr>
          <a:xfrm>
            <a:off x="2551723" y="1340769"/>
            <a:ext cx="6291385" cy="123111"/>
          </a:xfrm>
        </p:spPr>
        <p:txBody>
          <a:bodyPr bIns="0">
            <a:spAutoFit/>
          </a:bodyPr>
          <a:lstStyle>
            <a:lvl1pPr>
              <a:defRPr sz="800" cap="all" baseline="0">
                <a:solidFill>
                  <a:schemeClr val="tx1"/>
                </a:solidFill>
                <a:latin typeface="+mn-lt"/>
              </a:defRPr>
            </a:lvl1pPr>
          </a:lstStyle>
          <a:p>
            <a:pPr lvl="0"/>
            <a:r>
              <a:rPr lang="en-US"/>
              <a:t>Edit Master text styles</a:t>
            </a:r>
          </a:p>
        </p:txBody>
      </p:sp>
      <p:sp>
        <p:nvSpPr>
          <p:cNvPr id="16" name="Teams">
            <a:extLst>
              <a:ext uri="{FF2B5EF4-FFF2-40B4-BE49-F238E27FC236}">
                <a16:creationId xmlns:a16="http://schemas.microsoft.com/office/drawing/2014/main" id="{0461CBF3-C04B-4264-9D9C-BC9DF15604E5}"/>
              </a:ext>
            </a:extLst>
          </p:cNvPr>
          <p:cNvSpPr>
            <a:spLocks noGrp="1"/>
          </p:cNvSpPr>
          <p:nvPr>
            <p:ph type="body" sz="quarter" idx="26"/>
          </p:nvPr>
        </p:nvSpPr>
        <p:spPr>
          <a:xfrm>
            <a:off x="7070878" y="4123773"/>
            <a:ext cx="4322972" cy="2113539"/>
          </a:xfrm>
        </p:spPr>
        <p:txBody>
          <a:bodyPr numCol="2" spcCol="288000"/>
          <a:lstStyle>
            <a:lvl1pPr>
              <a:lnSpc>
                <a:spcPct val="90000"/>
              </a:lnSpc>
              <a:defRPr sz="1300"/>
            </a:lvl1pPr>
            <a:lvl2pPr>
              <a:lnSpc>
                <a:spcPct val="90000"/>
              </a:lnSpc>
              <a:defRPr sz="1100"/>
            </a:lvl2pPr>
            <a:lvl3pPr>
              <a:lnSpc>
                <a:spcPct val="90000"/>
              </a:lnSpc>
              <a:spcBef>
                <a:spcPts val="200"/>
              </a:spcBef>
              <a:defRPr sz="900"/>
            </a:lvl3pPr>
            <a:lvl4pPr>
              <a:lnSpc>
                <a:spcPct val="90000"/>
              </a:lnSpc>
              <a:spcBef>
                <a:spcPts val="200"/>
              </a:spcBef>
              <a:defRPr sz="900"/>
            </a:lvl4pPr>
            <a:lvl5pPr>
              <a:lnSpc>
                <a:spcPct val="90000"/>
              </a:lnSpc>
              <a:spcBef>
                <a:spcPts val="200"/>
              </a:spcBef>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Heading" descr="PitchPerfect|Intro|PPTIntroHeading">
            <a:extLst>
              <a:ext uri="{FF2B5EF4-FFF2-40B4-BE49-F238E27FC236}">
                <a16:creationId xmlns:a16="http://schemas.microsoft.com/office/drawing/2014/main" id="{0382C83D-AD84-42D5-B7D5-2D81189BE0CC}"/>
              </a:ext>
            </a:extLst>
          </p:cNvPr>
          <p:cNvSpPr>
            <a:spLocks noGrp="1"/>
          </p:cNvSpPr>
          <p:nvPr>
            <p:ph type="body" sz="quarter" idx="25"/>
          </p:nvPr>
        </p:nvSpPr>
        <p:spPr>
          <a:xfrm>
            <a:off x="805471" y="620689"/>
            <a:ext cx="8161216" cy="268719"/>
          </a:xfrm>
        </p:spPr>
        <p:txBody>
          <a:bodyPr/>
          <a:lstStyle>
            <a:lvl1pPr>
              <a:defRPr b="1" cap="all" baseline="0"/>
            </a:lvl1pPr>
          </a:lstStyle>
          <a:p>
            <a:pPr lvl="0"/>
            <a:r>
              <a:rPr lang="en-US"/>
              <a:t>Edit Master text styles</a:t>
            </a:r>
          </a:p>
        </p:txBody>
      </p:sp>
    </p:spTree>
    <p:extLst>
      <p:ext uri="{BB962C8B-B14F-4D97-AF65-F5344CB8AC3E}">
        <p14:creationId xmlns:p14="http://schemas.microsoft.com/office/powerpoint/2010/main" val="24825778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839802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fld id="{7105DCC5-269D-427C-8D31-8A10D7FA74F2}" type="datetime1">
              <a:rPr lang="de-DE" smtClean="0"/>
              <a:t>12.09.2022</a:t>
            </a:fld>
            <a:endParaRPr lang="de-DE" dirty="0"/>
          </a:p>
        </p:txBody>
      </p:sp>
      <p:sp>
        <p:nvSpPr>
          <p:cNvPr id="5" name="Foliennummernplatzhalter 4"/>
          <p:cNvSpPr>
            <a:spLocks noGrp="1"/>
          </p:cNvSpPr>
          <p:nvPr>
            <p:ph type="sldNum" sz="quarter" idx="12"/>
          </p:nvPr>
        </p:nvSpPr>
        <p:spPr/>
        <p:txBody>
          <a:bodyPr/>
          <a:lstStyle/>
          <a:p>
            <a:fld id="{761F7C54-956E-4035-96E5-E3754B49D8A7}" type="slidenum">
              <a:rPr lang="de-DE" smtClean="0"/>
              <a:pPr/>
              <a:t>‹Nr.›</a:t>
            </a:fld>
            <a:endParaRPr lang="de-DE" dirty="0"/>
          </a:p>
        </p:txBody>
      </p:sp>
      <p:sp>
        <p:nvSpPr>
          <p:cNvPr id="9" name="Textplatzhalter 6"/>
          <p:cNvSpPr>
            <a:spLocks noGrp="1"/>
          </p:cNvSpPr>
          <p:nvPr>
            <p:ph type="body" sz="quarter" idx="13"/>
          </p:nvPr>
        </p:nvSpPr>
        <p:spPr>
          <a:xfrm>
            <a:off x="697929" y="1845191"/>
            <a:ext cx="10077376" cy="4319480"/>
          </a:xfrm>
        </p:spPr>
        <p:txBody>
          <a:bodyPr/>
          <a:lstStyle>
            <a:lvl1pPr marL="360255" indent="-360255">
              <a:spcBef>
                <a:spcPts val="600"/>
              </a:spcBef>
              <a:spcAft>
                <a:spcPts val="0"/>
              </a:spcAft>
              <a:buClr>
                <a:schemeClr val="tx2"/>
              </a:buClr>
              <a:buSzPct val="100000"/>
              <a:buFont typeface="+mj-lt"/>
              <a:buAutoNum type="alphaUcPeriod"/>
              <a:defRPr sz="1999">
                <a:solidFill>
                  <a:schemeClr val="tx1"/>
                </a:solidFill>
                <a:latin typeface="Cambria" panose="02040503050406030204" pitchFamily="18" charset="0"/>
              </a:defRPr>
            </a:lvl1pPr>
            <a:lvl2pPr marL="719784" indent="-359892">
              <a:spcBef>
                <a:spcPts val="600"/>
              </a:spcBef>
              <a:spcAft>
                <a:spcPts val="0"/>
              </a:spcAft>
              <a:buClr>
                <a:schemeClr val="tx2"/>
              </a:buClr>
              <a:buSzPct val="100000"/>
              <a:buFont typeface="+mj-lt"/>
              <a:buAutoNum type="romanUcPeriod"/>
              <a:defRPr sz="1799">
                <a:latin typeface="Cambria" panose="02040503050406030204" pitchFamily="18" charset="0"/>
              </a:defRPr>
            </a:lvl2pPr>
            <a:lvl3pPr marL="1007698" indent="-287914">
              <a:spcBef>
                <a:spcPts val="600"/>
              </a:spcBef>
              <a:spcAft>
                <a:spcPts val="0"/>
              </a:spcAft>
              <a:buClr>
                <a:schemeClr val="tx2"/>
              </a:buClr>
              <a:buSzPct val="100000"/>
              <a:buFont typeface="+mj-lt"/>
              <a:buAutoNum type="arabicPeriod"/>
              <a:defRPr>
                <a:latin typeface="Cambria" panose="02040503050406030204" pitchFamily="18" charset="0"/>
              </a:defRPr>
            </a:lvl3pPr>
            <a:lvl4pPr marL="1295611" indent="-287914">
              <a:spcBef>
                <a:spcPts val="600"/>
              </a:spcBef>
              <a:spcAft>
                <a:spcPts val="0"/>
              </a:spcAft>
              <a:buClr>
                <a:schemeClr val="tx2"/>
              </a:buClr>
              <a:buSzPct val="100000"/>
              <a:buFont typeface="+mj-lt"/>
              <a:buAutoNum type="alphaLcPeriod"/>
              <a:defRPr sz="1600">
                <a:latin typeface="Cambria" panose="02040503050406030204" pitchFamily="18" charset="0"/>
              </a:defRPr>
            </a:lvl4pPr>
            <a:lvl5pPr marL="1511546" indent="-215935">
              <a:spcBef>
                <a:spcPts val="600"/>
              </a:spcBef>
              <a:spcAft>
                <a:spcPts val="0"/>
              </a:spcAft>
              <a:buClr>
                <a:schemeClr val="tx2"/>
              </a:buClr>
              <a:buSzPct val="100000"/>
              <a:buFont typeface="+mj-lt"/>
              <a:buAutoNum type="romanLcPeriod"/>
              <a:defRPr>
                <a:latin typeface="Cambria" panose="02040503050406030204" pitchFamily="18"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Fußzeilenplatzhalter 2"/>
          <p:cNvSpPr>
            <a:spLocks noGrp="1"/>
          </p:cNvSpPr>
          <p:nvPr>
            <p:ph type="ftr" sz="quarter" idx="3"/>
          </p:nvPr>
        </p:nvSpPr>
        <p:spPr>
          <a:xfrm>
            <a:off x="696805" y="6452636"/>
            <a:ext cx="6874210" cy="179958"/>
          </a:xfrm>
          <a:prstGeom prst="rect">
            <a:avLst/>
          </a:prstGeom>
        </p:spPr>
        <p:txBody>
          <a:bodyPr vert="horz" lIns="0" tIns="0" rIns="0" bIns="0" rtlCol="0" anchor="ctr"/>
          <a:lstStyle>
            <a:lvl1pPr algn="l">
              <a:defRPr sz="1000">
                <a:solidFill>
                  <a:schemeClr val="tx1"/>
                </a:solidFill>
                <a:latin typeface="+mj-lt"/>
              </a:defRPr>
            </a:lvl1pPr>
          </a:lstStyle>
          <a:p>
            <a:r>
              <a:rPr lang="de-DE"/>
              <a:t>Flick Gocke Schaumburg Partnerschaft mbB</a:t>
            </a:r>
            <a:endParaRPr lang="de-DE" dirty="0"/>
          </a:p>
        </p:txBody>
      </p:sp>
      <p:sp>
        <p:nvSpPr>
          <p:cNvPr id="2" name="Titel 1"/>
          <p:cNvSpPr>
            <a:spLocks noGrp="1"/>
          </p:cNvSpPr>
          <p:nvPr>
            <p:ph type="title" hasCustomPrompt="1"/>
          </p:nvPr>
        </p:nvSpPr>
        <p:spPr/>
        <p:txBody>
          <a:bodyPr/>
          <a:lstStyle>
            <a:lvl1pPr>
              <a:defRPr/>
            </a:lvl1pPr>
          </a:lstStyle>
          <a:p>
            <a:r>
              <a:rPr lang="de-DE" dirty="0"/>
              <a:t>Titel durch Klicken hinzufügen</a:t>
            </a:r>
          </a:p>
        </p:txBody>
      </p:sp>
    </p:spTree>
    <p:extLst>
      <p:ext uri="{BB962C8B-B14F-4D97-AF65-F5344CB8AC3E}">
        <p14:creationId xmlns:p14="http://schemas.microsoft.com/office/powerpoint/2010/main" val="41872205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de-DE" dirty="0"/>
              <a:t>Titel durch Klicken hinzufügen</a:t>
            </a:r>
          </a:p>
        </p:txBody>
      </p:sp>
      <p:sp>
        <p:nvSpPr>
          <p:cNvPr id="8" name="Inhaltsplatzhalter 7"/>
          <p:cNvSpPr>
            <a:spLocks noGrp="1"/>
          </p:cNvSpPr>
          <p:nvPr>
            <p:ph sz="quarter" idx="14"/>
          </p:nvPr>
        </p:nvSpPr>
        <p:spPr>
          <a:xfrm>
            <a:off x="696732" y="1845191"/>
            <a:ext cx="7054163" cy="4319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Bildplatzhalter 3"/>
          <p:cNvSpPr>
            <a:spLocks noGrp="1"/>
          </p:cNvSpPr>
          <p:nvPr>
            <p:ph type="pic" sz="quarter" idx="18"/>
          </p:nvPr>
        </p:nvSpPr>
        <p:spPr>
          <a:xfrm>
            <a:off x="7896326" y="1917182"/>
            <a:ext cx="4295674" cy="4175497"/>
          </a:xfrm>
          <a:solidFill>
            <a:srgbClr val="CCE1ED"/>
          </a:solidFill>
        </p:spPr>
        <p:txBody>
          <a:bodyPr/>
          <a:lstStyle/>
          <a:p>
            <a:r>
              <a:rPr lang="de-DE"/>
              <a:t>Bild durch Klicken auf Symbol hinzufügen</a:t>
            </a:r>
            <a:endParaRPr lang="en-GB"/>
          </a:p>
        </p:txBody>
      </p:sp>
      <p:sp>
        <p:nvSpPr>
          <p:cNvPr id="2" name="Datumsplatzhalter 1"/>
          <p:cNvSpPr>
            <a:spLocks noGrp="1"/>
          </p:cNvSpPr>
          <p:nvPr>
            <p:ph type="dt" sz="half" idx="19"/>
          </p:nvPr>
        </p:nvSpPr>
        <p:spPr/>
        <p:txBody>
          <a:bodyPr/>
          <a:lstStyle/>
          <a:p>
            <a:fld id="{A5024994-D78B-478E-993B-27E94743E64E}" type="datetime1">
              <a:rPr lang="de-DE" smtClean="0"/>
              <a:t>12.09.2022</a:t>
            </a:fld>
            <a:endParaRPr lang="de-DE" dirty="0"/>
          </a:p>
        </p:txBody>
      </p:sp>
      <p:sp>
        <p:nvSpPr>
          <p:cNvPr id="5" name="Fußzeilenplatzhalter 4"/>
          <p:cNvSpPr>
            <a:spLocks noGrp="1"/>
          </p:cNvSpPr>
          <p:nvPr>
            <p:ph type="ftr" sz="quarter" idx="20"/>
          </p:nvPr>
        </p:nvSpPr>
        <p:spPr/>
        <p:txBody>
          <a:bodyPr/>
          <a:lstStyle/>
          <a:p>
            <a:r>
              <a:rPr lang="de-DE"/>
              <a:t>Flick Gocke Schaumburg Partnerschaft mbB</a:t>
            </a:r>
            <a:endParaRPr lang="de-DE" dirty="0"/>
          </a:p>
        </p:txBody>
      </p:sp>
      <p:sp>
        <p:nvSpPr>
          <p:cNvPr id="6" name="Foliennummernplatzhalter 5"/>
          <p:cNvSpPr>
            <a:spLocks noGrp="1"/>
          </p:cNvSpPr>
          <p:nvPr>
            <p:ph type="sldNum" sz="quarter" idx="21"/>
          </p:nvPr>
        </p:nvSpPr>
        <p:spPr/>
        <p:txBody>
          <a:bodyPr/>
          <a:lstStyle/>
          <a:p>
            <a:fld id="{761F7C54-956E-4035-96E5-E3754B49D8A7}" type="slidenum">
              <a:rPr lang="de-DE" smtClean="0"/>
              <a:pPr/>
              <a:t>‹Nr.›</a:t>
            </a:fld>
            <a:endParaRPr lang="de-DE" dirty="0"/>
          </a:p>
        </p:txBody>
      </p:sp>
    </p:spTree>
    <p:extLst>
      <p:ext uri="{BB962C8B-B14F-4D97-AF65-F5344CB8AC3E}">
        <p14:creationId xmlns:p14="http://schemas.microsoft.com/office/powerpoint/2010/main" val="5688185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el und 2x Inhalte">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de-DE" dirty="0"/>
              <a:t>Titel durch Klicken hinzufügen</a:t>
            </a:r>
          </a:p>
        </p:txBody>
      </p:sp>
      <p:sp>
        <p:nvSpPr>
          <p:cNvPr id="8" name="Inhaltsplatzhalter 7"/>
          <p:cNvSpPr>
            <a:spLocks noGrp="1"/>
          </p:cNvSpPr>
          <p:nvPr>
            <p:ph sz="quarter" idx="14"/>
          </p:nvPr>
        </p:nvSpPr>
        <p:spPr>
          <a:xfrm>
            <a:off x="696731" y="1845191"/>
            <a:ext cx="4966707" cy="4319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7"/>
          <p:cNvSpPr>
            <a:spLocks noGrp="1"/>
          </p:cNvSpPr>
          <p:nvPr>
            <p:ph sz="quarter" idx="15"/>
          </p:nvPr>
        </p:nvSpPr>
        <p:spPr>
          <a:xfrm>
            <a:off x="5808042" y="1845679"/>
            <a:ext cx="4966707" cy="4319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Datumsplatzhalter 1"/>
          <p:cNvSpPr>
            <a:spLocks noGrp="1"/>
          </p:cNvSpPr>
          <p:nvPr>
            <p:ph type="dt" sz="half" idx="16"/>
          </p:nvPr>
        </p:nvSpPr>
        <p:spPr/>
        <p:txBody>
          <a:bodyPr/>
          <a:lstStyle/>
          <a:p>
            <a:fld id="{917AF910-852F-4450-A6F7-D542808D1E69}" type="datetime1">
              <a:rPr lang="de-DE" smtClean="0"/>
              <a:t>12.09.2022</a:t>
            </a:fld>
            <a:endParaRPr lang="de-DE" dirty="0"/>
          </a:p>
        </p:txBody>
      </p:sp>
      <p:sp>
        <p:nvSpPr>
          <p:cNvPr id="9" name="Fußzeilenplatzhalter 8"/>
          <p:cNvSpPr>
            <a:spLocks noGrp="1"/>
          </p:cNvSpPr>
          <p:nvPr>
            <p:ph type="ftr" sz="quarter" idx="17"/>
          </p:nvPr>
        </p:nvSpPr>
        <p:spPr/>
        <p:txBody>
          <a:bodyPr/>
          <a:lstStyle/>
          <a:p>
            <a:r>
              <a:rPr lang="de-DE"/>
              <a:t>Flick Gocke Schaumburg Partnerschaft mbB</a:t>
            </a:r>
            <a:endParaRPr lang="de-DE" dirty="0"/>
          </a:p>
        </p:txBody>
      </p:sp>
      <p:sp>
        <p:nvSpPr>
          <p:cNvPr id="10" name="Foliennummernplatzhalter 9"/>
          <p:cNvSpPr>
            <a:spLocks noGrp="1"/>
          </p:cNvSpPr>
          <p:nvPr>
            <p:ph type="sldNum" sz="quarter" idx="18"/>
          </p:nvPr>
        </p:nvSpPr>
        <p:spPr/>
        <p:txBody>
          <a:bodyPr/>
          <a:lstStyle/>
          <a:p>
            <a:fld id="{761F7C54-956E-4035-96E5-E3754B49D8A7}" type="slidenum">
              <a:rPr lang="de-DE" smtClean="0"/>
              <a:pPr/>
              <a:t>‹Nr.›</a:t>
            </a:fld>
            <a:endParaRPr lang="de-DE" dirty="0"/>
          </a:p>
        </p:txBody>
      </p:sp>
    </p:spTree>
    <p:extLst>
      <p:ext uri="{BB962C8B-B14F-4D97-AF65-F5344CB8AC3E}">
        <p14:creationId xmlns:p14="http://schemas.microsoft.com/office/powerpoint/2010/main" val="38748254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C4A71A8-F8AA-4933-8144-A2D9E6308D83}"/>
              </a:ext>
            </a:extLst>
          </p:cNvPr>
          <p:cNvSpPr>
            <a:spLocks noGrp="1"/>
          </p:cNvSpPr>
          <p:nvPr>
            <p:ph type="dt" sz="half" idx="10"/>
            <p:custDataLst>
              <p:tags r:id="rId1"/>
            </p:custDataLst>
          </p:nvPr>
        </p:nvSpPr>
        <p:spPr/>
        <p:txBody>
          <a:bodyPr/>
          <a:lstStyle>
            <a:lvl1pPr>
              <a:defRPr lang="en-GB" dirty="0"/>
            </a:lvl1pPr>
          </a:lstStyle>
          <a:p>
            <a:endParaRPr lang="de-AT"/>
          </a:p>
        </p:txBody>
      </p:sp>
      <p:sp>
        <p:nvSpPr>
          <p:cNvPr id="7" name="Foliennummernplatzhalter 6">
            <a:extLst>
              <a:ext uri="{FF2B5EF4-FFF2-40B4-BE49-F238E27FC236}">
                <a16:creationId xmlns:a16="http://schemas.microsoft.com/office/drawing/2014/main" id="{96C8D37D-C1A0-4155-B14D-9BCEEB518ED7}"/>
              </a:ext>
            </a:extLst>
          </p:cNvPr>
          <p:cNvSpPr>
            <a:spLocks noGrp="1"/>
          </p:cNvSpPr>
          <p:nvPr>
            <p:ph type="sldNum" sz="quarter" idx="12"/>
            <p:custDataLst>
              <p:tags r:id="rId2"/>
            </p:custDataLst>
          </p:nvPr>
        </p:nvSpPr>
        <p:spPr/>
        <p:txBody>
          <a:bodyPr/>
          <a:lstStyle/>
          <a:p>
            <a:fld id="{B459E51B-A277-4897-9DDF-ABA4750400EB}" type="slidenum">
              <a:rPr lang="en-GB" smtClean="0"/>
              <a:t>‹Nr.›</a:t>
            </a:fld>
            <a:endParaRPr lang="en-GB" dirty="0"/>
          </a:p>
        </p:txBody>
      </p:sp>
      <p:sp>
        <p:nvSpPr>
          <p:cNvPr id="13" name="Content Placeholder 12">
            <a:extLst>
              <a:ext uri="{FF2B5EF4-FFF2-40B4-BE49-F238E27FC236}">
                <a16:creationId xmlns:a16="http://schemas.microsoft.com/office/drawing/2014/main" id="{ED4B01F3-2C3A-440A-9CEC-510218595269}"/>
              </a:ext>
            </a:extLst>
          </p:cNvPr>
          <p:cNvSpPr>
            <a:spLocks noGrp="1"/>
          </p:cNvSpPr>
          <p:nvPr>
            <p:ph sz="quarter" idx="13"/>
            <p:custDataLst>
              <p:tags r:id="rId3"/>
            </p:custDataLst>
          </p:nvPr>
        </p:nvSpPr>
        <p:spPr>
          <a:xfrm>
            <a:off x="461640" y="1592263"/>
            <a:ext cx="4689475" cy="412273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2">
            <a:extLst>
              <a:ext uri="{FF2B5EF4-FFF2-40B4-BE49-F238E27FC236}">
                <a16:creationId xmlns:a16="http://schemas.microsoft.com/office/drawing/2014/main" id="{3B91485E-E399-45F5-A788-5D68D9961386}"/>
              </a:ext>
            </a:extLst>
          </p:cNvPr>
          <p:cNvSpPr>
            <a:spLocks noGrp="1"/>
          </p:cNvSpPr>
          <p:nvPr>
            <p:ph sz="quarter" idx="14"/>
            <p:custDataLst>
              <p:tags r:id="rId4"/>
            </p:custDataLst>
          </p:nvPr>
        </p:nvSpPr>
        <p:spPr>
          <a:xfrm>
            <a:off x="6096001" y="1592263"/>
            <a:ext cx="4213225" cy="412273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9">
            <a:extLst>
              <a:ext uri="{FF2B5EF4-FFF2-40B4-BE49-F238E27FC236}">
                <a16:creationId xmlns:a16="http://schemas.microsoft.com/office/drawing/2014/main" id="{DD82BC42-3FCE-4090-B760-89C8A096F339}"/>
              </a:ext>
            </a:extLst>
          </p:cNvPr>
          <p:cNvSpPr>
            <a:spLocks noGrp="1"/>
          </p:cNvSpPr>
          <p:nvPr>
            <p:ph type="body" sz="quarter" idx="15" hasCustomPrompt="1"/>
            <p:custDataLst>
              <p:tags r:id="rId5"/>
            </p:custDataLst>
          </p:nvPr>
        </p:nvSpPr>
        <p:spPr>
          <a:xfrm>
            <a:off x="461640" y="895350"/>
            <a:ext cx="9853611" cy="400050"/>
          </a:xfrm>
        </p:spPr>
        <p:txBody>
          <a:bodyPr>
            <a:noAutofit/>
          </a:bodyPr>
          <a:lstStyle>
            <a:lvl1pPr marL="0" indent="0">
              <a:buNone/>
              <a:defRPr sz="2000">
                <a:latin typeface="Georgia" panose="02040502050405020303" pitchFamily="18" charset="0"/>
              </a:defRPr>
            </a:lvl1pPr>
            <a:lvl2pPr marL="266693" indent="0">
              <a:buFont typeface="Arial" panose="020B0604020202020204" pitchFamily="34" charset="0"/>
              <a:buNone/>
              <a:defRPr sz="2400">
                <a:latin typeface="Georgia" panose="02040502050405020303" pitchFamily="18" charset="0"/>
              </a:defRPr>
            </a:lvl2pPr>
            <a:lvl3pPr marL="541325" indent="0">
              <a:buFont typeface="Arial" panose="020B0604020202020204" pitchFamily="34" charset="0"/>
              <a:buNone/>
              <a:defRPr sz="2400">
                <a:latin typeface="Georgia" panose="02040502050405020303" pitchFamily="18" charset="0"/>
              </a:defRPr>
            </a:lvl3pPr>
            <a:lvl4pPr marL="808018" indent="0">
              <a:buFont typeface="Arial" panose="020B0604020202020204" pitchFamily="34" charset="0"/>
              <a:buNone/>
              <a:defRPr sz="2400">
                <a:latin typeface="Georgia" panose="02040502050405020303" pitchFamily="18" charset="0"/>
              </a:defRPr>
            </a:lvl4pPr>
            <a:lvl5pPr marL="1074710" indent="0">
              <a:buFont typeface="Arial" panose="020B0604020202020204" pitchFamily="34" charset="0"/>
              <a:buNone/>
              <a:defRPr sz="2400">
                <a:latin typeface="Georgia" panose="02040502050405020303" pitchFamily="18" charset="0"/>
              </a:defRPr>
            </a:lvl5pPr>
          </a:lstStyle>
          <a:p>
            <a:pPr lvl="0"/>
            <a:r>
              <a:rPr lang="en-GB" dirty="0"/>
              <a:t>Subtitle (optional)</a:t>
            </a:r>
          </a:p>
        </p:txBody>
      </p:sp>
      <p:sp>
        <p:nvSpPr>
          <p:cNvPr id="3" name="Title 2">
            <a:extLst>
              <a:ext uri="{FF2B5EF4-FFF2-40B4-BE49-F238E27FC236}">
                <a16:creationId xmlns:a16="http://schemas.microsoft.com/office/drawing/2014/main" id="{5AF03B26-5888-4A66-80ED-85DA3CDC3919}"/>
              </a:ext>
            </a:extLst>
          </p:cNvPr>
          <p:cNvSpPr>
            <a:spLocks noGrp="1"/>
          </p:cNvSpPr>
          <p:nvPr>
            <p:ph type="title"/>
            <p:custDataLst>
              <p:tags r:id="rId6"/>
            </p:custDataLst>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234258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halte und Diagremm rechts">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de-DE" dirty="0"/>
              <a:t>Titel durch Klicken hinzufügen</a:t>
            </a:r>
          </a:p>
        </p:txBody>
      </p:sp>
      <p:sp>
        <p:nvSpPr>
          <p:cNvPr id="8" name="Inhaltsplatzhalter 7"/>
          <p:cNvSpPr>
            <a:spLocks noGrp="1"/>
          </p:cNvSpPr>
          <p:nvPr>
            <p:ph sz="quarter" idx="14"/>
          </p:nvPr>
        </p:nvSpPr>
        <p:spPr>
          <a:xfrm>
            <a:off x="696731" y="1845191"/>
            <a:ext cx="4966707" cy="4319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Datumsplatzhalter 1"/>
          <p:cNvSpPr>
            <a:spLocks noGrp="1"/>
          </p:cNvSpPr>
          <p:nvPr>
            <p:ph type="dt" sz="half" idx="16"/>
          </p:nvPr>
        </p:nvSpPr>
        <p:spPr/>
        <p:txBody>
          <a:bodyPr/>
          <a:lstStyle/>
          <a:p>
            <a:fld id="{9576F785-76E1-40E0-841C-063C95533C59}" type="datetime1">
              <a:rPr lang="de-DE" smtClean="0"/>
              <a:t>12.09.2022</a:t>
            </a:fld>
            <a:endParaRPr lang="de-DE" dirty="0"/>
          </a:p>
        </p:txBody>
      </p:sp>
      <p:sp>
        <p:nvSpPr>
          <p:cNvPr id="7" name="Fußzeilenplatzhalter 6"/>
          <p:cNvSpPr>
            <a:spLocks noGrp="1"/>
          </p:cNvSpPr>
          <p:nvPr>
            <p:ph type="ftr" sz="quarter" idx="17"/>
          </p:nvPr>
        </p:nvSpPr>
        <p:spPr/>
        <p:txBody>
          <a:bodyPr/>
          <a:lstStyle/>
          <a:p>
            <a:r>
              <a:rPr lang="de-DE"/>
              <a:t>Flick Gocke Schaumburg Partnerschaft mbB</a:t>
            </a:r>
            <a:endParaRPr lang="de-DE" dirty="0"/>
          </a:p>
        </p:txBody>
      </p:sp>
      <p:sp>
        <p:nvSpPr>
          <p:cNvPr id="10" name="Foliennummernplatzhalter 9"/>
          <p:cNvSpPr>
            <a:spLocks noGrp="1"/>
          </p:cNvSpPr>
          <p:nvPr>
            <p:ph type="sldNum" sz="quarter" idx="18"/>
          </p:nvPr>
        </p:nvSpPr>
        <p:spPr/>
        <p:txBody>
          <a:bodyPr/>
          <a:lstStyle/>
          <a:p>
            <a:fld id="{761F7C54-956E-4035-96E5-E3754B49D8A7}" type="slidenum">
              <a:rPr lang="de-DE" smtClean="0"/>
              <a:pPr/>
              <a:t>‹Nr.›</a:t>
            </a:fld>
            <a:endParaRPr lang="de-DE" dirty="0"/>
          </a:p>
        </p:txBody>
      </p:sp>
      <p:sp>
        <p:nvSpPr>
          <p:cNvPr id="5" name="Diagrammplatzhalter 4"/>
          <p:cNvSpPr>
            <a:spLocks noGrp="1"/>
          </p:cNvSpPr>
          <p:nvPr>
            <p:ph type="chart" sz="quarter" idx="19"/>
          </p:nvPr>
        </p:nvSpPr>
        <p:spPr>
          <a:xfrm>
            <a:off x="5808737" y="1917256"/>
            <a:ext cx="5973794" cy="4318588"/>
          </a:xfrm>
          <a:solidFill>
            <a:srgbClr val="CCE1ED"/>
          </a:solidFill>
        </p:spPr>
        <p:txBody>
          <a:bodyPr/>
          <a:lstStyle/>
          <a:p>
            <a:r>
              <a:rPr lang="de-DE"/>
              <a:t>Diagramm durch Klicken auf Symbol hinzufügen</a:t>
            </a:r>
          </a:p>
        </p:txBody>
      </p:sp>
    </p:spTree>
    <p:extLst>
      <p:ext uri="{BB962C8B-B14F-4D97-AF65-F5344CB8AC3E}">
        <p14:creationId xmlns:p14="http://schemas.microsoft.com/office/powerpoint/2010/main" val="111026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halte und Bild links">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de-DE" dirty="0"/>
              <a:t>Titel durch Klicken hinzufügen</a:t>
            </a:r>
          </a:p>
        </p:txBody>
      </p:sp>
      <p:sp>
        <p:nvSpPr>
          <p:cNvPr id="8" name="Inhaltsplatzhalter 7"/>
          <p:cNvSpPr>
            <a:spLocks noGrp="1"/>
          </p:cNvSpPr>
          <p:nvPr>
            <p:ph sz="quarter" idx="14"/>
          </p:nvPr>
        </p:nvSpPr>
        <p:spPr>
          <a:xfrm>
            <a:off x="5808042" y="1845191"/>
            <a:ext cx="4966707" cy="4319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Bildplatzhalter 8"/>
          <p:cNvSpPr>
            <a:spLocks noGrp="1"/>
          </p:cNvSpPr>
          <p:nvPr>
            <p:ph type="pic" sz="quarter" idx="15"/>
          </p:nvPr>
        </p:nvSpPr>
        <p:spPr>
          <a:xfrm>
            <a:off x="696806" y="1917182"/>
            <a:ext cx="4895269" cy="4031067"/>
          </a:xfrm>
          <a:solidFill>
            <a:srgbClr val="CCE1ED"/>
          </a:solidFill>
        </p:spPr>
        <p:txBody>
          <a:bodyPr/>
          <a:lstStyle/>
          <a:p>
            <a:r>
              <a:rPr lang="de-DE"/>
              <a:t>Bild durch Klicken auf Symbol hinzufügen</a:t>
            </a:r>
            <a:endParaRPr lang="en-GB" dirty="0"/>
          </a:p>
        </p:txBody>
      </p:sp>
      <p:sp>
        <p:nvSpPr>
          <p:cNvPr id="2" name="Datumsplatzhalter 1"/>
          <p:cNvSpPr>
            <a:spLocks noGrp="1"/>
          </p:cNvSpPr>
          <p:nvPr>
            <p:ph type="dt" sz="half" idx="16"/>
          </p:nvPr>
        </p:nvSpPr>
        <p:spPr/>
        <p:txBody>
          <a:bodyPr/>
          <a:lstStyle/>
          <a:p>
            <a:fld id="{9D4E42E7-8166-41ED-B18D-69A853E75287}" type="datetime1">
              <a:rPr lang="de-DE" smtClean="0"/>
              <a:t>12.09.2022</a:t>
            </a:fld>
            <a:endParaRPr lang="de-DE" dirty="0"/>
          </a:p>
        </p:txBody>
      </p:sp>
      <p:sp>
        <p:nvSpPr>
          <p:cNvPr id="7" name="Fußzeilenplatzhalter 6"/>
          <p:cNvSpPr>
            <a:spLocks noGrp="1"/>
          </p:cNvSpPr>
          <p:nvPr>
            <p:ph type="ftr" sz="quarter" idx="17"/>
          </p:nvPr>
        </p:nvSpPr>
        <p:spPr/>
        <p:txBody>
          <a:bodyPr/>
          <a:lstStyle/>
          <a:p>
            <a:r>
              <a:rPr lang="de-DE"/>
              <a:t>Flick Gocke Schaumburg Partnerschaft mbB</a:t>
            </a:r>
            <a:endParaRPr lang="de-DE" dirty="0"/>
          </a:p>
        </p:txBody>
      </p:sp>
      <p:sp>
        <p:nvSpPr>
          <p:cNvPr id="10" name="Foliennummernplatzhalter 9"/>
          <p:cNvSpPr>
            <a:spLocks noGrp="1"/>
          </p:cNvSpPr>
          <p:nvPr>
            <p:ph type="sldNum" sz="quarter" idx="18"/>
          </p:nvPr>
        </p:nvSpPr>
        <p:spPr/>
        <p:txBody>
          <a:bodyPr/>
          <a:lstStyle/>
          <a:p>
            <a:fld id="{761F7C54-956E-4035-96E5-E3754B49D8A7}" type="slidenum">
              <a:rPr lang="de-DE" smtClean="0"/>
              <a:pPr/>
              <a:t>‹Nr.›</a:t>
            </a:fld>
            <a:endParaRPr lang="de-DE" dirty="0"/>
          </a:p>
        </p:txBody>
      </p:sp>
    </p:spTree>
    <p:extLst>
      <p:ext uri="{BB962C8B-B14F-4D97-AF65-F5344CB8AC3E}">
        <p14:creationId xmlns:p14="http://schemas.microsoft.com/office/powerpoint/2010/main" val="12652584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oßes Bild">
    <p:spTree>
      <p:nvGrpSpPr>
        <p:cNvPr id="1" name=""/>
        <p:cNvGrpSpPr/>
        <p:nvPr/>
      </p:nvGrpSpPr>
      <p:grpSpPr>
        <a:xfrm>
          <a:off x="0" y="0"/>
          <a:ext cx="0" cy="0"/>
          <a:chOff x="0" y="0"/>
          <a:chExt cx="0" cy="0"/>
        </a:xfrm>
      </p:grpSpPr>
      <p:sp>
        <p:nvSpPr>
          <p:cNvPr id="7" name="Bildplatzhalter 6"/>
          <p:cNvSpPr>
            <a:spLocks noGrp="1"/>
          </p:cNvSpPr>
          <p:nvPr>
            <p:ph type="pic" sz="quarter" idx="10"/>
          </p:nvPr>
        </p:nvSpPr>
        <p:spPr>
          <a:xfrm>
            <a:off x="0" y="0"/>
            <a:ext cx="12192000" cy="6858000"/>
          </a:xfrm>
          <a:solidFill>
            <a:srgbClr val="CCE1ED"/>
          </a:solidFill>
        </p:spPr>
        <p:txBody>
          <a:bodyPr lIns="72000" tIns="72000" rIns="72000" bIns="72000"/>
          <a:lstStyle/>
          <a:p>
            <a:r>
              <a:rPr lang="de-DE"/>
              <a:t>Bild durch Klicken auf Symbol hinzufügen</a:t>
            </a:r>
            <a:endParaRPr lang="en-GB"/>
          </a:p>
        </p:txBody>
      </p:sp>
      <p:sp>
        <p:nvSpPr>
          <p:cNvPr id="9" name="Textplatzhalter 8"/>
          <p:cNvSpPr>
            <a:spLocks noGrp="1"/>
          </p:cNvSpPr>
          <p:nvPr>
            <p:ph type="body" sz="quarter" idx="11"/>
          </p:nvPr>
        </p:nvSpPr>
        <p:spPr>
          <a:xfrm>
            <a:off x="0" y="4364887"/>
            <a:ext cx="4722406" cy="477677"/>
          </a:xfrm>
          <a:solidFill>
            <a:schemeClr val="tx1">
              <a:alpha val="80000"/>
            </a:schemeClr>
          </a:solidFill>
          <a:ln>
            <a:noFill/>
          </a:ln>
        </p:spPr>
        <p:txBody>
          <a:bodyPr wrap="none" lIns="684000" tIns="72000" rIns="144000" bIns="72000">
            <a:spAutoFit/>
          </a:bodyPr>
          <a:lstStyle>
            <a:lvl1pPr>
              <a:defRPr sz="2399">
                <a:solidFill>
                  <a:schemeClr val="bg1"/>
                </a:solidFill>
              </a:defRPr>
            </a:lvl1pPr>
          </a:lstStyle>
          <a:p>
            <a:pPr lvl="0"/>
            <a:r>
              <a:rPr lang="de-DE"/>
              <a:t>Mastertextformat bearbeiten</a:t>
            </a:r>
          </a:p>
        </p:txBody>
      </p:sp>
    </p:spTree>
    <p:extLst>
      <p:ext uri="{BB962C8B-B14F-4D97-AF65-F5344CB8AC3E}">
        <p14:creationId xmlns:p14="http://schemas.microsoft.com/office/powerpoint/2010/main" val="37262429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de-DE" dirty="0"/>
              <a:t>Titel durch Klicken hinzufügen</a:t>
            </a:r>
          </a:p>
        </p:txBody>
      </p:sp>
      <p:sp>
        <p:nvSpPr>
          <p:cNvPr id="2" name="Datumsplatzhalter 1"/>
          <p:cNvSpPr>
            <a:spLocks noGrp="1"/>
          </p:cNvSpPr>
          <p:nvPr>
            <p:ph type="dt" sz="half" idx="10"/>
          </p:nvPr>
        </p:nvSpPr>
        <p:spPr/>
        <p:txBody>
          <a:bodyPr/>
          <a:lstStyle/>
          <a:p>
            <a:fld id="{0D001222-8C95-4B44-A062-2D86E9EAFB65}" type="datetime1">
              <a:rPr lang="de-DE" smtClean="0"/>
              <a:t>12.09.2022</a:t>
            </a:fld>
            <a:endParaRPr lang="de-DE" dirty="0"/>
          </a:p>
        </p:txBody>
      </p:sp>
      <p:sp>
        <p:nvSpPr>
          <p:cNvPr id="7" name="Fußzeilenplatzhalter 6"/>
          <p:cNvSpPr>
            <a:spLocks noGrp="1"/>
          </p:cNvSpPr>
          <p:nvPr>
            <p:ph type="ftr" sz="quarter" idx="11"/>
          </p:nvPr>
        </p:nvSpPr>
        <p:spPr/>
        <p:txBody>
          <a:bodyPr/>
          <a:lstStyle/>
          <a:p>
            <a:r>
              <a:rPr lang="de-DE"/>
              <a:t>Flick Gocke Schaumburg Partnerschaft mbB</a:t>
            </a:r>
            <a:endParaRPr lang="de-DE" dirty="0"/>
          </a:p>
        </p:txBody>
      </p:sp>
      <p:sp>
        <p:nvSpPr>
          <p:cNvPr id="8" name="Foliennummernplatzhalter 7"/>
          <p:cNvSpPr>
            <a:spLocks noGrp="1"/>
          </p:cNvSpPr>
          <p:nvPr>
            <p:ph type="sldNum" sz="quarter" idx="12"/>
          </p:nvPr>
        </p:nvSpPr>
        <p:spPr/>
        <p:txBody>
          <a:bodyPr/>
          <a:lstStyle/>
          <a:p>
            <a:fld id="{761F7C54-956E-4035-96E5-E3754B49D8A7}" type="slidenum">
              <a:rPr lang="de-DE" smtClean="0"/>
              <a:pPr/>
              <a:t>‹Nr.›</a:t>
            </a:fld>
            <a:endParaRPr lang="de-DE" dirty="0"/>
          </a:p>
        </p:txBody>
      </p:sp>
    </p:spTree>
    <p:extLst>
      <p:ext uri="{BB962C8B-B14F-4D97-AF65-F5344CB8AC3E}">
        <p14:creationId xmlns:p14="http://schemas.microsoft.com/office/powerpoint/2010/main" val="5596159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urzes Profil mit Foto">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Ihr Ansprechpartner</a:t>
            </a:r>
          </a:p>
        </p:txBody>
      </p:sp>
      <p:sp>
        <p:nvSpPr>
          <p:cNvPr id="15" name="Bildplatzhalter 14"/>
          <p:cNvSpPr>
            <a:spLocks noGrp="1" noChangeAspect="1"/>
          </p:cNvSpPr>
          <p:nvPr>
            <p:ph type="pic" sz="quarter" idx="13"/>
          </p:nvPr>
        </p:nvSpPr>
        <p:spPr>
          <a:xfrm>
            <a:off x="696806" y="1917182"/>
            <a:ext cx="1439625" cy="1439667"/>
          </a:xfrm>
          <a:solidFill>
            <a:srgbClr val="B0946F"/>
          </a:solidFill>
        </p:spPr>
        <p:txBody>
          <a:bodyPr lIns="72000" tIns="72000" rIns="72000" bIns="72000"/>
          <a:lstStyle>
            <a:lvl1pPr>
              <a:defRPr sz="1100">
                <a:solidFill>
                  <a:schemeClr val="tx1"/>
                </a:solidFill>
              </a:defRPr>
            </a:lvl1pPr>
          </a:lstStyle>
          <a:p>
            <a:r>
              <a:rPr lang="de-DE"/>
              <a:t>Bild durch Klicken auf Symbol hinzufügen</a:t>
            </a:r>
            <a:endParaRPr lang="de-DE" dirty="0"/>
          </a:p>
        </p:txBody>
      </p:sp>
      <p:sp>
        <p:nvSpPr>
          <p:cNvPr id="27" name="Textplatzhalter 26"/>
          <p:cNvSpPr>
            <a:spLocks noGrp="1"/>
          </p:cNvSpPr>
          <p:nvPr>
            <p:ph type="body" sz="quarter" idx="14" hasCustomPrompt="1"/>
          </p:nvPr>
        </p:nvSpPr>
        <p:spPr>
          <a:xfrm>
            <a:off x="2317503" y="1917350"/>
            <a:ext cx="6874034" cy="2015589"/>
          </a:xfrm>
        </p:spPr>
        <p:txBody>
          <a:bodyPr/>
          <a:lstStyle>
            <a:lvl1pPr>
              <a:defRPr sz="1600" b="1">
                <a:solidFill>
                  <a:schemeClr val="tx1"/>
                </a:solidFill>
              </a:defRPr>
            </a:lvl1pPr>
            <a:lvl2pPr marL="0" indent="0">
              <a:buFontTx/>
              <a:buNone/>
              <a:defRPr sz="1600"/>
            </a:lvl2pPr>
          </a:lstStyle>
          <a:p>
            <a:pPr lvl="0"/>
            <a:r>
              <a:rPr lang="de-DE" dirty="0"/>
              <a:t>Mastertextformat bearbeiten</a:t>
            </a:r>
          </a:p>
          <a:p>
            <a:pPr lvl="1"/>
            <a:r>
              <a:rPr lang="de-DE" dirty="0"/>
              <a:t>Zweite Ebene</a:t>
            </a:r>
          </a:p>
        </p:txBody>
      </p:sp>
      <p:sp>
        <p:nvSpPr>
          <p:cNvPr id="6" name="Datumsplatzhalter 5"/>
          <p:cNvSpPr>
            <a:spLocks noGrp="1"/>
          </p:cNvSpPr>
          <p:nvPr>
            <p:ph type="dt" sz="half" idx="15"/>
          </p:nvPr>
        </p:nvSpPr>
        <p:spPr/>
        <p:txBody>
          <a:bodyPr/>
          <a:lstStyle/>
          <a:p>
            <a:fld id="{9159E426-AA99-4AD7-8E60-8AF4B82F70E4}" type="datetime1">
              <a:rPr lang="de-DE" smtClean="0"/>
              <a:t>12.09.2022</a:t>
            </a:fld>
            <a:endParaRPr lang="de-DE" dirty="0"/>
          </a:p>
        </p:txBody>
      </p:sp>
      <p:sp>
        <p:nvSpPr>
          <p:cNvPr id="7" name="Fußzeilenplatzhalter 6"/>
          <p:cNvSpPr>
            <a:spLocks noGrp="1"/>
          </p:cNvSpPr>
          <p:nvPr>
            <p:ph type="ftr" sz="quarter" idx="16"/>
          </p:nvPr>
        </p:nvSpPr>
        <p:spPr/>
        <p:txBody>
          <a:bodyPr/>
          <a:lstStyle/>
          <a:p>
            <a:r>
              <a:rPr lang="de-DE"/>
              <a:t>Flick Gocke Schaumburg Partnerschaft mbB</a:t>
            </a:r>
            <a:endParaRPr lang="de-DE" dirty="0"/>
          </a:p>
        </p:txBody>
      </p:sp>
      <p:sp>
        <p:nvSpPr>
          <p:cNvPr id="8" name="Foliennummernplatzhalter 7"/>
          <p:cNvSpPr>
            <a:spLocks noGrp="1"/>
          </p:cNvSpPr>
          <p:nvPr>
            <p:ph type="sldNum" sz="quarter" idx="17"/>
          </p:nvPr>
        </p:nvSpPr>
        <p:spPr/>
        <p:txBody>
          <a:bodyPr/>
          <a:lstStyle/>
          <a:p>
            <a:fld id="{761F7C54-956E-4035-96E5-E3754B49D8A7}" type="slidenum">
              <a:rPr lang="de-DE" smtClean="0"/>
              <a:pPr/>
              <a:t>‹Nr.›</a:t>
            </a:fld>
            <a:endParaRPr lang="de-DE" dirty="0"/>
          </a:p>
        </p:txBody>
      </p:sp>
      <p:grpSp>
        <p:nvGrpSpPr>
          <p:cNvPr id="17" name="Gruppieren 19">
            <a:extLst>
              <a:ext uri="{FF2B5EF4-FFF2-40B4-BE49-F238E27FC236}">
                <a16:creationId xmlns:a16="http://schemas.microsoft.com/office/drawing/2014/main" id="{8743797F-8954-2B43-975C-97436A2BE237}"/>
              </a:ext>
            </a:extLst>
          </p:cNvPr>
          <p:cNvGrpSpPr>
            <a:grpSpLocks/>
          </p:cNvGrpSpPr>
          <p:nvPr userDrawn="1"/>
        </p:nvGrpSpPr>
        <p:grpSpPr bwMode="auto">
          <a:xfrm>
            <a:off x="696732" y="4653473"/>
            <a:ext cx="9708209" cy="1444291"/>
            <a:chOff x="697147" y="4653930"/>
            <a:chExt cx="9711074" cy="1445677"/>
          </a:xfrm>
        </p:grpSpPr>
        <p:sp>
          <p:nvSpPr>
            <p:cNvPr id="26" name="Text Box 2">
              <a:extLst>
                <a:ext uri="{FF2B5EF4-FFF2-40B4-BE49-F238E27FC236}">
                  <a16:creationId xmlns:a16="http://schemas.microsoft.com/office/drawing/2014/main" id="{39E98B22-A037-4B46-B4F9-28D3441CB28D}"/>
                </a:ext>
              </a:extLst>
            </p:cNvPr>
            <p:cNvSpPr txBox="1">
              <a:spLocks noChangeAspect="1" noChangeArrowheads="1"/>
            </p:cNvSpPr>
            <p:nvPr userDrawn="1"/>
          </p:nvSpPr>
          <p:spPr bwMode="auto">
            <a:xfrm>
              <a:off x="697147" y="4660285"/>
              <a:ext cx="1439912"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latin typeface="+mj-lt"/>
                  <a:ea typeface="Calibri" charset="0"/>
                  <a:cs typeface="Calibri" charset="0"/>
                </a:rPr>
                <a:t>Bonn</a:t>
              </a:r>
            </a:p>
            <a:p>
              <a:pPr defTabSz="1088449" fontAlgn="auto">
                <a:lnSpc>
                  <a:spcPct val="120000"/>
                </a:lnSpc>
                <a:spcBef>
                  <a:spcPct val="50000"/>
                </a:spcBef>
                <a:defRPr/>
              </a:pPr>
              <a:r>
                <a:rPr lang="de-DE" sz="900" dirty="0">
                  <a:latin typeface="+mj-lt"/>
                  <a:ea typeface="Calibri" charset="0"/>
                  <a:cs typeface="Calibri" charset="0"/>
                </a:rPr>
                <a:t>Fritz-Schäffer-Straße 1</a:t>
              </a:r>
              <a:br>
                <a:rPr lang="de-DE" sz="900" dirty="0">
                  <a:latin typeface="+mj-lt"/>
                  <a:ea typeface="Calibri" charset="0"/>
                  <a:cs typeface="Calibri" charset="0"/>
                </a:rPr>
              </a:br>
              <a:r>
                <a:rPr lang="de-DE" sz="900" dirty="0">
                  <a:latin typeface="+mj-lt"/>
                  <a:ea typeface="Calibri" charset="0"/>
                  <a:cs typeface="Calibri" charset="0"/>
                </a:rPr>
                <a:t>53113 Bonn</a:t>
              </a:r>
              <a:br>
                <a:rPr lang="de-DE" sz="900" dirty="0">
                  <a:latin typeface="+mj-lt"/>
                  <a:ea typeface="Calibri" charset="0"/>
                  <a:cs typeface="Calibri" charset="0"/>
                </a:rPr>
              </a:br>
              <a:r>
                <a:rPr lang="de-DE" sz="900" dirty="0">
                  <a:latin typeface="+mj-lt"/>
                  <a:ea typeface="Calibri" charset="0"/>
                  <a:cs typeface="Calibri" charset="0"/>
                  <a:sym typeface="Symbol" charset="2"/>
                </a:rPr>
                <a:t>T +49 228/95 94-0</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 +49 228/95 94-100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bonn@fgs.de</a:t>
              </a:r>
              <a:endParaRPr lang="de-DE" sz="900" dirty="0">
                <a:latin typeface="+mj-lt"/>
                <a:ea typeface="Calibri" charset="0"/>
                <a:cs typeface="Calibri" charset="0"/>
              </a:endParaRPr>
            </a:p>
          </p:txBody>
        </p:sp>
        <p:sp>
          <p:nvSpPr>
            <p:cNvPr id="28" name="Text Box 3">
              <a:extLst>
                <a:ext uri="{FF2B5EF4-FFF2-40B4-BE49-F238E27FC236}">
                  <a16:creationId xmlns:a16="http://schemas.microsoft.com/office/drawing/2014/main" id="{9EB9F15C-5CC8-8247-B57E-013494DBFC50}"/>
                </a:ext>
              </a:extLst>
            </p:cNvPr>
            <p:cNvSpPr txBox="1">
              <a:spLocks noChangeAspect="1" noChangeArrowheads="1"/>
            </p:cNvSpPr>
            <p:nvPr userDrawn="1"/>
          </p:nvSpPr>
          <p:spPr bwMode="auto">
            <a:xfrm>
              <a:off x="2075145" y="4660285"/>
              <a:ext cx="1439912"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latin typeface="+mj-lt"/>
                  <a:ea typeface="Calibri" charset="0"/>
                  <a:cs typeface="Calibri" charset="0"/>
                </a:rPr>
                <a:t>Berlin</a:t>
              </a:r>
            </a:p>
            <a:p>
              <a:pPr defTabSz="1088449" fontAlgn="auto">
                <a:lnSpc>
                  <a:spcPct val="120000"/>
                </a:lnSpc>
                <a:spcBef>
                  <a:spcPct val="50000"/>
                </a:spcBef>
                <a:defRPr/>
              </a:pPr>
              <a:r>
                <a:rPr lang="de-DE" sz="900" dirty="0">
                  <a:latin typeface="+mj-lt"/>
                  <a:ea typeface="Calibri" charset="0"/>
                  <a:cs typeface="Calibri" charset="0"/>
                </a:rPr>
                <a:t>Unter den Linden 10</a:t>
              </a:r>
              <a:br>
                <a:rPr lang="de-DE" sz="900" dirty="0">
                  <a:latin typeface="+mj-lt"/>
                  <a:ea typeface="Calibri" charset="0"/>
                  <a:cs typeface="Calibri" charset="0"/>
                </a:rPr>
              </a:br>
              <a:r>
                <a:rPr lang="de-DE" sz="900" dirty="0">
                  <a:latin typeface="+mj-lt"/>
                  <a:ea typeface="Calibri" charset="0"/>
                  <a:cs typeface="Calibri" charset="0"/>
                </a:rPr>
                <a:t>10117 Berlin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T +49 30/21 00 20-0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 +49 30/21 00 20-100</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berlin@fgs.de </a:t>
              </a:r>
              <a:endParaRPr lang="de-DE" sz="900" dirty="0">
                <a:latin typeface="+mj-lt"/>
                <a:ea typeface="Calibri" charset="0"/>
                <a:cs typeface="Calibri" charset="0"/>
              </a:endParaRPr>
            </a:p>
          </p:txBody>
        </p:sp>
        <p:sp>
          <p:nvSpPr>
            <p:cNvPr id="29" name="Text Box 4">
              <a:extLst>
                <a:ext uri="{FF2B5EF4-FFF2-40B4-BE49-F238E27FC236}">
                  <a16:creationId xmlns:a16="http://schemas.microsoft.com/office/drawing/2014/main" id="{E057E539-3BD5-E148-B833-3032E723BC5B}"/>
                </a:ext>
              </a:extLst>
            </p:cNvPr>
            <p:cNvSpPr txBox="1">
              <a:spLocks noChangeAspect="1" noChangeArrowheads="1"/>
            </p:cNvSpPr>
            <p:nvPr userDrawn="1"/>
          </p:nvSpPr>
          <p:spPr bwMode="auto">
            <a:xfrm>
              <a:off x="3454730" y="4660285"/>
              <a:ext cx="1439913"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latin typeface="+mj-lt"/>
                  <a:ea typeface="Calibri" charset="0"/>
                  <a:cs typeface="Calibri" charset="0"/>
                </a:rPr>
                <a:t>Frankfurt</a:t>
              </a:r>
            </a:p>
            <a:p>
              <a:pPr defTabSz="1088449" fontAlgn="auto">
                <a:lnSpc>
                  <a:spcPct val="120000"/>
                </a:lnSpc>
                <a:spcBef>
                  <a:spcPct val="50000"/>
                </a:spcBef>
                <a:defRPr/>
              </a:pPr>
              <a:r>
                <a:rPr lang="de-DE" sz="900" dirty="0">
                  <a:latin typeface="+mj-lt"/>
                  <a:ea typeface="Calibri" charset="0"/>
                  <a:cs typeface="Calibri" charset="0"/>
                </a:rPr>
                <a:t>MesseTurm</a:t>
              </a:r>
            </a:p>
            <a:p>
              <a:pPr defTabSz="1088449" fontAlgn="auto">
                <a:lnSpc>
                  <a:spcPct val="120000"/>
                </a:lnSpc>
                <a:spcBef>
                  <a:spcPts val="0"/>
                </a:spcBef>
                <a:defRPr/>
              </a:pPr>
              <a:r>
                <a:rPr lang="de-DE" sz="900" dirty="0">
                  <a:latin typeface="+mj-lt"/>
                  <a:ea typeface="Calibri" charset="0"/>
                  <a:cs typeface="Calibri" charset="0"/>
                </a:rPr>
                <a:t>Friedrich-Ebert-Anlage 49</a:t>
              </a:r>
            </a:p>
            <a:p>
              <a:pPr defTabSz="1088449" fontAlgn="auto">
                <a:lnSpc>
                  <a:spcPct val="120000"/>
                </a:lnSpc>
                <a:spcBef>
                  <a:spcPts val="0"/>
                </a:spcBef>
                <a:defRPr/>
              </a:pPr>
              <a:r>
                <a:rPr lang="de-DE" sz="900" dirty="0">
                  <a:latin typeface="+mj-lt"/>
                  <a:ea typeface="Calibri" charset="0"/>
                  <a:cs typeface="Calibri" charset="0"/>
                </a:rPr>
                <a:t>60308 Frankfurt a.M.</a:t>
              </a:r>
            </a:p>
            <a:p>
              <a:pPr defTabSz="1088449" fontAlgn="auto">
                <a:lnSpc>
                  <a:spcPct val="120000"/>
                </a:lnSpc>
                <a:spcBef>
                  <a:spcPts val="0"/>
                </a:spcBef>
                <a:defRPr/>
              </a:pPr>
              <a:r>
                <a:rPr lang="de-DE" sz="900" dirty="0">
                  <a:latin typeface="+mj-lt"/>
                  <a:ea typeface="Calibri" charset="0"/>
                  <a:cs typeface="Calibri" charset="0"/>
                  <a:sym typeface="Symbol" charset="2"/>
                </a:rPr>
                <a:t>T +49 69/717 03-0</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 +49 69/717 03-100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rankfurt@fgs.de</a:t>
              </a:r>
              <a:endParaRPr lang="de-DE" sz="900" dirty="0">
                <a:latin typeface="+mj-lt"/>
                <a:ea typeface="Calibri" charset="0"/>
                <a:cs typeface="Calibri" charset="0"/>
              </a:endParaRPr>
            </a:p>
          </p:txBody>
        </p:sp>
        <p:sp>
          <p:nvSpPr>
            <p:cNvPr id="30" name="Text Box 10">
              <a:extLst>
                <a:ext uri="{FF2B5EF4-FFF2-40B4-BE49-F238E27FC236}">
                  <a16:creationId xmlns:a16="http://schemas.microsoft.com/office/drawing/2014/main" id="{6E3EC44C-8B18-EA44-B2F4-9B18206E042B}"/>
                </a:ext>
              </a:extLst>
            </p:cNvPr>
            <p:cNvSpPr txBox="1">
              <a:spLocks noChangeAspect="1" noChangeArrowheads="1"/>
            </p:cNvSpPr>
            <p:nvPr userDrawn="1"/>
          </p:nvSpPr>
          <p:spPr bwMode="auto">
            <a:xfrm>
              <a:off x="4832728" y="4660285"/>
              <a:ext cx="1439913"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latin typeface="+mj-lt"/>
                  <a:ea typeface="Calibri" charset="0"/>
                  <a:cs typeface="Calibri" charset="0"/>
                </a:rPr>
                <a:t>München</a:t>
              </a:r>
            </a:p>
            <a:p>
              <a:pPr defTabSz="1088449" fontAlgn="auto">
                <a:lnSpc>
                  <a:spcPct val="120000"/>
                </a:lnSpc>
                <a:spcBef>
                  <a:spcPct val="50000"/>
                </a:spcBef>
                <a:defRPr/>
              </a:pPr>
              <a:r>
                <a:rPr lang="de-DE" sz="900" dirty="0">
                  <a:latin typeface="+mj-lt"/>
                  <a:ea typeface="Calibri" charset="0"/>
                  <a:cs typeface="Calibri" charset="0"/>
                </a:rPr>
                <a:t>Brienner Straße 9</a:t>
              </a:r>
              <a:br>
                <a:rPr lang="de-DE" sz="900" dirty="0">
                  <a:latin typeface="+mj-lt"/>
                  <a:ea typeface="Calibri" charset="0"/>
                  <a:cs typeface="Calibri" charset="0"/>
                </a:rPr>
              </a:br>
              <a:r>
                <a:rPr lang="de-DE" sz="900" dirty="0">
                  <a:latin typeface="+mj-lt"/>
                  <a:ea typeface="Calibri" charset="0"/>
                  <a:cs typeface="Calibri" charset="0"/>
                </a:rPr>
                <a:t>80333 München</a:t>
              </a:r>
              <a:br>
                <a:rPr lang="de-DE" sz="900" dirty="0">
                  <a:latin typeface="+mj-lt"/>
                  <a:ea typeface="Calibri" charset="0"/>
                  <a:cs typeface="Calibri" charset="0"/>
                </a:rPr>
              </a:br>
              <a:r>
                <a:rPr lang="de-DE" sz="900" dirty="0">
                  <a:latin typeface="+mj-lt"/>
                  <a:ea typeface="Calibri" charset="0"/>
                  <a:cs typeface="Calibri" charset="0"/>
                  <a:sym typeface="Symbol" charset="2"/>
                </a:rPr>
                <a:t>T +49 89/80 00 16-0</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 +49 89/80 00 16-899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muenchen@fgs.de</a:t>
              </a:r>
              <a:endParaRPr lang="de-DE" sz="900" dirty="0">
                <a:latin typeface="+mj-lt"/>
                <a:ea typeface="Calibri" charset="0"/>
                <a:cs typeface="Calibri" charset="0"/>
              </a:endParaRPr>
            </a:p>
          </p:txBody>
        </p:sp>
        <p:sp>
          <p:nvSpPr>
            <p:cNvPr id="31" name="Text Box 2">
              <a:extLst>
                <a:ext uri="{FF2B5EF4-FFF2-40B4-BE49-F238E27FC236}">
                  <a16:creationId xmlns:a16="http://schemas.microsoft.com/office/drawing/2014/main" id="{35A36D16-FD58-2B4C-91AF-E758C79B73B9}"/>
                </a:ext>
              </a:extLst>
            </p:cNvPr>
            <p:cNvSpPr txBox="1">
              <a:spLocks noChangeAspect="1" noChangeArrowheads="1"/>
            </p:cNvSpPr>
            <p:nvPr userDrawn="1"/>
          </p:nvSpPr>
          <p:spPr bwMode="auto">
            <a:xfrm>
              <a:off x="7588723" y="4660285"/>
              <a:ext cx="1439913"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latin typeface="Cambria" charset="0"/>
                  <a:ea typeface="Cambria" charset="0"/>
                  <a:cs typeface="Cambria" charset="0"/>
                </a:rPr>
                <a:t>Düsseldorf</a:t>
              </a:r>
            </a:p>
            <a:p>
              <a:pPr defTabSz="1088449" fontAlgn="auto">
                <a:lnSpc>
                  <a:spcPct val="120000"/>
                </a:lnSpc>
                <a:spcBef>
                  <a:spcPct val="50000"/>
                </a:spcBef>
                <a:defRPr/>
              </a:pPr>
              <a:r>
                <a:rPr lang="de-DE" sz="900" dirty="0" err="1">
                  <a:latin typeface="Cambria" charset="0"/>
                  <a:ea typeface="Cambria" charset="0"/>
                  <a:cs typeface="Cambria" charset="0"/>
                </a:rPr>
                <a:t>Benrather</a:t>
              </a:r>
              <a:r>
                <a:rPr lang="de-DE" sz="900" dirty="0">
                  <a:latin typeface="Cambria" charset="0"/>
                  <a:ea typeface="Cambria" charset="0"/>
                  <a:cs typeface="Cambria" charset="0"/>
                </a:rPr>
                <a:t> Straße 31</a:t>
              </a:r>
              <a:br>
                <a:rPr lang="de-DE" sz="900" dirty="0">
                  <a:latin typeface="Cambria" charset="0"/>
                  <a:ea typeface="Cambria" charset="0"/>
                  <a:cs typeface="Cambria" charset="0"/>
                </a:rPr>
              </a:br>
              <a:r>
                <a:rPr lang="de-DE" sz="900" dirty="0">
                  <a:latin typeface="Cambria" charset="0"/>
                  <a:ea typeface="Cambria" charset="0"/>
                  <a:cs typeface="Cambria" charset="0"/>
                </a:rPr>
                <a:t>40213 Düsseldorf</a:t>
              </a:r>
              <a:br>
                <a:rPr lang="de-DE" sz="900" dirty="0">
                  <a:latin typeface="Cambria" charset="0"/>
                  <a:ea typeface="Cambria" charset="0"/>
                  <a:cs typeface="Cambria" charset="0"/>
                </a:rPr>
              </a:br>
              <a:r>
                <a:rPr lang="de-DE" sz="900" dirty="0">
                  <a:latin typeface="Cambria" charset="0"/>
                  <a:ea typeface="Cambria" charset="0"/>
                  <a:cs typeface="Cambria" charset="0"/>
                  <a:sym typeface="Symbol" charset="2"/>
                </a:rPr>
                <a:t>T +49 211/6 18 22-0</a:t>
              </a:r>
              <a:br>
                <a:rPr lang="de-DE" sz="900" dirty="0">
                  <a:latin typeface="Cambria" charset="0"/>
                  <a:ea typeface="Cambria" charset="0"/>
                  <a:cs typeface="Cambria" charset="0"/>
                  <a:sym typeface="Symbol" charset="2"/>
                </a:rPr>
              </a:br>
              <a:r>
                <a:rPr lang="de-DE" sz="900" dirty="0">
                  <a:latin typeface="Cambria" charset="0"/>
                  <a:ea typeface="Cambria" charset="0"/>
                  <a:cs typeface="Cambria" charset="0"/>
                  <a:sym typeface="Symbol" charset="2"/>
                </a:rPr>
                <a:t>F +49 211/6 18 22-100</a:t>
              </a:r>
              <a:br>
                <a:rPr lang="de-DE" sz="900" dirty="0">
                  <a:latin typeface="Cambria" charset="0"/>
                  <a:ea typeface="Cambria" charset="0"/>
                  <a:cs typeface="Cambria" charset="0"/>
                  <a:sym typeface="Symbol" charset="2"/>
                </a:rPr>
              </a:br>
              <a:r>
                <a:rPr lang="de-DE" sz="900" dirty="0">
                  <a:latin typeface="Cambria" charset="0"/>
                  <a:ea typeface="Cambria" charset="0"/>
                  <a:cs typeface="Cambria" charset="0"/>
                  <a:sym typeface="Symbol" charset="2"/>
                </a:rPr>
                <a:t>duesseldorf@fgs.de</a:t>
              </a:r>
              <a:endParaRPr lang="de-DE" sz="900" dirty="0">
                <a:latin typeface="Cambria" charset="0"/>
                <a:ea typeface="Cambria" charset="0"/>
                <a:cs typeface="Cambria" charset="0"/>
              </a:endParaRPr>
            </a:p>
          </p:txBody>
        </p:sp>
        <p:sp>
          <p:nvSpPr>
            <p:cNvPr id="32" name="Text Box 10">
              <a:extLst>
                <a:ext uri="{FF2B5EF4-FFF2-40B4-BE49-F238E27FC236}">
                  <a16:creationId xmlns:a16="http://schemas.microsoft.com/office/drawing/2014/main" id="{E99DECC1-2DF4-8A40-ACB4-2604DBC2E96E}"/>
                </a:ext>
              </a:extLst>
            </p:cNvPr>
            <p:cNvSpPr txBox="1">
              <a:spLocks noChangeAspect="1" noChangeArrowheads="1"/>
            </p:cNvSpPr>
            <p:nvPr userDrawn="1"/>
          </p:nvSpPr>
          <p:spPr bwMode="auto">
            <a:xfrm>
              <a:off x="6210725" y="4660285"/>
              <a:ext cx="1439913"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685594" eaLnBrk="0" hangingPunct="0">
                <a:lnSpc>
                  <a:spcPct val="120000"/>
                </a:lnSpc>
                <a:spcBef>
                  <a:spcPct val="50000"/>
                </a:spcBef>
                <a:tabLst/>
                <a:defRPr/>
              </a:pPr>
              <a:r>
                <a:rPr lang="de-DE" sz="900" b="1" dirty="0">
                  <a:latin typeface="+mj-lt"/>
                  <a:ea typeface="Calibri" charset="0"/>
                  <a:cs typeface="Calibri" charset="0"/>
                </a:rPr>
                <a:t>Hamburg</a:t>
              </a:r>
            </a:p>
            <a:p>
              <a:pPr defTabSz="685594" eaLnBrk="0" hangingPunct="0">
                <a:lnSpc>
                  <a:spcPct val="120000"/>
                </a:lnSpc>
                <a:spcBef>
                  <a:spcPct val="50000"/>
                </a:spcBef>
                <a:tabLst>
                  <a:tab pos="2002030" algn="l"/>
                  <a:tab pos="4068335" algn="l"/>
                </a:tabLst>
                <a:defRPr/>
              </a:pPr>
              <a:r>
                <a:rPr lang="de-DE" sz="900" dirty="0">
                  <a:latin typeface="+mj-lt"/>
                  <a:ea typeface="Calibri" charset="0"/>
                  <a:cs typeface="Calibri" charset="0"/>
                </a:rPr>
                <a:t>Hohe Bleichen 12</a:t>
              </a:r>
              <a:br>
                <a:rPr lang="de-DE" sz="900" dirty="0">
                  <a:latin typeface="+mj-lt"/>
                  <a:ea typeface="Calibri" charset="0"/>
                  <a:cs typeface="Calibri" charset="0"/>
                </a:rPr>
              </a:br>
              <a:r>
                <a:rPr lang="de-DE" sz="900" dirty="0">
                  <a:latin typeface="+mj-lt"/>
                  <a:ea typeface="Calibri" charset="0"/>
                  <a:cs typeface="Calibri" charset="0"/>
                </a:rPr>
                <a:t>20354 Hamburg</a:t>
              </a:r>
              <a:br>
                <a:rPr lang="de-DE" sz="900" dirty="0">
                  <a:latin typeface="+mj-lt"/>
                  <a:ea typeface="Calibri" charset="0"/>
                  <a:cs typeface="Calibri" charset="0"/>
                </a:rPr>
              </a:br>
              <a:r>
                <a:rPr lang="de-DE" sz="900" dirty="0">
                  <a:latin typeface="+mj-lt"/>
                  <a:ea typeface="Calibri" charset="0"/>
                  <a:cs typeface="Calibri" charset="0"/>
                </a:rPr>
                <a:t>T +49 40/30 70 85-0</a:t>
              </a:r>
              <a:br>
                <a:rPr lang="de-DE" sz="900" dirty="0">
                  <a:latin typeface="+mj-lt"/>
                  <a:ea typeface="Calibri" charset="0"/>
                  <a:cs typeface="Calibri" charset="0"/>
                </a:rPr>
              </a:br>
              <a:r>
                <a:rPr lang="de-DE" sz="900" dirty="0">
                  <a:latin typeface="+mj-lt"/>
                  <a:ea typeface="Calibri" charset="0"/>
                  <a:cs typeface="Calibri" charset="0"/>
                </a:rPr>
                <a:t>F +49 40/30 70 85-100</a:t>
              </a:r>
              <a:br>
                <a:rPr lang="de-DE" sz="900" dirty="0">
                  <a:latin typeface="+mj-lt"/>
                  <a:ea typeface="Calibri" charset="0"/>
                  <a:cs typeface="Calibri" charset="0"/>
                </a:rPr>
              </a:br>
              <a:r>
                <a:rPr lang="de-DE" sz="900" dirty="0">
                  <a:latin typeface="+mj-lt"/>
                  <a:ea typeface="Calibri" charset="0"/>
                  <a:cs typeface="Calibri" charset="0"/>
                </a:rPr>
                <a:t>hamburg@fgs.de</a:t>
              </a:r>
            </a:p>
          </p:txBody>
        </p:sp>
        <p:sp>
          <p:nvSpPr>
            <p:cNvPr id="34" name="Text Box 2">
              <a:extLst>
                <a:ext uri="{FF2B5EF4-FFF2-40B4-BE49-F238E27FC236}">
                  <a16:creationId xmlns:a16="http://schemas.microsoft.com/office/drawing/2014/main" id="{751E4AB9-D9FA-334D-A47C-39BB878F4D6F}"/>
                </a:ext>
              </a:extLst>
            </p:cNvPr>
            <p:cNvSpPr txBox="1">
              <a:spLocks noChangeAspect="1" noChangeArrowheads="1"/>
            </p:cNvSpPr>
            <p:nvPr userDrawn="1"/>
          </p:nvSpPr>
          <p:spPr bwMode="auto">
            <a:xfrm>
              <a:off x="8968309" y="4653930"/>
              <a:ext cx="1439912"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latin typeface="Cambria" charset="0"/>
                  <a:ea typeface="Cambria" charset="0"/>
                  <a:cs typeface="Cambria" charset="0"/>
                </a:rPr>
                <a:t>Stuttgart</a:t>
              </a:r>
            </a:p>
            <a:p>
              <a:pPr defTabSz="1088449" fontAlgn="auto">
                <a:lnSpc>
                  <a:spcPct val="120000"/>
                </a:lnSpc>
                <a:spcBef>
                  <a:spcPct val="50000"/>
                </a:spcBef>
                <a:defRPr/>
              </a:pPr>
              <a:r>
                <a:rPr lang="de-DE" sz="900" dirty="0">
                  <a:latin typeface="Cambria" charset="0"/>
                  <a:ea typeface="Cambria" charset="0"/>
                  <a:cs typeface="Cambria" charset="0"/>
                </a:rPr>
                <a:t>Paulinenstraße 41</a:t>
              </a:r>
            </a:p>
            <a:p>
              <a:pPr defTabSz="1088449" fontAlgn="auto">
                <a:lnSpc>
                  <a:spcPct val="120000"/>
                </a:lnSpc>
                <a:spcBef>
                  <a:spcPts val="0"/>
                </a:spcBef>
                <a:defRPr/>
              </a:pPr>
              <a:r>
                <a:rPr lang="de-DE" sz="900" dirty="0">
                  <a:latin typeface="Cambria" charset="0"/>
                  <a:ea typeface="Cambria" charset="0"/>
                  <a:cs typeface="Cambria" charset="0"/>
                </a:rPr>
                <a:t>70178 Stuttgart</a:t>
              </a:r>
            </a:p>
            <a:p>
              <a:pPr defTabSz="1088449" fontAlgn="auto">
                <a:lnSpc>
                  <a:spcPct val="120000"/>
                </a:lnSpc>
                <a:spcBef>
                  <a:spcPts val="0"/>
                </a:spcBef>
                <a:defRPr/>
              </a:pPr>
              <a:r>
                <a:rPr lang="de-DE" sz="900" dirty="0">
                  <a:latin typeface="Cambria" charset="0"/>
                  <a:ea typeface="Cambria" charset="0"/>
                  <a:cs typeface="Cambria" charset="0"/>
                </a:rPr>
                <a:t>T +49 711/69 94 6-0</a:t>
              </a:r>
            </a:p>
            <a:p>
              <a:pPr defTabSz="1088449" fontAlgn="auto">
                <a:lnSpc>
                  <a:spcPct val="120000"/>
                </a:lnSpc>
                <a:spcBef>
                  <a:spcPts val="0"/>
                </a:spcBef>
                <a:defRPr/>
              </a:pPr>
              <a:r>
                <a:rPr lang="de-DE" sz="900" dirty="0">
                  <a:latin typeface="Cambria" charset="0"/>
                  <a:ea typeface="Cambria" charset="0"/>
                  <a:cs typeface="Cambria" charset="0"/>
                </a:rPr>
                <a:t>F +49 711/69 94 6-100 </a:t>
              </a:r>
              <a:br>
                <a:rPr lang="de-DE" sz="900" dirty="0">
                  <a:latin typeface="Cambria" charset="0"/>
                  <a:ea typeface="Cambria" charset="0"/>
                  <a:cs typeface="Cambria" charset="0"/>
                </a:rPr>
              </a:br>
              <a:r>
                <a:rPr lang="de-DE" sz="900" dirty="0">
                  <a:latin typeface="Cambria" charset="0"/>
                  <a:ea typeface="Cambria" charset="0"/>
                  <a:cs typeface="Cambria" charset="0"/>
                </a:rPr>
                <a:t>stuttgart@fgs.de</a:t>
              </a:r>
            </a:p>
          </p:txBody>
        </p:sp>
      </p:grpSp>
      <p:sp>
        <p:nvSpPr>
          <p:cNvPr id="35" name="Textfeld 28">
            <a:extLst>
              <a:ext uri="{FF2B5EF4-FFF2-40B4-BE49-F238E27FC236}">
                <a16:creationId xmlns:a16="http://schemas.microsoft.com/office/drawing/2014/main" id="{5865D9B4-A986-9149-8DC4-2E861440D8A5}"/>
              </a:ext>
            </a:extLst>
          </p:cNvPr>
          <p:cNvSpPr txBox="1">
            <a:spLocks noChangeArrowheads="1"/>
          </p:cNvSpPr>
          <p:nvPr userDrawn="1"/>
        </p:nvSpPr>
        <p:spPr bwMode="auto">
          <a:xfrm>
            <a:off x="696732" y="5888262"/>
            <a:ext cx="10078001" cy="2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100">
                <a:solidFill>
                  <a:schemeClr val="tx1"/>
                </a:solidFill>
                <a:latin typeface="Cambria" panose="02040503050406030204" pitchFamily="18" charset="0"/>
              </a:defRPr>
            </a:lvl1pPr>
            <a:lvl2pPr marL="742950" indent="-285750">
              <a:defRPr sz="2100">
                <a:solidFill>
                  <a:schemeClr val="tx1"/>
                </a:solidFill>
                <a:latin typeface="Cambria" panose="02040503050406030204" pitchFamily="18" charset="0"/>
              </a:defRPr>
            </a:lvl2pPr>
            <a:lvl3pPr marL="1143000" indent="-228600">
              <a:defRPr sz="2100">
                <a:solidFill>
                  <a:schemeClr val="tx1"/>
                </a:solidFill>
                <a:latin typeface="Cambria" panose="02040503050406030204" pitchFamily="18" charset="0"/>
              </a:defRPr>
            </a:lvl3pPr>
            <a:lvl4pPr marL="1600200" indent="-228600">
              <a:defRPr sz="2100">
                <a:solidFill>
                  <a:schemeClr val="tx1"/>
                </a:solidFill>
                <a:latin typeface="Cambria" panose="02040503050406030204" pitchFamily="18" charset="0"/>
              </a:defRPr>
            </a:lvl4pPr>
            <a:lvl5pPr marL="2057400" indent="-228600">
              <a:defRPr sz="2100">
                <a:solidFill>
                  <a:schemeClr val="tx1"/>
                </a:solidFill>
                <a:latin typeface="Cambria" panose="02040503050406030204" pitchFamily="18" charset="0"/>
              </a:defRPr>
            </a:lvl5pPr>
            <a:lvl6pPr marL="2514600" indent="-228600" defTabSz="1087438" fontAlgn="base">
              <a:spcBef>
                <a:spcPct val="0"/>
              </a:spcBef>
              <a:spcAft>
                <a:spcPct val="0"/>
              </a:spcAft>
              <a:defRPr sz="2100">
                <a:solidFill>
                  <a:schemeClr val="tx1"/>
                </a:solidFill>
                <a:latin typeface="Cambria" panose="02040503050406030204" pitchFamily="18" charset="0"/>
              </a:defRPr>
            </a:lvl6pPr>
            <a:lvl7pPr marL="2971800" indent="-228600" defTabSz="1087438" fontAlgn="base">
              <a:spcBef>
                <a:spcPct val="0"/>
              </a:spcBef>
              <a:spcAft>
                <a:spcPct val="0"/>
              </a:spcAft>
              <a:defRPr sz="2100">
                <a:solidFill>
                  <a:schemeClr val="tx1"/>
                </a:solidFill>
                <a:latin typeface="Cambria" panose="02040503050406030204" pitchFamily="18" charset="0"/>
              </a:defRPr>
            </a:lvl7pPr>
            <a:lvl8pPr marL="3429000" indent="-228600" defTabSz="1087438" fontAlgn="base">
              <a:spcBef>
                <a:spcPct val="0"/>
              </a:spcBef>
              <a:spcAft>
                <a:spcPct val="0"/>
              </a:spcAft>
              <a:defRPr sz="2100">
                <a:solidFill>
                  <a:schemeClr val="tx1"/>
                </a:solidFill>
                <a:latin typeface="Cambria" panose="02040503050406030204" pitchFamily="18" charset="0"/>
              </a:defRPr>
            </a:lvl8pPr>
            <a:lvl9pPr marL="3886200" indent="-228600" defTabSz="1087438" fontAlgn="base">
              <a:spcBef>
                <a:spcPct val="0"/>
              </a:spcBef>
              <a:spcAft>
                <a:spcPct val="0"/>
              </a:spcAft>
              <a:defRPr sz="2100">
                <a:solidFill>
                  <a:schemeClr val="tx1"/>
                </a:solidFill>
                <a:latin typeface="Cambria" panose="02040503050406030204" pitchFamily="18" charset="0"/>
              </a:defRPr>
            </a:lvl9pPr>
          </a:lstStyle>
          <a:p>
            <a:pPr>
              <a:buClr>
                <a:srgbClr val="26436A"/>
              </a:buClr>
              <a:buFont typeface="Wingdings" pitchFamily="2" charset="2"/>
              <a:buNone/>
            </a:pPr>
            <a:r>
              <a:rPr lang="de-DE" altLang="de-DE" sz="1799" dirty="0" err="1">
                <a:solidFill>
                  <a:srgbClr val="B0946F"/>
                </a:solidFill>
              </a:rPr>
              <a:t>fgs.de</a:t>
            </a:r>
            <a:endParaRPr lang="de-DE" altLang="de-DE" sz="1999" dirty="0">
              <a:solidFill>
                <a:srgbClr val="B0946F"/>
              </a:solidFill>
            </a:endParaRPr>
          </a:p>
        </p:txBody>
      </p:sp>
    </p:spTree>
    <p:extLst>
      <p:ext uri="{BB962C8B-B14F-4D97-AF65-F5344CB8AC3E}">
        <p14:creationId xmlns:p14="http://schemas.microsoft.com/office/powerpoint/2010/main" val="5200692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urzes Profil mit Foto_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Ihr Ansprechpartner</a:t>
            </a:r>
          </a:p>
        </p:txBody>
      </p:sp>
      <p:sp>
        <p:nvSpPr>
          <p:cNvPr id="15" name="Bildplatzhalter 14"/>
          <p:cNvSpPr>
            <a:spLocks noGrp="1" noChangeAspect="1"/>
          </p:cNvSpPr>
          <p:nvPr>
            <p:ph type="pic" sz="quarter" idx="13"/>
          </p:nvPr>
        </p:nvSpPr>
        <p:spPr>
          <a:xfrm>
            <a:off x="696806" y="1917182"/>
            <a:ext cx="1439625" cy="1439667"/>
          </a:xfrm>
          <a:solidFill>
            <a:srgbClr val="B0946F"/>
          </a:solidFill>
        </p:spPr>
        <p:txBody>
          <a:bodyPr lIns="72000" tIns="72000" rIns="72000" bIns="72000"/>
          <a:lstStyle>
            <a:lvl1pPr>
              <a:defRPr sz="1100">
                <a:solidFill>
                  <a:schemeClr val="tx1"/>
                </a:solidFill>
              </a:defRPr>
            </a:lvl1pPr>
          </a:lstStyle>
          <a:p>
            <a:r>
              <a:rPr lang="de-DE"/>
              <a:t>Bild durch Klicken auf Symbol hinzufügen</a:t>
            </a:r>
            <a:endParaRPr lang="de-DE" dirty="0"/>
          </a:p>
        </p:txBody>
      </p:sp>
      <p:sp>
        <p:nvSpPr>
          <p:cNvPr id="27" name="Textplatzhalter 26"/>
          <p:cNvSpPr>
            <a:spLocks noGrp="1"/>
          </p:cNvSpPr>
          <p:nvPr>
            <p:ph type="body" sz="quarter" idx="14" hasCustomPrompt="1"/>
          </p:nvPr>
        </p:nvSpPr>
        <p:spPr>
          <a:xfrm>
            <a:off x="696804" y="3537155"/>
            <a:ext cx="4390857" cy="2627516"/>
          </a:xfrm>
        </p:spPr>
        <p:txBody>
          <a:bodyPr/>
          <a:lstStyle>
            <a:lvl1pPr>
              <a:defRPr sz="1600" b="1">
                <a:solidFill>
                  <a:schemeClr val="tx1"/>
                </a:solidFill>
              </a:defRPr>
            </a:lvl1pPr>
            <a:lvl2pPr marL="0" indent="0">
              <a:buFontTx/>
              <a:buNone/>
              <a:defRPr sz="1600"/>
            </a:lvl2pPr>
          </a:lstStyle>
          <a:p>
            <a:pPr lvl="0"/>
            <a:r>
              <a:rPr lang="de-DE" dirty="0"/>
              <a:t>Mastertextformat bearbeiten</a:t>
            </a:r>
          </a:p>
          <a:p>
            <a:pPr lvl="1"/>
            <a:r>
              <a:rPr lang="de-DE" dirty="0"/>
              <a:t>Zweite Ebene</a:t>
            </a:r>
          </a:p>
        </p:txBody>
      </p:sp>
      <p:sp>
        <p:nvSpPr>
          <p:cNvPr id="6" name="Datumsplatzhalter 5"/>
          <p:cNvSpPr>
            <a:spLocks noGrp="1"/>
          </p:cNvSpPr>
          <p:nvPr>
            <p:ph type="dt" sz="half" idx="15"/>
          </p:nvPr>
        </p:nvSpPr>
        <p:spPr/>
        <p:txBody>
          <a:bodyPr/>
          <a:lstStyle/>
          <a:p>
            <a:fld id="{B845FB2B-6658-47D1-8047-5195E5DD1F90}" type="datetime1">
              <a:rPr lang="de-DE" smtClean="0"/>
              <a:t>12.09.2022</a:t>
            </a:fld>
            <a:endParaRPr lang="de-DE" dirty="0"/>
          </a:p>
        </p:txBody>
      </p:sp>
      <p:sp>
        <p:nvSpPr>
          <p:cNvPr id="7" name="Fußzeilenplatzhalter 6"/>
          <p:cNvSpPr>
            <a:spLocks noGrp="1"/>
          </p:cNvSpPr>
          <p:nvPr>
            <p:ph type="ftr" sz="quarter" idx="16"/>
          </p:nvPr>
        </p:nvSpPr>
        <p:spPr/>
        <p:txBody>
          <a:bodyPr/>
          <a:lstStyle/>
          <a:p>
            <a:r>
              <a:rPr lang="de-DE"/>
              <a:t>Flick Gocke Schaumburg Partnerschaft mbB</a:t>
            </a:r>
            <a:endParaRPr lang="de-DE" dirty="0"/>
          </a:p>
        </p:txBody>
      </p:sp>
      <p:sp>
        <p:nvSpPr>
          <p:cNvPr id="8" name="Foliennummernplatzhalter 7"/>
          <p:cNvSpPr>
            <a:spLocks noGrp="1"/>
          </p:cNvSpPr>
          <p:nvPr>
            <p:ph type="sldNum" sz="quarter" idx="17"/>
          </p:nvPr>
        </p:nvSpPr>
        <p:spPr/>
        <p:txBody>
          <a:bodyPr/>
          <a:lstStyle/>
          <a:p>
            <a:fld id="{761F7C54-956E-4035-96E5-E3754B49D8A7}" type="slidenum">
              <a:rPr lang="de-DE" smtClean="0"/>
              <a:pPr/>
              <a:t>‹Nr.›</a:t>
            </a:fld>
            <a:endParaRPr lang="de-DE" dirty="0"/>
          </a:p>
        </p:txBody>
      </p:sp>
    </p:spTree>
    <p:extLst>
      <p:ext uri="{BB962C8B-B14F-4D97-AF65-F5344CB8AC3E}">
        <p14:creationId xmlns:p14="http://schemas.microsoft.com/office/powerpoint/2010/main" val="6174994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urzes Profi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Ihr Ansprechpartner</a:t>
            </a:r>
          </a:p>
        </p:txBody>
      </p:sp>
      <p:sp>
        <p:nvSpPr>
          <p:cNvPr id="27" name="Textplatzhalter 26"/>
          <p:cNvSpPr>
            <a:spLocks noGrp="1"/>
          </p:cNvSpPr>
          <p:nvPr>
            <p:ph type="body" sz="quarter" idx="14" hasCustomPrompt="1"/>
          </p:nvPr>
        </p:nvSpPr>
        <p:spPr>
          <a:xfrm>
            <a:off x="696806" y="1917182"/>
            <a:ext cx="8350945" cy="1943766"/>
          </a:xfrm>
        </p:spPr>
        <p:txBody>
          <a:bodyPr/>
          <a:lstStyle>
            <a:lvl1pPr>
              <a:defRPr sz="1600" b="1">
                <a:solidFill>
                  <a:schemeClr val="tx1"/>
                </a:solidFill>
              </a:defRPr>
            </a:lvl1pPr>
            <a:lvl2pPr marL="0" indent="0">
              <a:buFontTx/>
              <a:buNone/>
              <a:defRPr sz="1600"/>
            </a:lvl2pPr>
          </a:lstStyle>
          <a:p>
            <a:pPr lvl="0"/>
            <a:r>
              <a:rPr lang="de-DE" dirty="0"/>
              <a:t>Mastertextformat bearbeiten</a:t>
            </a:r>
          </a:p>
          <a:p>
            <a:pPr lvl="1"/>
            <a:r>
              <a:rPr lang="de-DE" dirty="0"/>
              <a:t>Zweite Ebene</a:t>
            </a:r>
          </a:p>
        </p:txBody>
      </p:sp>
      <p:sp>
        <p:nvSpPr>
          <p:cNvPr id="6" name="Datumsplatzhalter 5"/>
          <p:cNvSpPr>
            <a:spLocks noGrp="1"/>
          </p:cNvSpPr>
          <p:nvPr>
            <p:ph type="dt" sz="half" idx="15"/>
          </p:nvPr>
        </p:nvSpPr>
        <p:spPr/>
        <p:txBody>
          <a:bodyPr/>
          <a:lstStyle/>
          <a:p>
            <a:fld id="{89C57734-FFEE-4D67-90F5-113BC4B6CC9F}" type="datetime1">
              <a:rPr lang="de-DE" smtClean="0"/>
              <a:t>12.09.2022</a:t>
            </a:fld>
            <a:endParaRPr lang="de-DE" dirty="0"/>
          </a:p>
        </p:txBody>
      </p:sp>
      <p:sp>
        <p:nvSpPr>
          <p:cNvPr id="7" name="Fußzeilenplatzhalter 6"/>
          <p:cNvSpPr>
            <a:spLocks noGrp="1"/>
          </p:cNvSpPr>
          <p:nvPr>
            <p:ph type="ftr" sz="quarter" idx="16"/>
          </p:nvPr>
        </p:nvSpPr>
        <p:spPr/>
        <p:txBody>
          <a:bodyPr/>
          <a:lstStyle/>
          <a:p>
            <a:r>
              <a:rPr lang="de-DE"/>
              <a:t>Flick Gocke Schaumburg Partnerschaft mbB</a:t>
            </a:r>
            <a:endParaRPr lang="de-DE" dirty="0"/>
          </a:p>
        </p:txBody>
      </p:sp>
      <p:sp>
        <p:nvSpPr>
          <p:cNvPr id="8" name="Foliennummernplatzhalter 7"/>
          <p:cNvSpPr>
            <a:spLocks noGrp="1"/>
          </p:cNvSpPr>
          <p:nvPr>
            <p:ph type="sldNum" sz="quarter" idx="17"/>
          </p:nvPr>
        </p:nvSpPr>
        <p:spPr/>
        <p:txBody>
          <a:bodyPr/>
          <a:lstStyle/>
          <a:p>
            <a:fld id="{761F7C54-956E-4035-96E5-E3754B49D8A7}" type="slidenum">
              <a:rPr lang="de-DE" smtClean="0"/>
              <a:pPr/>
              <a:t>‹Nr.›</a:t>
            </a:fld>
            <a:endParaRPr lang="de-DE" dirty="0"/>
          </a:p>
        </p:txBody>
      </p:sp>
      <p:grpSp>
        <p:nvGrpSpPr>
          <p:cNvPr id="16" name="Gruppieren 19">
            <a:extLst>
              <a:ext uri="{FF2B5EF4-FFF2-40B4-BE49-F238E27FC236}">
                <a16:creationId xmlns:a16="http://schemas.microsoft.com/office/drawing/2014/main" id="{97ABC03C-FACF-4C43-9E8D-360D547D7418}"/>
              </a:ext>
            </a:extLst>
          </p:cNvPr>
          <p:cNvGrpSpPr>
            <a:grpSpLocks/>
          </p:cNvGrpSpPr>
          <p:nvPr userDrawn="1"/>
        </p:nvGrpSpPr>
        <p:grpSpPr bwMode="auto">
          <a:xfrm>
            <a:off x="696806" y="4653473"/>
            <a:ext cx="9708209" cy="1444291"/>
            <a:chOff x="697147" y="4653930"/>
            <a:chExt cx="9711074" cy="1445677"/>
          </a:xfrm>
        </p:grpSpPr>
        <p:sp>
          <p:nvSpPr>
            <p:cNvPr id="17" name="Text Box 2">
              <a:extLst>
                <a:ext uri="{FF2B5EF4-FFF2-40B4-BE49-F238E27FC236}">
                  <a16:creationId xmlns:a16="http://schemas.microsoft.com/office/drawing/2014/main" id="{2C6F1CB3-FF65-6F43-891C-08AEE2EDF1A9}"/>
                </a:ext>
              </a:extLst>
            </p:cNvPr>
            <p:cNvSpPr txBox="1">
              <a:spLocks noChangeAspect="1" noChangeArrowheads="1"/>
            </p:cNvSpPr>
            <p:nvPr userDrawn="1"/>
          </p:nvSpPr>
          <p:spPr bwMode="auto">
            <a:xfrm>
              <a:off x="697147" y="4660285"/>
              <a:ext cx="1439912"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solidFill>
                    <a:srgbClr val="004B74"/>
                  </a:solidFill>
                  <a:latin typeface="+mj-lt"/>
                  <a:ea typeface="Calibri" charset="0"/>
                  <a:cs typeface="Calibri" charset="0"/>
                </a:rPr>
                <a:t>Bonn</a:t>
              </a:r>
            </a:p>
            <a:p>
              <a:pPr defTabSz="1088449" fontAlgn="auto">
                <a:lnSpc>
                  <a:spcPct val="120000"/>
                </a:lnSpc>
                <a:spcBef>
                  <a:spcPct val="50000"/>
                </a:spcBef>
                <a:defRPr/>
              </a:pPr>
              <a:r>
                <a:rPr lang="de-DE" sz="900" dirty="0">
                  <a:latin typeface="+mj-lt"/>
                  <a:ea typeface="Calibri" charset="0"/>
                  <a:cs typeface="Calibri" charset="0"/>
                </a:rPr>
                <a:t>Fritz-Schäffer-Straße 1</a:t>
              </a:r>
              <a:br>
                <a:rPr lang="de-DE" sz="900" dirty="0">
                  <a:latin typeface="+mj-lt"/>
                  <a:ea typeface="Calibri" charset="0"/>
                  <a:cs typeface="Calibri" charset="0"/>
                </a:rPr>
              </a:br>
              <a:r>
                <a:rPr lang="de-DE" sz="900" dirty="0">
                  <a:latin typeface="+mj-lt"/>
                  <a:ea typeface="Calibri" charset="0"/>
                  <a:cs typeface="Calibri" charset="0"/>
                </a:rPr>
                <a:t>53113 Bonn</a:t>
              </a:r>
              <a:br>
                <a:rPr lang="de-DE" sz="900" dirty="0">
                  <a:latin typeface="+mj-lt"/>
                  <a:ea typeface="Calibri" charset="0"/>
                  <a:cs typeface="Calibri" charset="0"/>
                </a:rPr>
              </a:br>
              <a:r>
                <a:rPr lang="de-DE" sz="900" dirty="0">
                  <a:latin typeface="+mj-lt"/>
                  <a:ea typeface="Calibri" charset="0"/>
                  <a:cs typeface="Calibri" charset="0"/>
                  <a:sym typeface="Symbol" charset="2"/>
                </a:rPr>
                <a:t>T +49 228/95 94-0</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 +49 228/95 94-100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bonn@fgs.de</a:t>
              </a:r>
              <a:endParaRPr lang="de-DE" sz="900" dirty="0">
                <a:latin typeface="+mj-lt"/>
                <a:ea typeface="Calibri" charset="0"/>
                <a:cs typeface="Calibri" charset="0"/>
              </a:endParaRPr>
            </a:p>
          </p:txBody>
        </p:sp>
        <p:sp>
          <p:nvSpPr>
            <p:cNvPr id="26" name="Text Box 3">
              <a:extLst>
                <a:ext uri="{FF2B5EF4-FFF2-40B4-BE49-F238E27FC236}">
                  <a16:creationId xmlns:a16="http://schemas.microsoft.com/office/drawing/2014/main" id="{44CBEE9C-CE69-5549-9CC9-8F0B1FD6BEAA}"/>
                </a:ext>
              </a:extLst>
            </p:cNvPr>
            <p:cNvSpPr txBox="1">
              <a:spLocks noChangeAspect="1" noChangeArrowheads="1"/>
            </p:cNvSpPr>
            <p:nvPr userDrawn="1"/>
          </p:nvSpPr>
          <p:spPr bwMode="auto">
            <a:xfrm>
              <a:off x="2075145" y="4660285"/>
              <a:ext cx="1439912"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solidFill>
                    <a:srgbClr val="004B74"/>
                  </a:solidFill>
                  <a:latin typeface="+mj-lt"/>
                  <a:ea typeface="Calibri" charset="0"/>
                  <a:cs typeface="Calibri" charset="0"/>
                </a:rPr>
                <a:t>Berlin</a:t>
              </a:r>
            </a:p>
            <a:p>
              <a:pPr defTabSz="1088449" fontAlgn="auto">
                <a:lnSpc>
                  <a:spcPct val="120000"/>
                </a:lnSpc>
                <a:spcBef>
                  <a:spcPct val="50000"/>
                </a:spcBef>
                <a:defRPr/>
              </a:pPr>
              <a:r>
                <a:rPr lang="de-DE" sz="900" dirty="0">
                  <a:latin typeface="+mj-lt"/>
                  <a:ea typeface="Calibri" charset="0"/>
                  <a:cs typeface="Calibri" charset="0"/>
                </a:rPr>
                <a:t>Unter den Linden 10</a:t>
              </a:r>
              <a:br>
                <a:rPr lang="de-DE" sz="900" dirty="0">
                  <a:latin typeface="+mj-lt"/>
                  <a:ea typeface="Calibri" charset="0"/>
                  <a:cs typeface="Calibri" charset="0"/>
                </a:rPr>
              </a:br>
              <a:r>
                <a:rPr lang="de-DE" sz="900" dirty="0">
                  <a:latin typeface="+mj-lt"/>
                  <a:ea typeface="Calibri" charset="0"/>
                  <a:cs typeface="Calibri" charset="0"/>
                </a:rPr>
                <a:t>10117 Berlin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T +49 30/21 00 20-0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 +49 30/21 00 20-100</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berlin@fgs.de </a:t>
              </a:r>
              <a:endParaRPr lang="de-DE" sz="900" dirty="0">
                <a:latin typeface="+mj-lt"/>
                <a:ea typeface="Calibri" charset="0"/>
                <a:cs typeface="Calibri" charset="0"/>
              </a:endParaRPr>
            </a:p>
          </p:txBody>
        </p:sp>
        <p:sp>
          <p:nvSpPr>
            <p:cNvPr id="28" name="Text Box 4">
              <a:extLst>
                <a:ext uri="{FF2B5EF4-FFF2-40B4-BE49-F238E27FC236}">
                  <a16:creationId xmlns:a16="http://schemas.microsoft.com/office/drawing/2014/main" id="{86567E12-5753-3946-AAC1-0577862D3CFF}"/>
                </a:ext>
              </a:extLst>
            </p:cNvPr>
            <p:cNvSpPr txBox="1">
              <a:spLocks noChangeAspect="1" noChangeArrowheads="1"/>
            </p:cNvSpPr>
            <p:nvPr userDrawn="1"/>
          </p:nvSpPr>
          <p:spPr bwMode="auto">
            <a:xfrm>
              <a:off x="3454730" y="4660285"/>
              <a:ext cx="1439913"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solidFill>
                    <a:srgbClr val="004B74"/>
                  </a:solidFill>
                  <a:latin typeface="+mj-lt"/>
                  <a:ea typeface="Calibri" charset="0"/>
                  <a:cs typeface="Calibri" charset="0"/>
                </a:rPr>
                <a:t>Frankfurt</a:t>
              </a:r>
            </a:p>
            <a:p>
              <a:pPr defTabSz="1088449" fontAlgn="auto">
                <a:lnSpc>
                  <a:spcPct val="120000"/>
                </a:lnSpc>
                <a:spcBef>
                  <a:spcPct val="50000"/>
                </a:spcBef>
                <a:defRPr/>
              </a:pPr>
              <a:r>
                <a:rPr lang="de-DE" sz="900" dirty="0">
                  <a:latin typeface="+mj-lt"/>
                  <a:ea typeface="Calibri" charset="0"/>
                  <a:cs typeface="Calibri" charset="0"/>
                </a:rPr>
                <a:t>MesseTurm</a:t>
              </a:r>
            </a:p>
            <a:p>
              <a:pPr defTabSz="1088449" fontAlgn="auto">
                <a:lnSpc>
                  <a:spcPct val="120000"/>
                </a:lnSpc>
                <a:spcBef>
                  <a:spcPts val="0"/>
                </a:spcBef>
                <a:defRPr/>
              </a:pPr>
              <a:r>
                <a:rPr lang="de-DE" sz="900" dirty="0">
                  <a:latin typeface="+mj-lt"/>
                  <a:ea typeface="Calibri" charset="0"/>
                  <a:cs typeface="Calibri" charset="0"/>
                </a:rPr>
                <a:t>Friedrich-Ebert-Anlage 49</a:t>
              </a:r>
            </a:p>
            <a:p>
              <a:pPr defTabSz="1088449" fontAlgn="auto">
                <a:lnSpc>
                  <a:spcPct val="120000"/>
                </a:lnSpc>
                <a:spcBef>
                  <a:spcPts val="0"/>
                </a:spcBef>
                <a:defRPr/>
              </a:pPr>
              <a:r>
                <a:rPr lang="de-DE" sz="900" dirty="0">
                  <a:latin typeface="+mj-lt"/>
                  <a:ea typeface="Calibri" charset="0"/>
                  <a:cs typeface="Calibri" charset="0"/>
                </a:rPr>
                <a:t>60308 Frankfurt a.M.</a:t>
              </a:r>
            </a:p>
            <a:p>
              <a:pPr defTabSz="1088449" fontAlgn="auto">
                <a:lnSpc>
                  <a:spcPct val="120000"/>
                </a:lnSpc>
                <a:spcBef>
                  <a:spcPts val="0"/>
                </a:spcBef>
                <a:defRPr/>
              </a:pPr>
              <a:r>
                <a:rPr lang="de-DE" sz="900" dirty="0">
                  <a:latin typeface="+mj-lt"/>
                  <a:ea typeface="Calibri" charset="0"/>
                  <a:cs typeface="Calibri" charset="0"/>
                  <a:sym typeface="Symbol" charset="2"/>
                </a:rPr>
                <a:t>T +49 69/717 03-0</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 +49 69/717 03-100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rankfurt@fgs.de</a:t>
              </a:r>
              <a:endParaRPr lang="de-DE" sz="900" dirty="0">
                <a:latin typeface="+mj-lt"/>
                <a:ea typeface="Calibri" charset="0"/>
                <a:cs typeface="Calibri" charset="0"/>
              </a:endParaRPr>
            </a:p>
          </p:txBody>
        </p:sp>
        <p:sp>
          <p:nvSpPr>
            <p:cNvPr id="29" name="Text Box 10">
              <a:extLst>
                <a:ext uri="{FF2B5EF4-FFF2-40B4-BE49-F238E27FC236}">
                  <a16:creationId xmlns:a16="http://schemas.microsoft.com/office/drawing/2014/main" id="{92ABDDE3-1EC5-6A4A-8711-4A7F34CC130D}"/>
                </a:ext>
              </a:extLst>
            </p:cNvPr>
            <p:cNvSpPr txBox="1">
              <a:spLocks noChangeAspect="1" noChangeArrowheads="1"/>
            </p:cNvSpPr>
            <p:nvPr userDrawn="1"/>
          </p:nvSpPr>
          <p:spPr bwMode="auto">
            <a:xfrm>
              <a:off x="4832728" y="4660285"/>
              <a:ext cx="1439913"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solidFill>
                    <a:srgbClr val="004B74"/>
                  </a:solidFill>
                  <a:latin typeface="+mj-lt"/>
                  <a:ea typeface="Calibri" charset="0"/>
                  <a:cs typeface="Calibri" charset="0"/>
                </a:rPr>
                <a:t>München</a:t>
              </a:r>
            </a:p>
            <a:p>
              <a:pPr defTabSz="1088449" fontAlgn="auto">
                <a:lnSpc>
                  <a:spcPct val="120000"/>
                </a:lnSpc>
                <a:spcBef>
                  <a:spcPct val="50000"/>
                </a:spcBef>
                <a:defRPr/>
              </a:pPr>
              <a:r>
                <a:rPr lang="de-DE" sz="900" dirty="0">
                  <a:latin typeface="+mj-lt"/>
                  <a:ea typeface="Calibri" charset="0"/>
                  <a:cs typeface="Calibri" charset="0"/>
                </a:rPr>
                <a:t>Brienner Straße 9</a:t>
              </a:r>
              <a:br>
                <a:rPr lang="de-DE" sz="900" dirty="0">
                  <a:latin typeface="+mj-lt"/>
                  <a:ea typeface="Calibri" charset="0"/>
                  <a:cs typeface="Calibri" charset="0"/>
                </a:rPr>
              </a:br>
              <a:r>
                <a:rPr lang="de-DE" sz="900" dirty="0">
                  <a:latin typeface="+mj-lt"/>
                  <a:ea typeface="Calibri" charset="0"/>
                  <a:cs typeface="Calibri" charset="0"/>
                </a:rPr>
                <a:t>80333 München</a:t>
              </a:r>
              <a:br>
                <a:rPr lang="de-DE" sz="900" dirty="0">
                  <a:latin typeface="+mj-lt"/>
                  <a:ea typeface="Calibri" charset="0"/>
                  <a:cs typeface="Calibri" charset="0"/>
                </a:rPr>
              </a:br>
              <a:r>
                <a:rPr lang="de-DE" sz="900" dirty="0">
                  <a:latin typeface="+mj-lt"/>
                  <a:ea typeface="Calibri" charset="0"/>
                  <a:cs typeface="Calibri" charset="0"/>
                  <a:sym typeface="Symbol" charset="2"/>
                </a:rPr>
                <a:t>T +49 89/80 00 16-0</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F +49 89/80 00 16-899 </a:t>
              </a:r>
              <a:br>
                <a:rPr lang="de-DE" sz="900" dirty="0">
                  <a:latin typeface="+mj-lt"/>
                  <a:ea typeface="Calibri" charset="0"/>
                  <a:cs typeface="Calibri" charset="0"/>
                  <a:sym typeface="Symbol" charset="2"/>
                </a:rPr>
              </a:br>
              <a:r>
                <a:rPr lang="de-DE" sz="900" dirty="0">
                  <a:latin typeface="+mj-lt"/>
                  <a:ea typeface="Calibri" charset="0"/>
                  <a:cs typeface="Calibri" charset="0"/>
                  <a:sym typeface="Symbol" charset="2"/>
                </a:rPr>
                <a:t>muenchen@fgs.de</a:t>
              </a:r>
              <a:endParaRPr lang="de-DE" sz="900" dirty="0">
                <a:latin typeface="+mj-lt"/>
                <a:ea typeface="Calibri" charset="0"/>
                <a:cs typeface="Calibri" charset="0"/>
              </a:endParaRPr>
            </a:p>
          </p:txBody>
        </p:sp>
        <p:sp>
          <p:nvSpPr>
            <p:cNvPr id="30" name="Text Box 2">
              <a:extLst>
                <a:ext uri="{FF2B5EF4-FFF2-40B4-BE49-F238E27FC236}">
                  <a16:creationId xmlns:a16="http://schemas.microsoft.com/office/drawing/2014/main" id="{F4FA3EEF-2496-B54B-89F3-99822A5DAB63}"/>
                </a:ext>
              </a:extLst>
            </p:cNvPr>
            <p:cNvSpPr txBox="1">
              <a:spLocks noChangeAspect="1" noChangeArrowheads="1"/>
            </p:cNvSpPr>
            <p:nvPr userDrawn="1"/>
          </p:nvSpPr>
          <p:spPr bwMode="auto">
            <a:xfrm>
              <a:off x="7588723" y="4660285"/>
              <a:ext cx="1439913"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solidFill>
                    <a:srgbClr val="004B74"/>
                  </a:solidFill>
                  <a:latin typeface="Cambria" charset="0"/>
                  <a:ea typeface="Cambria" charset="0"/>
                  <a:cs typeface="Cambria" charset="0"/>
                </a:rPr>
                <a:t>Düsseldorf</a:t>
              </a:r>
            </a:p>
            <a:p>
              <a:pPr defTabSz="1088449" fontAlgn="auto">
                <a:lnSpc>
                  <a:spcPct val="120000"/>
                </a:lnSpc>
                <a:spcBef>
                  <a:spcPct val="50000"/>
                </a:spcBef>
                <a:defRPr/>
              </a:pPr>
              <a:r>
                <a:rPr lang="de-DE" sz="900" dirty="0" err="1">
                  <a:latin typeface="Cambria" charset="0"/>
                  <a:ea typeface="Cambria" charset="0"/>
                  <a:cs typeface="Cambria" charset="0"/>
                </a:rPr>
                <a:t>Benrather</a:t>
              </a:r>
              <a:r>
                <a:rPr lang="de-DE" sz="900" dirty="0">
                  <a:latin typeface="Cambria" charset="0"/>
                  <a:ea typeface="Cambria" charset="0"/>
                  <a:cs typeface="Cambria" charset="0"/>
                </a:rPr>
                <a:t> Straße 31</a:t>
              </a:r>
              <a:br>
                <a:rPr lang="de-DE" sz="900" dirty="0">
                  <a:latin typeface="Cambria" charset="0"/>
                  <a:ea typeface="Cambria" charset="0"/>
                  <a:cs typeface="Cambria" charset="0"/>
                </a:rPr>
              </a:br>
              <a:r>
                <a:rPr lang="de-DE" sz="900" dirty="0">
                  <a:latin typeface="Cambria" charset="0"/>
                  <a:ea typeface="Cambria" charset="0"/>
                  <a:cs typeface="Cambria" charset="0"/>
                </a:rPr>
                <a:t>40213 Düsseldorf</a:t>
              </a:r>
              <a:br>
                <a:rPr lang="de-DE" sz="900" dirty="0">
                  <a:latin typeface="Cambria" charset="0"/>
                  <a:ea typeface="Cambria" charset="0"/>
                  <a:cs typeface="Cambria" charset="0"/>
                </a:rPr>
              </a:br>
              <a:r>
                <a:rPr lang="de-DE" sz="900" dirty="0">
                  <a:latin typeface="Cambria" charset="0"/>
                  <a:ea typeface="Cambria" charset="0"/>
                  <a:cs typeface="Cambria" charset="0"/>
                  <a:sym typeface="Symbol" charset="2"/>
                </a:rPr>
                <a:t>T +49 211/6 18 22-0</a:t>
              </a:r>
              <a:br>
                <a:rPr lang="de-DE" sz="900" dirty="0">
                  <a:latin typeface="Cambria" charset="0"/>
                  <a:ea typeface="Cambria" charset="0"/>
                  <a:cs typeface="Cambria" charset="0"/>
                  <a:sym typeface="Symbol" charset="2"/>
                </a:rPr>
              </a:br>
              <a:r>
                <a:rPr lang="de-DE" sz="900" dirty="0">
                  <a:latin typeface="Cambria" charset="0"/>
                  <a:ea typeface="Cambria" charset="0"/>
                  <a:cs typeface="Cambria" charset="0"/>
                  <a:sym typeface="Symbol" charset="2"/>
                </a:rPr>
                <a:t>F +49 211/6 18 22-100</a:t>
              </a:r>
              <a:br>
                <a:rPr lang="de-DE" sz="900" dirty="0">
                  <a:latin typeface="Cambria" charset="0"/>
                  <a:ea typeface="Cambria" charset="0"/>
                  <a:cs typeface="Cambria" charset="0"/>
                  <a:sym typeface="Symbol" charset="2"/>
                </a:rPr>
              </a:br>
              <a:r>
                <a:rPr lang="de-DE" sz="900" dirty="0">
                  <a:latin typeface="Cambria" charset="0"/>
                  <a:ea typeface="Cambria" charset="0"/>
                  <a:cs typeface="Cambria" charset="0"/>
                  <a:sym typeface="Symbol" charset="2"/>
                </a:rPr>
                <a:t>duesseldorf@fgs.de</a:t>
              </a:r>
              <a:endParaRPr lang="de-DE" sz="900" dirty="0">
                <a:latin typeface="Cambria" charset="0"/>
                <a:ea typeface="Cambria" charset="0"/>
                <a:cs typeface="Cambria" charset="0"/>
              </a:endParaRPr>
            </a:p>
          </p:txBody>
        </p:sp>
        <p:sp>
          <p:nvSpPr>
            <p:cNvPr id="31" name="Text Box 10">
              <a:extLst>
                <a:ext uri="{FF2B5EF4-FFF2-40B4-BE49-F238E27FC236}">
                  <a16:creationId xmlns:a16="http://schemas.microsoft.com/office/drawing/2014/main" id="{237FD6DD-5C18-5D44-B9C1-300BB4F3BDE9}"/>
                </a:ext>
              </a:extLst>
            </p:cNvPr>
            <p:cNvSpPr txBox="1">
              <a:spLocks noChangeAspect="1" noChangeArrowheads="1"/>
            </p:cNvSpPr>
            <p:nvPr userDrawn="1"/>
          </p:nvSpPr>
          <p:spPr bwMode="auto">
            <a:xfrm>
              <a:off x="6210725" y="4660285"/>
              <a:ext cx="1439913"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685594" eaLnBrk="0" hangingPunct="0">
                <a:lnSpc>
                  <a:spcPct val="120000"/>
                </a:lnSpc>
                <a:spcBef>
                  <a:spcPct val="50000"/>
                </a:spcBef>
                <a:tabLst/>
                <a:defRPr/>
              </a:pPr>
              <a:r>
                <a:rPr lang="de-DE" sz="900" b="1" dirty="0">
                  <a:solidFill>
                    <a:srgbClr val="004B74"/>
                  </a:solidFill>
                  <a:latin typeface="+mj-lt"/>
                  <a:ea typeface="Calibri" charset="0"/>
                  <a:cs typeface="Calibri" charset="0"/>
                </a:rPr>
                <a:t>Hamburg</a:t>
              </a:r>
            </a:p>
            <a:p>
              <a:pPr defTabSz="685594" eaLnBrk="0" hangingPunct="0">
                <a:lnSpc>
                  <a:spcPct val="120000"/>
                </a:lnSpc>
                <a:spcBef>
                  <a:spcPct val="50000"/>
                </a:spcBef>
                <a:tabLst>
                  <a:tab pos="2002030" algn="l"/>
                  <a:tab pos="4068335" algn="l"/>
                </a:tabLst>
                <a:defRPr/>
              </a:pPr>
              <a:r>
                <a:rPr lang="de-DE" sz="900" dirty="0">
                  <a:latin typeface="+mj-lt"/>
                  <a:ea typeface="Calibri" charset="0"/>
                  <a:cs typeface="Calibri" charset="0"/>
                </a:rPr>
                <a:t>Hohe Bleichen 12</a:t>
              </a:r>
              <a:br>
                <a:rPr lang="de-DE" sz="900" dirty="0">
                  <a:latin typeface="+mj-lt"/>
                  <a:ea typeface="Calibri" charset="0"/>
                  <a:cs typeface="Calibri" charset="0"/>
                </a:rPr>
              </a:br>
              <a:r>
                <a:rPr lang="de-DE" sz="900" dirty="0">
                  <a:latin typeface="+mj-lt"/>
                  <a:ea typeface="Calibri" charset="0"/>
                  <a:cs typeface="Calibri" charset="0"/>
                </a:rPr>
                <a:t>20354 Hamburg</a:t>
              </a:r>
              <a:br>
                <a:rPr lang="de-DE" sz="900" dirty="0">
                  <a:latin typeface="+mj-lt"/>
                  <a:ea typeface="Calibri" charset="0"/>
                  <a:cs typeface="Calibri" charset="0"/>
                </a:rPr>
              </a:br>
              <a:r>
                <a:rPr lang="de-DE" sz="900" dirty="0">
                  <a:latin typeface="+mj-lt"/>
                  <a:ea typeface="Calibri" charset="0"/>
                  <a:cs typeface="Calibri" charset="0"/>
                </a:rPr>
                <a:t>T +49 40/30 70 85-0</a:t>
              </a:r>
              <a:br>
                <a:rPr lang="de-DE" sz="900" dirty="0">
                  <a:latin typeface="+mj-lt"/>
                  <a:ea typeface="Calibri" charset="0"/>
                  <a:cs typeface="Calibri" charset="0"/>
                </a:rPr>
              </a:br>
              <a:r>
                <a:rPr lang="de-DE" sz="900" dirty="0">
                  <a:latin typeface="+mj-lt"/>
                  <a:ea typeface="Calibri" charset="0"/>
                  <a:cs typeface="Calibri" charset="0"/>
                </a:rPr>
                <a:t>F +49 40/30 70 85-100</a:t>
              </a:r>
              <a:br>
                <a:rPr lang="de-DE" sz="900" dirty="0">
                  <a:latin typeface="+mj-lt"/>
                  <a:ea typeface="Calibri" charset="0"/>
                  <a:cs typeface="Calibri" charset="0"/>
                </a:rPr>
              </a:br>
              <a:r>
                <a:rPr lang="de-DE" sz="900" dirty="0">
                  <a:latin typeface="+mj-lt"/>
                  <a:ea typeface="Calibri" charset="0"/>
                  <a:cs typeface="Calibri" charset="0"/>
                </a:rPr>
                <a:t>hamburg@fgs.de</a:t>
              </a:r>
            </a:p>
          </p:txBody>
        </p:sp>
        <p:sp>
          <p:nvSpPr>
            <p:cNvPr id="34" name="Text Box 2">
              <a:extLst>
                <a:ext uri="{FF2B5EF4-FFF2-40B4-BE49-F238E27FC236}">
                  <a16:creationId xmlns:a16="http://schemas.microsoft.com/office/drawing/2014/main" id="{917F433B-40B5-CB4D-86FC-CF8F7149D4FE}"/>
                </a:ext>
              </a:extLst>
            </p:cNvPr>
            <p:cNvSpPr txBox="1">
              <a:spLocks noChangeAspect="1" noChangeArrowheads="1"/>
            </p:cNvSpPr>
            <p:nvPr userDrawn="1"/>
          </p:nvSpPr>
          <p:spPr bwMode="auto">
            <a:xfrm>
              <a:off x="8968309" y="4653930"/>
              <a:ext cx="1439912" cy="1439322"/>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900" b="1" dirty="0">
                  <a:solidFill>
                    <a:srgbClr val="004B74"/>
                  </a:solidFill>
                  <a:latin typeface="Cambria" charset="0"/>
                  <a:ea typeface="Cambria" charset="0"/>
                  <a:cs typeface="Cambria" charset="0"/>
                </a:rPr>
                <a:t>Stuttgart</a:t>
              </a:r>
            </a:p>
            <a:p>
              <a:pPr defTabSz="1088449" fontAlgn="auto">
                <a:lnSpc>
                  <a:spcPct val="120000"/>
                </a:lnSpc>
                <a:spcBef>
                  <a:spcPct val="50000"/>
                </a:spcBef>
                <a:defRPr/>
              </a:pPr>
              <a:r>
                <a:rPr lang="de-DE" sz="900" dirty="0">
                  <a:latin typeface="Cambria" charset="0"/>
                  <a:ea typeface="Cambria" charset="0"/>
                  <a:cs typeface="Cambria" charset="0"/>
                </a:rPr>
                <a:t>Paulinenstraße 41</a:t>
              </a:r>
            </a:p>
            <a:p>
              <a:pPr defTabSz="1088449" fontAlgn="auto">
                <a:lnSpc>
                  <a:spcPct val="120000"/>
                </a:lnSpc>
                <a:spcBef>
                  <a:spcPts val="0"/>
                </a:spcBef>
                <a:defRPr/>
              </a:pPr>
              <a:r>
                <a:rPr lang="de-DE" sz="900" dirty="0">
                  <a:latin typeface="Cambria" charset="0"/>
                  <a:ea typeface="Cambria" charset="0"/>
                  <a:cs typeface="Cambria" charset="0"/>
                </a:rPr>
                <a:t>70178 Stuttgart</a:t>
              </a:r>
            </a:p>
            <a:p>
              <a:pPr defTabSz="1088449" fontAlgn="auto">
                <a:lnSpc>
                  <a:spcPct val="120000"/>
                </a:lnSpc>
                <a:spcBef>
                  <a:spcPts val="0"/>
                </a:spcBef>
                <a:defRPr/>
              </a:pPr>
              <a:r>
                <a:rPr lang="de-DE" sz="900" dirty="0">
                  <a:latin typeface="Cambria" charset="0"/>
                  <a:ea typeface="Cambria" charset="0"/>
                  <a:cs typeface="Cambria" charset="0"/>
                </a:rPr>
                <a:t>T +49 711/69 94 6-0</a:t>
              </a:r>
            </a:p>
            <a:p>
              <a:pPr defTabSz="1088449" fontAlgn="auto">
                <a:lnSpc>
                  <a:spcPct val="120000"/>
                </a:lnSpc>
                <a:spcBef>
                  <a:spcPts val="0"/>
                </a:spcBef>
                <a:defRPr/>
              </a:pPr>
              <a:r>
                <a:rPr lang="de-DE" sz="900" dirty="0">
                  <a:latin typeface="Cambria" charset="0"/>
                  <a:ea typeface="Cambria" charset="0"/>
                  <a:cs typeface="Cambria" charset="0"/>
                </a:rPr>
                <a:t>F +49 711/69 94 6-100 </a:t>
              </a:r>
              <a:br>
                <a:rPr lang="de-DE" sz="900" dirty="0">
                  <a:latin typeface="Cambria" charset="0"/>
                  <a:ea typeface="Cambria" charset="0"/>
                  <a:cs typeface="Cambria" charset="0"/>
                </a:rPr>
              </a:br>
              <a:r>
                <a:rPr lang="de-DE" sz="900" dirty="0">
                  <a:latin typeface="Cambria" charset="0"/>
                  <a:ea typeface="Cambria" charset="0"/>
                  <a:cs typeface="Cambria" charset="0"/>
                </a:rPr>
                <a:t>stuttgart@fgs.de</a:t>
              </a:r>
            </a:p>
          </p:txBody>
        </p:sp>
      </p:grpSp>
      <p:sp>
        <p:nvSpPr>
          <p:cNvPr id="35" name="Textfeld 28">
            <a:extLst>
              <a:ext uri="{FF2B5EF4-FFF2-40B4-BE49-F238E27FC236}">
                <a16:creationId xmlns:a16="http://schemas.microsoft.com/office/drawing/2014/main" id="{13E3AA66-17BA-6143-9E13-742EE4C848D0}"/>
              </a:ext>
            </a:extLst>
          </p:cNvPr>
          <p:cNvSpPr txBox="1">
            <a:spLocks noChangeArrowheads="1"/>
          </p:cNvSpPr>
          <p:nvPr userDrawn="1"/>
        </p:nvSpPr>
        <p:spPr bwMode="auto">
          <a:xfrm>
            <a:off x="696806" y="5888262"/>
            <a:ext cx="10078001" cy="27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100">
                <a:solidFill>
                  <a:schemeClr val="tx1"/>
                </a:solidFill>
                <a:latin typeface="Cambria" panose="02040503050406030204" pitchFamily="18" charset="0"/>
              </a:defRPr>
            </a:lvl1pPr>
            <a:lvl2pPr marL="742950" indent="-285750">
              <a:defRPr sz="2100">
                <a:solidFill>
                  <a:schemeClr val="tx1"/>
                </a:solidFill>
                <a:latin typeface="Cambria" panose="02040503050406030204" pitchFamily="18" charset="0"/>
              </a:defRPr>
            </a:lvl2pPr>
            <a:lvl3pPr marL="1143000" indent="-228600">
              <a:defRPr sz="2100">
                <a:solidFill>
                  <a:schemeClr val="tx1"/>
                </a:solidFill>
                <a:latin typeface="Cambria" panose="02040503050406030204" pitchFamily="18" charset="0"/>
              </a:defRPr>
            </a:lvl3pPr>
            <a:lvl4pPr marL="1600200" indent="-228600">
              <a:defRPr sz="2100">
                <a:solidFill>
                  <a:schemeClr val="tx1"/>
                </a:solidFill>
                <a:latin typeface="Cambria" panose="02040503050406030204" pitchFamily="18" charset="0"/>
              </a:defRPr>
            </a:lvl4pPr>
            <a:lvl5pPr marL="2057400" indent="-228600">
              <a:defRPr sz="2100">
                <a:solidFill>
                  <a:schemeClr val="tx1"/>
                </a:solidFill>
                <a:latin typeface="Cambria" panose="02040503050406030204" pitchFamily="18" charset="0"/>
              </a:defRPr>
            </a:lvl5pPr>
            <a:lvl6pPr marL="2514600" indent="-228600" defTabSz="1087438" fontAlgn="base">
              <a:spcBef>
                <a:spcPct val="0"/>
              </a:spcBef>
              <a:spcAft>
                <a:spcPct val="0"/>
              </a:spcAft>
              <a:defRPr sz="2100">
                <a:solidFill>
                  <a:schemeClr val="tx1"/>
                </a:solidFill>
                <a:latin typeface="Cambria" panose="02040503050406030204" pitchFamily="18" charset="0"/>
              </a:defRPr>
            </a:lvl6pPr>
            <a:lvl7pPr marL="2971800" indent="-228600" defTabSz="1087438" fontAlgn="base">
              <a:spcBef>
                <a:spcPct val="0"/>
              </a:spcBef>
              <a:spcAft>
                <a:spcPct val="0"/>
              </a:spcAft>
              <a:defRPr sz="2100">
                <a:solidFill>
                  <a:schemeClr val="tx1"/>
                </a:solidFill>
                <a:latin typeface="Cambria" panose="02040503050406030204" pitchFamily="18" charset="0"/>
              </a:defRPr>
            </a:lvl7pPr>
            <a:lvl8pPr marL="3429000" indent="-228600" defTabSz="1087438" fontAlgn="base">
              <a:spcBef>
                <a:spcPct val="0"/>
              </a:spcBef>
              <a:spcAft>
                <a:spcPct val="0"/>
              </a:spcAft>
              <a:defRPr sz="2100">
                <a:solidFill>
                  <a:schemeClr val="tx1"/>
                </a:solidFill>
                <a:latin typeface="Cambria" panose="02040503050406030204" pitchFamily="18" charset="0"/>
              </a:defRPr>
            </a:lvl8pPr>
            <a:lvl9pPr marL="3886200" indent="-228600" defTabSz="1087438" fontAlgn="base">
              <a:spcBef>
                <a:spcPct val="0"/>
              </a:spcBef>
              <a:spcAft>
                <a:spcPct val="0"/>
              </a:spcAft>
              <a:defRPr sz="2100">
                <a:solidFill>
                  <a:schemeClr val="tx1"/>
                </a:solidFill>
                <a:latin typeface="Cambria" panose="02040503050406030204" pitchFamily="18" charset="0"/>
              </a:defRPr>
            </a:lvl9pPr>
          </a:lstStyle>
          <a:p>
            <a:pPr>
              <a:buClr>
                <a:srgbClr val="26436A"/>
              </a:buClr>
              <a:buFont typeface="Wingdings" pitchFamily="2" charset="2"/>
              <a:buNone/>
            </a:pPr>
            <a:r>
              <a:rPr lang="de-DE" altLang="de-DE" sz="1799" dirty="0" err="1">
                <a:solidFill>
                  <a:srgbClr val="B0946F"/>
                </a:solidFill>
              </a:rPr>
              <a:t>fgs.de</a:t>
            </a:r>
            <a:endParaRPr lang="de-DE" altLang="de-DE" sz="1999" dirty="0">
              <a:solidFill>
                <a:srgbClr val="B0946F"/>
              </a:solidFill>
            </a:endParaRPr>
          </a:p>
        </p:txBody>
      </p:sp>
    </p:spTree>
    <p:extLst>
      <p:ext uri="{BB962C8B-B14F-4D97-AF65-F5344CB8AC3E}">
        <p14:creationId xmlns:p14="http://schemas.microsoft.com/office/powerpoint/2010/main" val="41448384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urzes Profil Variante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646850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lvl1pPr>
              <a:defRPr baseline="0"/>
            </a:lvl1pPr>
          </a:lstStyle>
          <a:p>
            <a:r>
              <a:rPr lang="de-DE" dirty="0"/>
              <a:t>Ihr Ansprechpartner</a:t>
            </a:r>
          </a:p>
        </p:txBody>
      </p:sp>
      <p:sp>
        <p:nvSpPr>
          <p:cNvPr id="27" name="Textplatzhalter 26"/>
          <p:cNvSpPr>
            <a:spLocks noGrp="1"/>
          </p:cNvSpPr>
          <p:nvPr>
            <p:ph type="body" sz="quarter" idx="14" hasCustomPrompt="1"/>
          </p:nvPr>
        </p:nvSpPr>
        <p:spPr>
          <a:xfrm>
            <a:off x="696806" y="1917182"/>
            <a:ext cx="3959409" cy="1511650"/>
          </a:xfrm>
        </p:spPr>
        <p:txBody>
          <a:bodyPr/>
          <a:lstStyle>
            <a:lvl1pPr>
              <a:defRPr sz="1600" b="1">
                <a:solidFill>
                  <a:schemeClr val="tx1"/>
                </a:solidFill>
              </a:defRPr>
            </a:lvl1pPr>
            <a:lvl2pPr marL="0" indent="0">
              <a:buFontTx/>
              <a:buNone/>
              <a:defRPr sz="1600"/>
            </a:lvl2pPr>
          </a:lstStyle>
          <a:p>
            <a:pPr lvl="0"/>
            <a:r>
              <a:rPr lang="de-DE" dirty="0"/>
              <a:t>Mastertextformat bearbeiten</a:t>
            </a:r>
          </a:p>
          <a:p>
            <a:pPr lvl="1"/>
            <a:r>
              <a:rPr lang="de-DE" dirty="0"/>
              <a:t>Zweite Ebene</a:t>
            </a:r>
          </a:p>
        </p:txBody>
      </p:sp>
      <p:sp>
        <p:nvSpPr>
          <p:cNvPr id="6" name="Datumsplatzhalter 5"/>
          <p:cNvSpPr>
            <a:spLocks noGrp="1"/>
          </p:cNvSpPr>
          <p:nvPr>
            <p:ph type="dt" sz="half" idx="15"/>
          </p:nvPr>
        </p:nvSpPr>
        <p:spPr/>
        <p:txBody>
          <a:bodyPr/>
          <a:lstStyle/>
          <a:p>
            <a:fld id="{AE953C79-457A-41B4-B816-9CECB1CE4B74}" type="datetime1">
              <a:rPr lang="de-DE" smtClean="0"/>
              <a:t>12.09.2022</a:t>
            </a:fld>
            <a:endParaRPr lang="de-DE" dirty="0"/>
          </a:p>
        </p:txBody>
      </p:sp>
      <p:sp>
        <p:nvSpPr>
          <p:cNvPr id="7" name="Fußzeilenplatzhalter 6"/>
          <p:cNvSpPr>
            <a:spLocks noGrp="1"/>
          </p:cNvSpPr>
          <p:nvPr>
            <p:ph type="ftr" sz="quarter" idx="16"/>
          </p:nvPr>
        </p:nvSpPr>
        <p:spPr/>
        <p:txBody>
          <a:bodyPr/>
          <a:lstStyle/>
          <a:p>
            <a:r>
              <a:rPr lang="de-DE"/>
              <a:t>Flick Gocke Schaumburg Partnerschaft mbB</a:t>
            </a:r>
            <a:endParaRPr lang="de-DE" dirty="0"/>
          </a:p>
        </p:txBody>
      </p:sp>
      <p:sp>
        <p:nvSpPr>
          <p:cNvPr id="8" name="Foliennummernplatzhalter 7"/>
          <p:cNvSpPr>
            <a:spLocks noGrp="1"/>
          </p:cNvSpPr>
          <p:nvPr>
            <p:ph type="sldNum" sz="quarter" idx="17"/>
          </p:nvPr>
        </p:nvSpPr>
        <p:spPr/>
        <p:txBody>
          <a:bodyPr/>
          <a:lstStyle/>
          <a:p>
            <a:fld id="{761F7C54-956E-4035-96E5-E3754B49D8A7}" type="slidenum">
              <a:rPr lang="de-DE" smtClean="0"/>
              <a:pPr/>
              <a:t>‹Nr.›</a:t>
            </a:fld>
            <a:endParaRPr lang="de-DE" dirty="0"/>
          </a:p>
        </p:txBody>
      </p:sp>
    </p:spTree>
    <p:extLst>
      <p:ext uri="{BB962C8B-B14F-4D97-AF65-F5344CB8AC3E}">
        <p14:creationId xmlns:p14="http://schemas.microsoft.com/office/powerpoint/2010/main" val="27083271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Unsere Standorte">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userDrawn="1">
            <p:custDataLst>
              <p:tags r:id="rId2"/>
            </p:custDataLst>
            <p:extLst>
              <p:ext uri="{D42A27DB-BD31-4B8C-83A1-F6EECF244321}">
                <p14:modId xmlns:p14="http://schemas.microsoft.com/office/powerpoint/2010/main" val="104012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Folie" r:id="rId4" imgW="270" imgH="270" progId="TCLayout.ActiveDocument.1">
                  <p:embed/>
                </p:oleObj>
              </mc:Choice>
              <mc:Fallback>
                <p:oleObj name="think-cell Folie" r:id="rId4" imgW="270" imgH="270" progId="TCLayout.ActiveDocument.1">
                  <p:embed/>
                  <p:pic>
                    <p:nvPicPr>
                      <p:cNvPr id="18" name="Objekt 1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Box 2"/>
          <p:cNvSpPr txBox="1">
            <a:spLocks noChangeAspect="1" noChangeArrowheads="1"/>
          </p:cNvSpPr>
          <p:nvPr userDrawn="1"/>
        </p:nvSpPr>
        <p:spPr bwMode="auto">
          <a:xfrm>
            <a:off x="697006" y="1917182"/>
            <a:ext cx="1799531" cy="1799583"/>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a:lnSpc>
                <a:spcPct val="120000"/>
              </a:lnSpc>
              <a:spcBef>
                <a:spcPct val="50000"/>
              </a:spcBef>
              <a:spcAft>
                <a:spcPct val="0"/>
              </a:spcAft>
              <a:buFontTx/>
              <a:buNone/>
            </a:pPr>
            <a:r>
              <a:rPr lang="de-DE" sz="1200" b="1" kern="1200" dirty="0">
                <a:solidFill>
                  <a:srgbClr val="004B74"/>
                </a:solidFill>
                <a:latin typeface="+mj-lt"/>
                <a:ea typeface="Calibri" charset="0"/>
                <a:cs typeface="Calibri" charset="0"/>
              </a:rPr>
              <a:t>Bonn</a:t>
            </a:r>
          </a:p>
          <a:p>
            <a:pPr>
              <a:lnSpc>
                <a:spcPct val="120000"/>
              </a:lnSpc>
              <a:spcBef>
                <a:spcPct val="50000"/>
              </a:spcBef>
              <a:spcAft>
                <a:spcPct val="0"/>
              </a:spcAft>
              <a:buFontTx/>
              <a:buNone/>
            </a:pPr>
            <a:r>
              <a:rPr lang="de-DE" sz="1000" kern="1200" baseline="0" dirty="0">
                <a:solidFill>
                  <a:schemeClr val="tx1"/>
                </a:solidFill>
                <a:latin typeface="+mj-lt"/>
                <a:ea typeface="Calibri" charset="0"/>
                <a:cs typeface="Calibri" charset="0"/>
              </a:rPr>
              <a:t>Fritz-Schäffer-Straße 1  </a:t>
            </a:r>
            <a:br>
              <a:rPr lang="de-DE" sz="1000" kern="1200" baseline="0" dirty="0">
                <a:solidFill>
                  <a:schemeClr val="tx1"/>
                </a:solidFill>
                <a:latin typeface="+mj-lt"/>
                <a:ea typeface="Calibri" charset="0"/>
                <a:cs typeface="Calibri" charset="0"/>
              </a:rPr>
            </a:br>
            <a:r>
              <a:rPr lang="de-DE" sz="1000" kern="1200" dirty="0">
                <a:solidFill>
                  <a:schemeClr val="tx1"/>
                </a:solidFill>
                <a:latin typeface="+mj-lt"/>
                <a:ea typeface="Calibri" charset="0"/>
                <a:cs typeface="Calibri" charset="0"/>
              </a:rPr>
              <a:t>53113 Bonn</a:t>
            </a:r>
            <a:br>
              <a:rPr lang="de-DE" sz="1000" kern="1200" dirty="0">
                <a:solidFill>
                  <a:schemeClr val="tx1"/>
                </a:solidFill>
                <a:latin typeface="+mj-lt"/>
                <a:ea typeface="Calibri" charset="0"/>
                <a:cs typeface="Calibri" charset="0"/>
              </a:rPr>
            </a:br>
            <a:r>
              <a:rPr lang="de-DE" sz="1000" kern="1200" dirty="0">
                <a:solidFill>
                  <a:schemeClr val="tx1"/>
                </a:solidFill>
                <a:latin typeface="+mj-lt"/>
                <a:ea typeface="Calibri" charset="0"/>
                <a:cs typeface="Calibri" charset="0"/>
                <a:sym typeface="Symbol" charset="2"/>
              </a:rPr>
              <a:t>T</a:t>
            </a:r>
            <a:r>
              <a:rPr lang="de-DE" sz="1000" kern="1200" baseline="0" dirty="0">
                <a:solidFill>
                  <a:schemeClr val="tx1"/>
                </a:solidFill>
                <a:latin typeface="+mj-lt"/>
                <a:ea typeface="Calibri" charset="0"/>
                <a:cs typeface="Calibri" charset="0"/>
                <a:sym typeface="Symbol" charset="2"/>
              </a:rPr>
              <a:t> </a:t>
            </a:r>
            <a:r>
              <a:rPr lang="de-DE" sz="1000" kern="1200" dirty="0">
                <a:solidFill>
                  <a:schemeClr val="tx1"/>
                </a:solidFill>
                <a:latin typeface="+mj-lt"/>
                <a:ea typeface="Calibri" charset="0"/>
                <a:cs typeface="Calibri" charset="0"/>
                <a:sym typeface="Symbol" charset="2"/>
              </a:rPr>
              <a:t>+49</a:t>
            </a:r>
            <a:r>
              <a:rPr lang="de-DE" sz="1000" kern="1200" baseline="0" dirty="0">
                <a:solidFill>
                  <a:schemeClr val="tx1"/>
                </a:solidFill>
                <a:latin typeface="+mj-lt"/>
                <a:ea typeface="Calibri" charset="0"/>
                <a:cs typeface="Calibri" charset="0"/>
                <a:sym typeface="Symbol" charset="2"/>
              </a:rPr>
              <a:t> </a:t>
            </a:r>
            <a:r>
              <a:rPr lang="de-DE" sz="1000" kern="1200" dirty="0">
                <a:solidFill>
                  <a:schemeClr val="tx1"/>
                </a:solidFill>
                <a:latin typeface="+mj-lt"/>
                <a:ea typeface="Calibri" charset="0"/>
                <a:cs typeface="Calibri" charset="0"/>
                <a:sym typeface="Symbol" charset="2"/>
              </a:rPr>
              <a:t>228/95 94-0</a:t>
            </a:r>
            <a:br>
              <a:rPr lang="de-DE" sz="1000" kern="1200" dirty="0">
                <a:solidFill>
                  <a:schemeClr val="tx1"/>
                </a:solidFill>
                <a:latin typeface="+mj-lt"/>
                <a:ea typeface="Calibri" charset="0"/>
                <a:cs typeface="Calibri" charset="0"/>
                <a:sym typeface="Symbol" charset="2"/>
              </a:rPr>
            </a:br>
            <a:r>
              <a:rPr lang="de-DE" sz="1000" kern="1200" dirty="0">
                <a:solidFill>
                  <a:schemeClr val="tx1"/>
                </a:solidFill>
                <a:latin typeface="+mj-lt"/>
                <a:ea typeface="Calibri" charset="0"/>
                <a:cs typeface="Calibri" charset="0"/>
                <a:sym typeface="Symbol" charset="2"/>
              </a:rPr>
              <a:t>F +49</a:t>
            </a:r>
            <a:r>
              <a:rPr lang="de-DE" sz="1000" kern="1200" baseline="0" dirty="0">
                <a:solidFill>
                  <a:schemeClr val="tx1"/>
                </a:solidFill>
                <a:latin typeface="+mj-lt"/>
                <a:ea typeface="Calibri" charset="0"/>
                <a:cs typeface="Calibri" charset="0"/>
                <a:sym typeface="Symbol" charset="2"/>
              </a:rPr>
              <a:t> </a:t>
            </a:r>
            <a:r>
              <a:rPr lang="de-DE" sz="1000" kern="1200" dirty="0">
                <a:solidFill>
                  <a:schemeClr val="tx1"/>
                </a:solidFill>
                <a:latin typeface="+mj-lt"/>
                <a:ea typeface="Calibri" charset="0"/>
                <a:cs typeface="Calibri" charset="0"/>
                <a:sym typeface="Symbol" charset="2"/>
              </a:rPr>
              <a:t>228/95 94-100 </a:t>
            </a:r>
            <a:br>
              <a:rPr lang="de-DE" sz="1000" kern="1200" dirty="0">
                <a:solidFill>
                  <a:schemeClr val="tx1"/>
                </a:solidFill>
                <a:latin typeface="+mj-lt"/>
                <a:ea typeface="Calibri" charset="0"/>
                <a:cs typeface="Calibri" charset="0"/>
                <a:sym typeface="Symbol" charset="2"/>
              </a:rPr>
            </a:br>
            <a:r>
              <a:rPr lang="de-DE" sz="1000" kern="1200" dirty="0">
                <a:solidFill>
                  <a:schemeClr val="tx1"/>
                </a:solidFill>
                <a:latin typeface="+mj-lt"/>
                <a:ea typeface="Calibri" charset="0"/>
                <a:cs typeface="Calibri" charset="0"/>
                <a:sym typeface="Symbol" charset="2"/>
              </a:rPr>
              <a:t>bonn@fgs.de</a:t>
            </a:r>
            <a:endParaRPr lang="de-DE" sz="1000" kern="1200" dirty="0">
              <a:solidFill>
                <a:schemeClr val="tx1"/>
              </a:solidFill>
              <a:latin typeface="+mj-lt"/>
              <a:ea typeface="Calibri" charset="0"/>
              <a:cs typeface="Calibri" charset="0"/>
            </a:endParaRPr>
          </a:p>
        </p:txBody>
      </p:sp>
      <p:sp>
        <p:nvSpPr>
          <p:cNvPr id="7" name="Text Box 3"/>
          <p:cNvSpPr txBox="1">
            <a:spLocks noChangeAspect="1" noChangeArrowheads="1"/>
          </p:cNvSpPr>
          <p:nvPr userDrawn="1"/>
        </p:nvSpPr>
        <p:spPr bwMode="auto">
          <a:xfrm>
            <a:off x="2882656" y="1917182"/>
            <a:ext cx="1799531" cy="1799583"/>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a:lnSpc>
                <a:spcPct val="120000"/>
              </a:lnSpc>
              <a:spcBef>
                <a:spcPct val="50000"/>
              </a:spcBef>
              <a:spcAft>
                <a:spcPct val="0"/>
              </a:spcAft>
              <a:buFontTx/>
              <a:buNone/>
            </a:pPr>
            <a:r>
              <a:rPr lang="de-DE" sz="1200" b="1" dirty="0">
                <a:solidFill>
                  <a:srgbClr val="004B74"/>
                </a:solidFill>
                <a:latin typeface="+mj-lt"/>
                <a:ea typeface="Calibri" charset="0"/>
                <a:cs typeface="Calibri" charset="0"/>
              </a:rPr>
              <a:t>Berlin</a:t>
            </a:r>
          </a:p>
          <a:p>
            <a:pPr>
              <a:lnSpc>
                <a:spcPct val="120000"/>
              </a:lnSpc>
              <a:spcBef>
                <a:spcPct val="50000"/>
              </a:spcBef>
              <a:spcAft>
                <a:spcPct val="0"/>
              </a:spcAft>
              <a:buFontTx/>
              <a:buNone/>
            </a:pPr>
            <a:r>
              <a:rPr lang="de-DE" sz="1000" dirty="0">
                <a:solidFill>
                  <a:schemeClr val="tx1"/>
                </a:solidFill>
                <a:latin typeface="+mj-lt"/>
                <a:ea typeface="Calibri" charset="0"/>
                <a:cs typeface="Calibri" charset="0"/>
              </a:rPr>
              <a:t>Unter</a:t>
            </a:r>
            <a:r>
              <a:rPr lang="de-DE" sz="1000" baseline="0" dirty="0">
                <a:solidFill>
                  <a:schemeClr val="tx1"/>
                </a:solidFill>
                <a:latin typeface="+mj-lt"/>
                <a:ea typeface="Calibri" charset="0"/>
                <a:cs typeface="Calibri" charset="0"/>
              </a:rPr>
              <a:t> den Linden 10</a:t>
            </a:r>
            <a:br>
              <a:rPr lang="de-DE" sz="1000" baseline="0" dirty="0">
                <a:solidFill>
                  <a:schemeClr val="tx1"/>
                </a:solidFill>
                <a:latin typeface="+mj-lt"/>
                <a:ea typeface="Calibri" charset="0"/>
                <a:cs typeface="Calibri" charset="0"/>
              </a:rPr>
            </a:br>
            <a:r>
              <a:rPr lang="de-DE" sz="1000" dirty="0">
                <a:solidFill>
                  <a:schemeClr val="tx1"/>
                </a:solidFill>
                <a:latin typeface="+mj-lt"/>
                <a:ea typeface="Calibri" charset="0"/>
                <a:cs typeface="Calibri" charset="0"/>
              </a:rPr>
              <a:t>10117 Berlin </a:t>
            </a:r>
            <a:br>
              <a:rPr lang="de-DE" sz="1000" dirty="0">
                <a:solidFill>
                  <a:schemeClr val="tx1"/>
                </a:solidFill>
                <a:latin typeface="+mj-lt"/>
                <a:ea typeface="Calibri" charset="0"/>
                <a:cs typeface="Calibri" charset="0"/>
                <a:sym typeface="Symbol" charset="2"/>
              </a:rPr>
            </a:br>
            <a:r>
              <a:rPr lang="de-DE" sz="1000" dirty="0">
                <a:solidFill>
                  <a:schemeClr val="tx1"/>
                </a:solidFill>
                <a:latin typeface="+mj-lt"/>
                <a:ea typeface="Calibri" charset="0"/>
                <a:cs typeface="Calibri" charset="0"/>
                <a:sym typeface="Symbol" charset="2"/>
              </a:rPr>
              <a:t>T +49</a:t>
            </a:r>
            <a:r>
              <a:rPr lang="de-DE" sz="1000" baseline="0" dirty="0">
                <a:solidFill>
                  <a:schemeClr val="tx1"/>
                </a:solidFill>
                <a:latin typeface="+mj-lt"/>
                <a:ea typeface="Calibri" charset="0"/>
                <a:cs typeface="Calibri" charset="0"/>
                <a:sym typeface="Symbol" charset="2"/>
              </a:rPr>
              <a:t> </a:t>
            </a:r>
            <a:r>
              <a:rPr lang="de-DE" sz="1000" dirty="0">
                <a:solidFill>
                  <a:schemeClr val="tx1"/>
                </a:solidFill>
                <a:latin typeface="+mj-lt"/>
                <a:ea typeface="Calibri" charset="0"/>
                <a:cs typeface="Calibri" charset="0"/>
                <a:sym typeface="Symbol" charset="2"/>
              </a:rPr>
              <a:t>30/21 00 20-0 </a:t>
            </a:r>
            <a:br>
              <a:rPr lang="de-DE" sz="1000" dirty="0">
                <a:solidFill>
                  <a:schemeClr val="tx1"/>
                </a:solidFill>
                <a:latin typeface="+mj-lt"/>
                <a:ea typeface="Calibri" charset="0"/>
                <a:cs typeface="Calibri" charset="0"/>
                <a:sym typeface="Symbol" charset="2"/>
              </a:rPr>
            </a:br>
            <a:r>
              <a:rPr lang="de-DE" sz="1000" dirty="0">
                <a:solidFill>
                  <a:schemeClr val="tx1"/>
                </a:solidFill>
                <a:latin typeface="+mj-lt"/>
                <a:ea typeface="Calibri" charset="0"/>
                <a:cs typeface="Calibri" charset="0"/>
                <a:sym typeface="Symbol" charset="2"/>
              </a:rPr>
              <a:t>F +49</a:t>
            </a:r>
            <a:r>
              <a:rPr lang="de-DE" sz="1000" baseline="0" dirty="0">
                <a:solidFill>
                  <a:schemeClr val="tx1"/>
                </a:solidFill>
                <a:latin typeface="+mj-lt"/>
                <a:ea typeface="Calibri" charset="0"/>
                <a:cs typeface="Calibri" charset="0"/>
                <a:sym typeface="Symbol" charset="2"/>
              </a:rPr>
              <a:t> </a:t>
            </a:r>
            <a:r>
              <a:rPr lang="de-DE" sz="1000" dirty="0">
                <a:solidFill>
                  <a:schemeClr val="tx1"/>
                </a:solidFill>
                <a:latin typeface="+mj-lt"/>
                <a:ea typeface="Calibri" charset="0"/>
                <a:cs typeface="Calibri" charset="0"/>
                <a:sym typeface="Symbol" charset="2"/>
              </a:rPr>
              <a:t>30/21 00 20-100</a:t>
            </a:r>
            <a:br>
              <a:rPr lang="de-DE" sz="1000" dirty="0">
                <a:solidFill>
                  <a:schemeClr val="tx1"/>
                </a:solidFill>
                <a:latin typeface="+mj-lt"/>
                <a:ea typeface="Calibri" charset="0"/>
                <a:cs typeface="Calibri" charset="0"/>
                <a:sym typeface="Symbol" charset="2"/>
              </a:rPr>
            </a:br>
            <a:r>
              <a:rPr lang="de-DE" sz="1000" dirty="0">
                <a:solidFill>
                  <a:schemeClr val="tx1"/>
                </a:solidFill>
                <a:latin typeface="+mj-lt"/>
                <a:ea typeface="Calibri" charset="0"/>
                <a:cs typeface="Calibri" charset="0"/>
                <a:sym typeface="Symbol" charset="2"/>
              </a:rPr>
              <a:t>berlin@fgs.de </a:t>
            </a:r>
            <a:endParaRPr lang="de-DE" sz="1000" dirty="0">
              <a:solidFill>
                <a:schemeClr val="tx1"/>
              </a:solidFill>
              <a:latin typeface="+mj-lt"/>
              <a:ea typeface="Calibri" charset="0"/>
              <a:cs typeface="Calibri" charset="0"/>
            </a:endParaRPr>
          </a:p>
        </p:txBody>
      </p:sp>
      <p:sp>
        <p:nvSpPr>
          <p:cNvPr id="8" name="Text Box 4"/>
          <p:cNvSpPr txBox="1">
            <a:spLocks noChangeAspect="1" noChangeArrowheads="1"/>
          </p:cNvSpPr>
          <p:nvPr userDrawn="1"/>
        </p:nvSpPr>
        <p:spPr bwMode="auto">
          <a:xfrm>
            <a:off x="5061479" y="1917182"/>
            <a:ext cx="1799531" cy="1799583"/>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a:lnSpc>
                <a:spcPct val="120000"/>
              </a:lnSpc>
              <a:spcBef>
                <a:spcPct val="50000"/>
              </a:spcBef>
              <a:spcAft>
                <a:spcPct val="0"/>
              </a:spcAft>
              <a:buFontTx/>
              <a:buNone/>
            </a:pPr>
            <a:r>
              <a:rPr lang="de-DE" sz="1200" b="1" dirty="0">
                <a:solidFill>
                  <a:srgbClr val="004B74"/>
                </a:solidFill>
                <a:latin typeface="+mj-lt"/>
                <a:ea typeface="Calibri" charset="0"/>
                <a:cs typeface="Calibri" charset="0"/>
              </a:rPr>
              <a:t>Frankfurt</a:t>
            </a:r>
          </a:p>
          <a:p>
            <a:pPr>
              <a:lnSpc>
                <a:spcPct val="120000"/>
              </a:lnSpc>
              <a:spcBef>
                <a:spcPct val="50000"/>
              </a:spcBef>
              <a:spcAft>
                <a:spcPct val="0"/>
              </a:spcAft>
              <a:buFontTx/>
              <a:buNone/>
            </a:pPr>
            <a:r>
              <a:rPr lang="de-DE" sz="1000" dirty="0" err="1">
                <a:solidFill>
                  <a:schemeClr val="tx1"/>
                </a:solidFill>
                <a:latin typeface="+mj-lt"/>
                <a:ea typeface="Calibri" charset="0"/>
                <a:cs typeface="Calibri" charset="0"/>
              </a:rPr>
              <a:t>MesseTurm</a:t>
            </a:r>
            <a:endParaRPr lang="de-DE" sz="1000" dirty="0">
              <a:solidFill>
                <a:schemeClr val="tx1"/>
              </a:solidFill>
              <a:latin typeface="+mj-lt"/>
              <a:ea typeface="Calibri" charset="0"/>
              <a:cs typeface="Calibri" charset="0"/>
            </a:endParaRPr>
          </a:p>
          <a:p>
            <a:pPr>
              <a:lnSpc>
                <a:spcPct val="120000"/>
              </a:lnSpc>
              <a:spcBef>
                <a:spcPts val="0"/>
              </a:spcBef>
              <a:spcAft>
                <a:spcPct val="0"/>
              </a:spcAft>
              <a:buFontTx/>
              <a:buNone/>
            </a:pPr>
            <a:r>
              <a:rPr lang="de-DE" sz="1000" dirty="0">
                <a:solidFill>
                  <a:schemeClr val="tx1"/>
                </a:solidFill>
                <a:latin typeface="+mj-lt"/>
                <a:ea typeface="Calibri" charset="0"/>
                <a:cs typeface="Calibri" charset="0"/>
              </a:rPr>
              <a:t>Friedrich-Ebert-Anlage 49</a:t>
            </a:r>
          </a:p>
          <a:p>
            <a:pPr>
              <a:lnSpc>
                <a:spcPct val="120000"/>
              </a:lnSpc>
              <a:spcBef>
                <a:spcPts val="0"/>
              </a:spcBef>
              <a:spcAft>
                <a:spcPct val="0"/>
              </a:spcAft>
              <a:buFontTx/>
              <a:buNone/>
            </a:pPr>
            <a:r>
              <a:rPr lang="de-DE" sz="1000" dirty="0">
                <a:solidFill>
                  <a:schemeClr val="tx1"/>
                </a:solidFill>
                <a:latin typeface="+mj-lt"/>
                <a:ea typeface="Calibri" charset="0"/>
                <a:cs typeface="Calibri" charset="0"/>
              </a:rPr>
              <a:t>60308 Frankfurt a.M.</a:t>
            </a:r>
            <a:br>
              <a:rPr lang="de-DE" sz="1000" dirty="0">
                <a:solidFill>
                  <a:schemeClr val="tx1"/>
                </a:solidFill>
                <a:latin typeface="+mj-lt"/>
                <a:ea typeface="Calibri" charset="0"/>
                <a:cs typeface="Calibri" charset="0"/>
              </a:rPr>
            </a:br>
            <a:r>
              <a:rPr lang="de-DE" sz="1000" dirty="0">
                <a:solidFill>
                  <a:schemeClr val="tx1"/>
                </a:solidFill>
                <a:latin typeface="+mj-lt"/>
                <a:ea typeface="Calibri" charset="0"/>
                <a:cs typeface="Calibri" charset="0"/>
                <a:sym typeface="Symbol" charset="2"/>
              </a:rPr>
              <a:t>T +49 69/717 03-0</a:t>
            </a:r>
            <a:br>
              <a:rPr lang="de-DE" sz="1000" dirty="0">
                <a:solidFill>
                  <a:schemeClr val="tx1"/>
                </a:solidFill>
                <a:latin typeface="+mj-lt"/>
                <a:ea typeface="Calibri" charset="0"/>
                <a:cs typeface="Calibri" charset="0"/>
                <a:sym typeface="Symbol" charset="2"/>
              </a:rPr>
            </a:br>
            <a:r>
              <a:rPr lang="de-DE" sz="1000" dirty="0">
                <a:solidFill>
                  <a:schemeClr val="tx1"/>
                </a:solidFill>
                <a:latin typeface="+mj-lt"/>
                <a:ea typeface="Calibri" charset="0"/>
                <a:cs typeface="Calibri" charset="0"/>
                <a:sym typeface="Symbol" charset="2"/>
              </a:rPr>
              <a:t>F +49</a:t>
            </a:r>
            <a:r>
              <a:rPr lang="de-DE" sz="1000" baseline="0" dirty="0">
                <a:solidFill>
                  <a:schemeClr val="tx1"/>
                </a:solidFill>
                <a:latin typeface="+mj-lt"/>
                <a:ea typeface="Calibri" charset="0"/>
                <a:cs typeface="Calibri" charset="0"/>
                <a:sym typeface="Symbol" charset="2"/>
              </a:rPr>
              <a:t> </a:t>
            </a:r>
            <a:r>
              <a:rPr lang="de-DE" sz="1000" dirty="0">
                <a:solidFill>
                  <a:schemeClr val="tx1"/>
                </a:solidFill>
                <a:latin typeface="+mj-lt"/>
                <a:ea typeface="Calibri" charset="0"/>
                <a:cs typeface="Calibri" charset="0"/>
                <a:sym typeface="Symbol" charset="2"/>
              </a:rPr>
              <a:t>69/717 03-100 </a:t>
            </a:r>
            <a:br>
              <a:rPr lang="de-DE" sz="1000" dirty="0">
                <a:solidFill>
                  <a:schemeClr val="tx1"/>
                </a:solidFill>
                <a:latin typeface="+mj-lt"/>
                <a:ea typeface="Calibri" charset="0"/>
                <a:cs typeface="Calibri" charset="0"/>
                <a:sym typeface="Symbol" charset="2"/>
              </a:rPr>
            </a:br>
            <a:r>
              <a:rPr lang="de-DE" sz="1000" dirty="0">
                <a:solidFill>
                  <a:schemeClr val="tx1"/>
                </a:solidFill>
                <a:latin typeface="+mj-lt"/>
                <a:ea typeface="Calibri" charset="0"/>
                <a:cs typeface="Calibri" charset="0"/>
                <a:sym typeface="Symbol" charset="2"/>
              </a:rPr>
              <a:t>frankfurt@fgs.de</a:t>
            </a:r>
            <a:endParaRPr lang="de-DE" sz="1000" dirty="0">
              <a:solidFill>
                <a:schemeClr val="tx1"/>
              </a:solidFill>
              <a:latin typeface="+mj-lt"/>
              <a:ea typeface="Calibri" charset="0"/>
              <a:cs typeface="Calibri" charset="0"/>
            </a:endParaRPr>
          </a:p>
        </p:txBody>
      </p:sp>
      <p:sp>
        <p:nvSpPr>
          <p:cNvPr id="9" name="Text Box 10"/>
          <p:cNvSpPr txBox="1">
            <a:spLocks noChangeAspect="1" noChangeArrowheads="1"/>
          </p:cNvSpPr>
          <p:nvPr userDrawn="1"/>
        </p:nvSpPr>
        <p:spPr bwMode="auto">
          <a:xfrm>
            <a:off x="7240302" y="1917182"/>
            <a:ext cx="1799531" cy="1799583"/>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a:lnSpc>
                <a:spcPct val="120000"/>
              </a:lnSpc>
              <a:spcBef>
                <a:spcPct val="50000"/>
              </a:spcBef>
              <a:spcAft>
                <a:spcPct val="0"/>
              </a:spcAft>
              <a:buFontTx/>
              <a:buNone/>
            </a:pPr>
            <a:r>
              <a:rPr lang="de-DE" sz="1200" b="1" dirty="0">
                <a:solidFill>
                  <a:srgbClr val="004B74"/>
                </a:solidFill>
                <a:latin typeface="+mj-lt"/>
                <a:ea typeface="Calibri" charset="0"/>
                <a:cs typeface="Calibri" charset="0"/>
              </a:rPr>
              <a:t>München</a:t>
            </a:r>
          </a:p>
          <a:p>
            <a:pPr>
              <a:lnSpc>
                <a:spcPct val="120000"/>
              </a:lnSpc>
              <a:spcBef>
                <a:spcPct val="50000"/>
              </a:spcBef>
              <a:spcAft>
                <a:spcPct val="0"/>
              </a:spcAft>
              <a:buFontTx/>
              <a:buNone/>
            </a:pPr>
            <a:r>
              <a:rPr lang="de-DE" sz="1000" dirty="0">
                <a:solidFill>
                  <a:schemeClr val="tx1"/>
                </a:solidFill>
                <a:latin typeface="+mj-lt"/>
                <a:ea typeface="Calibri" charset="0"/>
                <a:cs typeface="Calibri" charset="0"/>
              </a:rPr>
              <a:t>Brienner Straße 9</a:t>
            </a:r>
            <a:br>
              <a:rPr lang="de-DE" sz="1000" dirty="0">
                <a:solidFill>
                  <a:schemeClr val="tx1"/>
                </a:solidFill>
                <a:latin typeface="+mj-lt"/>
                <a:ea typeface="Calibri" charset="0"/>
                <a:cs typeface="Calibri" charset="0"/>
              </a:rPr>
            </a:br>
            <a:r>
              <a:rPr lang="de-DE" sz="1000" dirty="0">
                <a:solidFill>
                  <a:schemeClr val="tx1"/>
                </a:solidFill>
                <a:latin typeface="+mj-lt"/>
                <a:ea typeface="Calibri" charset="0"/>
                <a:cs typeface="Calibri" charset="0"/>
              </a:rPr>
              <a:t>80333 München</a:t>
            </a:r>
            <a:br>
              <a:rPr lang="de-DE" sz="1000" dirty="0">
                <a:solidFill>
                  <a:schemeClr val="tx1"/>
                </a:solidFill>
                <a:latin typeface="+mj-lt"/>
                <a:ea typeface="Calibri" charset="0"/>
                <a:cs typeface="Calibri" charset="0"/>
              </a:rPr>
            </a:br>
            <a:r>
              <a:rPr lang="de-DE" sz="1000" dirty="0">
                <a:solidFill>
                  <a:schemeClr val="tx1"/>
                </a:solidFill>
                <a:latin typeface="+mj-lt"/>
                <a:ea typeface="Calibri" charset="0"/>
                <a:cs typeface="Calibri" charset="0"/>
                <a:sym typeface="Symbol" charset="2"/>
              </a:rPr>
              <a:t>T +49 89/80 00 16-0</a:t>
            </a:r>
            <a:br>
              <a:rPr lang="de-DE" sz="1000" dirty="0">
                <a:solidFill>
                  <a:schemeClr val="tx1"/>
                </a:solidFill>
                <a:latin typeface="+mj-lt"/>
                <a:ea typeface="Calibri" charset="0"/>
                <a:cs typeface="Calibri" charset="0"/>
                <a:sym typeface="Symbol" charset="2"/>
              </a:rPr>
            </a:br>
            <a:r>
              <a:rPr lang="de-DE" sz="1000" dirty="0">
                <a:solidFill>
                  <a:schemeClr val="tx1"/>
                </a:solidFill>
                <a:latin typeface="+mj-lt"/>
                <a:ea typeface="Calibri" charset="0"/>
                <a:cs typeface="Calibri" charset="0"/>
                <a:sym typeface="Symbol" charset="2"/>
              </a:rPr>
              <a:t>F +49 89/80 00 16-899 </a:t>
            </a:r>
            <a:br>
              <a:rPr lang="de-DE" sz="1000" dirty="0">
                <a:solidFill>
                  <a:schemeClr val="tx1"/>
                </a:solidFill>
                <a:latin typeface="+mj-lt"/>
                <a:ea typeface="Calibri" charset="0"/>
                <a:cs typeface="Calibri" charset="0"/>
                <a:sym typeface="Symbol" charset="2"/>
              </a:rPr>
            </a:br>
            <a:r>
              <a:rPr lang="de-DE" sz="1000" dirty="0">
                <a:solidFill>
                  <a:schemeClr val="tx1"/>
                </a:solidFill>
                <a:latin typeface="+mj-lt"/>
                <a:ea typeface="Calibri" charset="0"/>
                <a:cs typeface="Calibri" charset="0"/>
                <a:sym typeface="Symbol" charset="2"/>
              </a:rPr>
              <a:t>muenchen@fgs.de</a:t>
            </a:r>
            <a:endParaRPr lang="de-DE" sz="1000" dirty="0">
              <a:solidFill>
                <a:schemeClr val="tx1"/>
              </a:solidFill>
              <a:latin typeface="+mj-lt"/>
              <a:ea typeface="Calibri" charset="0"/>
              <a:cs typeface="Calibri" charset="0"/>
            </a:endParaRPr>
          </a:p>
        </p:txBody>
      </p:sp>
      <p:sp>
        <p:nvSpPr>
          <p:cNvPr id="10" name="Text Box 2"/>
          <p:cNvSpPr txBox="1">
            <a:spLocks noChangeAspect="1" noChangeArrowheads="1"/>
          </p:cNvSpPr>
          <p:nvPr userDrawn="1"/>
        </p:nvSpPr>
        <p:spPr bwMode="auto">
          <a:xfrm>
            <a:off x="696806" y="3573183"/>
            <a:ext cx="1799531" cy="1799583"/>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a:lnSpc>
                <a:spcPct val="120000"/>
              </a:lnSpc>
              <a:spcBef>
                <a:spcPct val="50000"/>
              </a:spcBef>
              <a:spcAft>
                <a:spcPct val="0"/>
              </a:spcAft>
              <a:buFontTx/>
              <a:buNone/>
            </a:pPr>
            <a:r>
              <a:rPr kumimoji="0" lang="de-DE" sz="1200" b="1" i="0" u="none" strike="noStrike" kern="1200" cap="none" spc="0" normalizeH="0" baseline="0" dirty="0">
                <a:ln>
                  <a:noFill/>
                </a:ln>
                <a:solidFill>
                  <a:srgbClr val="004B74"/>
                </a:solidFill>
                <a:effectLst/>
                <a:uLnTx/>
                <a:uFillTx/>
                <a:latin typeface="Cambria" charset="0"/>
                <a:ea typeface="Cambria" charset="0"/>
                <a:cs typeface="Cambria" charset="0"/>
              </a:rPr>
              <a:t>Düsseldorf</a:t>
            </a:r>
          </a:p>
          <a:p>
            <a:pPr>
              <a:lnSpc>
                <a:spcPct val="120000"/>
              </a:lnSpc>
              <a:spcBef>
                <a:spcPct val="50000"/>
              </a:spcBef>
              <a:spcAft>
                <a:spcPct val="0"/>
              </a:spcAft>
              <a:buFontTx/>
              <a:buNone/>
            </a:pPr>
            <a: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rPr>
              <a:t>Benrather Straße 31</a:t>
            </a:r>
            <a:b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rPr>
            </a:br>
            <a: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rPr>
              <a:t>40213 Düsseldorf</a:t>
            </a:r>
            <a:b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rPr>
            </a:br>
            <a: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sym typeface="Symbol" charset="2"/>
              </a:rPr>
              <a:t>T +49 211/6 18 22-0</a:t>
            </a:r>
            <a:b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sym typeface="Symbol" charset="2"/>
              </a:rPr>
            </a:br>
            <a: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sym typeface="Symbol" charset="2"/>
              </a:rPr>
              <a:t>F +49 211/6 18 22-100</a:t>
            </a:r>
            <a:b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sym typeface="Symbol" charset="2"/>
              </a:rPr>
            </a:br>
            <a:r>
              <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sym typeface="Symbol" charset="2"/>
              </a:rPr>
              <a:t>duesseldorf@fgs.de</a:t>
            </a:r>
            <a:endParaRPr kumimoji="0" lang="de-DE" sz="1000" b="0" i="0" u="none" strike="noStrike" kern="1200" cap="none" spc="0" normalizeH="0" baseline="0" dirty="0">
              <a:ln>
                <a:noFill/>
              </a:ln>
              <a:solidFill>
                <a:schemeClr val="tx1"/>
              </a:solidFill>
              <a:effectLst/>
              <a:uLnTx/>
              <a:uFillTx/>
              <a:latin typeface="Cambria" charset="0"/>
              <a:ea typeface="Cambria" charset="0"/>
              <a:cs typeface="Cambria" charset="0"/>
            </a:endParaRPr>
          </a:p>
        </p:txBody>
      </p:sp>
      <p:sp>
        <p:nvSpPr>
          <p:cNvPr id="11" name="Text Box 10"/>
          <p:cNvSpPr txBox="1">
            <a:spLocks noChangeAspect="1" noChangeArrowheads="1"/>
          </p:cNvSpPr>
          <p:nvPr userDrawn="1"/>
        </p:nvSpPr>
        <p:spPr bwMode="auto">
          <a:xfrm>
            <a:off x="9419123" y="1917182"/>
            <a:ext cx="1799531" cy="1799583"/>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marL="0" marR="0" lvl="0" indent="0" algn="l" defTabSz="685594" rtl="0" eaLnBrk="0" fontAlgn="base" latinLnBrk="0" hangingPunct="0">
              <a:lnSpc>
                <a:spcPct val="120000"/>
              </a:lnSpc>
              <a:spcBef>
                <a:spcPct val="50000"/>
              </a:spcBef>
              <a:spcAft>
                <a:spcPct val="0"/>
              </a:spcAft>
              <a:buClrTx/>
              <a:buSzTx/>
              <a:buFontTx/>
              <a:buNone/>
              <a:tabLst/>
              <a:defRPr/>
            </a:pPr>
            <a:r>
              <a:rPr kumimoji="0" lang="de-DE" sz="1200" b="1" i="0" u="none" strike="noStrike" kern="1200" cap="none" spc="0" normalizeH="0" baseline="0" noProof="0" dirty="0">
                <a:ln>
                  <a:noFill/>
                </a:ln>
                <a:solidFill>
                  <a:srgbClr val="004B74"/>
                </a:solidFill>
                <a:effectLst/>
                <a:uLnTx/>
                <a:uFillTx/>
                <a:latin typeface="+mj-lt"/>
                <a:ea typeface="Calibri" charset="0"/>
                <a:cs typeface="Calibri" charset="0"/>
              </a:rPr>
              <a:t>Hamburg</a:t>
            </a:r>
          </a:p>
          <a:p>
            <a:pPr marL="0" marR="0" lvl="0" indent="0" algn="l" defTabSz="685594" rtl="0" eaLnBrk="0" fontAlgn="base" latinLnBrk="0" hangingPunct="0">
              <a:lnSpc>
                <a:spcPct val="120000"/>
              </a:lnSpc>
              <a:spcBef>
                <a:spcPct val="50000"/>
              </a:spcBef>
              <a:spcAft>
                <a:spcPct val="0"/>
              </a:spcAft>
              <a:buClrTx/>
              <a:buSzTx/>
              <a:buFontTx/>
              <a:buNone/>
              <a:tabLst>
                <a:tab pos="2002030" algn="l"/>
                <a:tab pos="4068335" algn="l"/>
              </a:tabLst>
              <a:defRPr/>
            </a:pPr>
            <a: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t>Hohe Bleichen 12</a:t>
            </a:r>
            <a:b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br>
            <a: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t>20354 Hamburg</a:t>
            </a:r>
            <a:b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br>
            <a: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t>T +49 40/30 70 85-0</a:t>
            </a:r>
            <a:b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br>
            <a: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t>F +49 40/30 70 85-100</a:t>
            </a:r>
            <a:b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br>
            <a:r>
              <a:rPr kumimoji="0" lang="de-DE" sz="1000" b="0" i="0" u="none" strike="noStrike" kern="1200" cap="none" spc="0" normalizeH="0" baseline="0" noProof="0" dirty="0">
                <a:ln>
                  <a:noFill/>
                </a:ln>
                <a:solidFill>
                  <a:schemeClr val="tx1"/>
                </a:solidFill>
                <a:effectLst/>
                <a:uLnTx/>
                <a:uFillTx/>
                <a:latin typeface="+mj-lt"/>
                <a:ea typeface="Calibri" charset="0"/>
                <a:cs typeface="Calibri" charset="0"/>
              </a:rPr>
              <a:t>hamburg@fgs.de</a:t>
            </a:r>
          </a:p>
        </p:txBody>
      </p:sp>
      <p:sp>
        <p:nvSpPr>
          <p:cNvPr id="15" name="Titel 1"/>
          <p:cNvSpPr>
            <a:spLocks noGrp="1"/>
          </p:cNvSpPr>
          <p:nvPr>
            <p:ph type="title" hasCustomPrompt="1"/>
          </p:nvPr>
        </p:nvSpPr>
        <p:spPr>
          <a:xfrm>
            <a:off x="696805" y="1197269"/>
            <a:ext cx="10077376" cy="369246"/>
          </a:xfrm>
        </p:spPr>
        <p:txBody>
          <a:bodyPr/>
          <a:lstStyle/>
          <a:p>
            <a:r>
              <a:rPr lang="de-DE" dirty="0"/>
              <a:t>Unsere Standorte</a:t>
            </a:r>
          </a:p>
        </p:txBody>
      </p:sp>
      <p:sp>
        <p:nvSpPr>
          <p:cNvPr id="17" name="Text Box 4">
            <a:extLst>
              <a:ext uri="{FF2B5EF4-FFF2-40B4-BE49-F238E27FC236}">
                <a16:creationId xmlns:a16="http://schemas.microsoft.com/office/drawing/2014/main" id="{F538D6EE-66DA-1249-B262-58C7998EA478}"/>
              </a:ext>
            </a:extLst>
          </p:cNvPr>
          <p:cNvSpPr txBox="1">
            <a:spLocks noChangeAspect="1" noChangeArrowheads="1"/>
          </p:cNvSpPr>
          <p:nvPr userDrawn="1"/>
        </p:nvSpPr>
        <p:spPr bwMode="auto">
          <a:xfrm>
            <a:off x="5088151" y="3500967"/>
            <a:ext cx="1799756" cy="1799808"/>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1799" dirty="0">
                <a:solidFill>
                  <a:srgbClr val="B0946F"/>
                </a:solidFill>
                <a:latin typeface="+mj-lt"/>
                <a:ea typeface="Calibri" charset="0"/>
                <a:cs typeface="Calibri" charset="0"/>
              </a:rPr>
              <a:t>fgs.de</a:t>
            </a:r>
          </a:p>
        </p:txBody>
      </p:sp>
      <p:sp>
        <p:nvSpPr>
          <p:cNvPr id="19" name="Text Box 2">
            <a:extLst>
              <a:ext uri="{FF2B5EF4-FFF2-40B4-BE49-F238E27FC236}">
                <a16:creationId xmlns:a16="http://schemas.microsoft.com/office/drawing/2014/main" id="{CD183B01-F4D5-054B-BA0F-3BF5965925FC}"/>
              </a:ext>
            </a:extLst>
          </p:cNvPr>
          <p:cNvSpPr txBox="1">
            <a:spLocks noChangeAspect="1" noChangeArrowheads="1"/>
          </p:cNvSpPr>
          <p:nvPr userDrawn="1"/>
        </p:nvSpPr>
        <p:spPr bwMode="auto">
          <a:xfrm>
            <a:off x="2928176" y="3572636"/>
            <a:ext cx="1799756" cy="1799808"/>
          </a:xfrm>
          <a:prstGeom prst="rect">
            <a:avLst/>
          </a:prstGeom>
          <a:noFill/>
          <a:ln>
            <a:noFill/>
          </a:ln>
        </p:spPr>
        <p:txBody>
          <a:bodyPr lIns="0" tIns="0" rIns="0" bIns="0"/>
          <a:lstStyle>
            <a:lvl1pPr>
              <a:tabLst>
                <a:tab pos="2670175" algn="l"/>
                <a:tab pos="5426075" algn="l"/>
              </a:tabLst>
              <a:defRPr sz="2000">
                <a:solidFill>
                  <a:schemeClr val="tx1"/>
                </a:solidFill>
                <a:latin typeface="Times New Roman" pitchFamily="-1" charset="0"/>
                <a:ea typeface="ＭＳ Ｐゴシック" pitchFamily="-1" charset="-128"/>
              </a:defRPr>
            </a:lvl1pPr>
            <a:lvl2pPr marL="742950" indent="-285750">
              <a:tabLst>
                <a:tab pos="2670175" algn="l"/>
                <a:tab pos="5426075" algn="l"/>
              </a:tabLst>
              <a:defRPr sz="2000">
                <a:solidFill>
                  <a:schemeClr val="tx1"/>
                </a:solidFill>
                <a:latin typeface="Times New Roman" pitchFamily="-1" charset="0"/>
                <a:ea typeface="ＭＳ Ｐゴシック" pitchFamily="-1" charset="-128"/>
              </a:defRPr>
            </a:lvl2pPr>
            <a:lvl3pPr marL="1143000" indent="-228600">
              <a:tabLst>
                <a:tab pos="2670175" algn="l"/>
                <a:tab pos="5426075" algn="l"/>
              </a:tabLst>
              <a:defRPr sz="2000">
                <a:solidFill>
                  <a:schemeClr val="tx1"/>
                </a:solidFill>
                <a:latin typeface="Times New Roman" pitchFamily="-1" charset="0"/>
                <a:ea typeface="ＭＳ Ｐゴシック" pitchFamily="-1" charset="-128"/>
              </a:defRPr>
            </a:lvl3pPr>
            <a:lvl4pPr marL="1600200" indent="-228600">
              <a:tabLst>
                <a:tab pos="2670175" algn="l"/>
                <a:tab pos="5426075" algn="l"/>
              </a:tabLst>
              <a:defRPr sz="2000">
                <a:solidFill>
                  <a:schemeClr val="tx1"/>
                </a:solidFill>
                <a:latin typeface="Times New Roman" pitchFamily="-1" charset="0"/>
                <a:ea typeface="ＭＳ Ｐゴシック" pitchFamily="-1" charset="-128"/>
              </a:defRPr>
            </a:lvl4pPr>
            <a:lvl5pPr marL="2057400" indent="-228600">
              <a:tabLst>
                <a:tab pos="2670175" algn="l"/>
                <a:tab pos="5426075" algn="l"/>
              </a:tabLst>
              <a:defRPr sz="2000">
                <a:solidFill>
                  <a:schemeClr val="tx1"/>
                </a:solidFill>
                <a:latin typeface="Times New Roman" pitchFamily="-1" charset="0"/>
                <a:ea typeface="ＭＳ Ｐゴシック" pitchFamily="-1" charset="-128"/>
              </a:defRPr>
            </a:lvl5pPr>
            <a:lvl6pPr marL="25146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6pPr>
            <a:lvl7pPr marL="29718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7pPr>
            <a:lvl8pPr marL="34290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8pPr>
            <a:lvl9pPr marL="3886200" indent="-228600" eaLnBrk="0" fontAlgn="base" hangingPunct="0">
              <a:spcBef>
                <a:spcPct val="0"/>
              </a:spcBef>
              <a:spcAft>
                <a:spcPct val="100000"/>
              </a:spcAft>
              <a:buChar char="•"/>
              <a:tabLst>
                <a:tab pos="2670175" algn="l"/>
                <a:tab pos="5426075" algn="l"/>
              </a:tabLst>
              <a:defRPr sz="2000">
                <a:solidFill>
                  <a:schemeClr val="tx1"/>
                </a:solidFill>
                <a:latin typeface="Times New Roman" pitchFamily="-1" charset="0"/>
                <a:ea typeface="ＭＳ Ｐゴシック" pitchFamily="-1" charset="-128"/>
              </a:defRPr>
            </a:lvl9pPr>
          </a:lstStyle>
          <a:p>
            <a:pPr defTabSz="1088449" fontAlgn="auto">
              <a:lnSpc>
                <a:spcPct val="120000"/>
              </a:lnSpc>
              <a:spcBef>
                <a:spcPct val="50000"/>
              </a:spcBef>
              <a:defRPr/>
            </a:pPr>
            <a:r>
              <a:rPr lang="de-DE" sz="1200" b="1" dirty="0">
                <a:solidFill>
                  <a:srgbClr val="004B74"/>
                </a:solidFill>
                <a:latin typeface="Cambria" charset="0"/>
                <a:ea typeface="Cambria" charset="0"/>
                <a:cs typeface="Cambria" charset="0"/>
              </a:rPr>
              <a:t>Stuttgart</a:t>
            </a:r>
          </a:p>
          <a:p>
            <a:pPr defTabSz="1088449" fontAlgn="auto">
              <a:lnSpc>
                <a:spcPct val="120000"/>
              </a:lnSpc>
              <a:spcBef>
                <a:spcPct val="50000"/>
              </a:spcBef>
              <a:defRPr/>
            </a:pPr>
            <a:r>
              <a:rPr lang="de-DE" sz="1000" dirty="0">
                <a:latin typeface="+mj-lt"/>
                <a:ea typeface="Calibri" charset="0"/>
                <a:cs typeface="Calibri" charset="0"/>
              </a:rPr>
              <a:t>Paulinenstraße 41</a:t>
            </a:r>
          </a:p>
          <a:p>
            <a:pPr defTabSz="1088449" fontAlgn="auto">
              <a:lnSpc>
                <a:spcPct val="120000"/>
              </a:lnSpc>
              <a:spcBef>
                <a:spcPts val="0"/>
              </a:spcBef>
              <a:defRPr/>
            </a:pPr>
            <a:r>
              <a:rPr lang="de-DE" sz="1000" dirty="0">
                <a:latin typeface="+mj-lt"/>
                <a:ea typeface="Calibri" charset="0"/>
                <a:cs typeface="Calibri" charset="0"/>
              </a:rPr>
              <a:t>70178 Stuttgart</a:t>
            </a:r>
          </a:p>
          <a:p>
            <a:pPr defTabSz="1088449" fontAlgn="auto">
              <a:lnSpc>
                <a:spcPct val="120000"/>
              </a:lnSpc>
              <a:spcBef>
                <a:spcPts val="0"/>
              </a:spcBef>
              <a:defRPr/>
            </a:pPr>
            <a:r>
              <a:rPr lang="de-DE" sz="1000" dirty="0">
                <a:latin typeface="+mj-lt"/>
                <a:ea typeface="Calibri" charset="0"/>
                <a:cs typeface="Calibri" charset="0"/>
              </a:rPr>
              <a:t>T +49 711/69 94 6-0</a:t>
            </a:r>
          </a:p>
          <a:p>
            <a:pPr defTabSz="1088449" fontAlgn="auto">
              <a:lnSpc>
                <a:spcPct val="120000"/>
              </a:lnSpc>
              <a:spcBef>
                <a:spcPts val="0"/>
              </a:spcBef>
              <a:defRPr/>
            </a:pPr>
            <a:r>
              <a:rPr lang="de-DE" sz="1000" dirty="0">
                <a:latin typeface="+mj-lt"/>
                <a:ea typeface="Calibri" charset="0"/>
                <a:cs typeface="Calibri" charset="0"/>
              </a:rPr>
              <a:t>F +49 711/69 94 6-100 </a:t>
            </a:r>
            <a:br>
              <a:rPr lang="de-DE" sz="1000" dirty="0">
                <a:latin typeface="+mj-lt"/>
                <a:ea typeface="Calibri" charset="0"/>
                <a:cs typeface="Calibri" charset="0"/>
              </a:rPr>
            </a:br>
            <a:r>
              <a:rPr lang="de-DE" sz="1000" dirty="0">
                <a:latin typeface="+mj-lt"/>
                <a:ea typeface="Calibri" charset="0"/>
                <a:cs typeface="Calibri" charset="0"/>
              </a:rPr>
              <a:t>stuttgart@fgs.de</a:t>
            </a:r>
          </a:p>
        </p:txBody>
      </p:sp>
    </p:spTree>
    <p:extLst>
      <p:ext uri="{BB962C8B-B14F-4D97-AF65-F5344CB8AC3E}">
        <p14:creationId xmlns:p14="http://schemas.microsoft.com/office/powerpoint/2010/main" val="28276675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bschlussfolie">
    <p:bg>
      <p:bgPr>
        <a:solidFill>
          <a:schemeClr val="bg1"/>
        </a:solidFill>
        <a:effectLst/>
      </p:bgPr>
    </p:bg>
    <p:spTree>
      <p:nvGrpSpPr>
        <p:cNvPr id="1" name=""/>
        <p:cNvGrpSpPr/>
        <p:nvPr/>
      </p:nvGrpSpPr>
      <p:grpSpPr>
        <a:xfrm>
          <a:off x="0" y="0"/>
          <a:ext cx="0" cy="0"/>
          <a:chOff x="0" y="0"/>
          <a:chExt cx="0" cy="0"/>
        </a:xfrm>
      </p:grpSpPr>
      <p:pic>
        <p:nvPicPr>
          <p:cNvPr id="24578" name="Picture 2" descr="S:\Kunden\SilkeHaars\Zubehoer\FGS.pn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5195328" y="5478791"/>
            <a:ext cx="1801343" cy="599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5536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_white">
    <p:bg>
      <p:bgPr>
        <a:solidFill>
          <a:schemeClr val="bg1"/>
        </a:solidFill>
        <a:effectLst/>
      </p:bgPr>
    </p:bg>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8C4A71A8-F8AA-4933-8144-A2D9E6308D83}"/>
              </a:ext>
            </a:extLst>
          </p:cNvPr>
          <p:cNvSpPr>
            <a:spLocks noGrp="1"/>
          </p:cNvSpPr>
          <p:nvPr>
            <p:ph type="dt" sz="half" idx="10"/>
            <p:custDataLst>
              <p:tags r:id="rId1"/>
            </p:custDataLst>
          </p:nvPr>
        </p:nvSpPr>
        <p:spPr/>
        <p:txBody>
          <a:bodyPr/>
          <a:lstStyle>
            <a:lvl1pPr>
              <a:defRPr lang="en-GB" dirty="0"/>
            </a:lvl1pPr>
          </a:lstStyle>
          <a:p>
            <a:endParaRPr lang="de-AT"/>
          </a:p>
        </p:txBody>
      </p:sp>
      <p:sp>
        <p:nvSpPr>
          <p:cNvPr id="7" name="Foliennummernplatzhalter 6">
            <a:extLst>
              <a:ext uri="{FF2B5EF4-FFF2-40B4-BE49-F238E27FC236}">
                <a16:creationId xmlns:a16="http://schemas.microsoft.com/office/drawing/2014/main" id="{96C8D37D-C1A0-4155-B14D-9BCEEB518ED7}"/>
              </a:ext>
            </a:extLst>
          </p:cNvPr>
          <p:cNvSpPr>
            <a:spLocks noGrp="1"/>
          </p:cNvSpPr>
          <p:nvPr>
            <p:ph type="sldNum" sz="quarter" idx="12"/>
            <p:custDataLst>
              <p:tags r:id="rId2"/>
            </p:custDataLst>
          </p:nvPr>
        </p:nvSpPr>
        <p:spPr/>
        <p:txBody>
          <a:bodyPr/>
          <a:lstStyle/>
          <a:p>
            <a:fld id="{B459E51B-A277-4897-9DDF-ABA4750400EB}" type="slidenum">
              <a:rPr lang="en-GB" smtClean="0"/>
              <a:t>‹Nr.›</a:t>
            </a:fld>
            <a:endParaRPr lang="en-GB" dirty="0"/>
          </a:p>
        </p:txBody>
      </p:sp>
      <p:sp>
        <p:nvSpPr>
          <p:cNvPr id="13" name="Content Placeholder 12">
            <a:extLst>
              <a:ext uri="{FF2B5EF4-FFF2-40B4-BE49-F238E27FC236}">
                <a16:creationId xmlns:a16="http://schemas.microsoft.com/office/drawing/2014/main" id="{ED4B01F3-2C3A-440A-9CEC-510218595269}"/>
              </a:ext>
            </a:extLst>
          </p:cNvPr>
          <p:cNvSpPr>
            <a:spLocks noGrp="1"/>
          </p:cNvSpPr>
          <p:nvPr>
            <p:ph sz="quarter" idx="13"/>
            <p:custDataLst>
              <p:tags r:id="rId3"/>
            </p:custDataLst>
          </p:nvPr>
        </p:nvSpPr>
        <p:spPr>
          <a:xfrm>
            <a:off x="461640" y="1592263"/>
            <a:ext cx="4689475" cy="412273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2">
            <a:extLst>
              <a:ext uri="{FF2B5EF4-FFF2-40B4-BE49-F238E27FC236}">
                <a16:creationId xmlns:a16="http://schemas.microsoft.com/office/drawing/2014/main" id="{3B91485E-E399-45F5-A788-5D68D9961386}"/>
              </a:ext>
            </a:extLst>
          </p:cNvPr>
          <p:cNvSpPr>
            <a:spLocks noGrp="1"/>
          </p:cNvSpPr>
          <p:nvPr>
            <p:ph sz="quarter" idx="14"/>
            <p:custDataLst>
              <p:tags r:id="rId4"/>
            </p:custDataLst>
          </p:nvPr>
        </p:nvSpPr>
        <p:spPr>
          <a:xfrm>
            <a:off x="6096001" y="1592263"/>
            <a:ext cx="4213225" cy="412273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9">
            <a:extLst>
              <a:ext uri="{FF2B5EF4-FFF2-40B4-BE49-F238E27FC236}">
                <a16:creationId xmlns:a16="http://schemas.microsoft.com/office/drawing/2014/main" id="{DD82BC42-3FCE-4090-B760-89C8A096F339}"/>
              </a:ext>
            </a:extLst>
          </p:cNvPr>
          <p:cNvSpPr>
            <a:spLocks noGrp="1"/>
          </p:cNvSpPr>
          <p:nvPr>
            <p:ph type="body" sz="quarter" idx="15" hasCustomPrompt="1"/>
            <p:custDataLst>
              <p:tags r:id="rId5"/>
            </p:custDataLst>
          </p:nvPr>
        </p:nvSpPr>
        <p:spPr>
          <a:xfrm>
            <a:off x="461640" y="895350"/>
            <a:ext cx="9853611" cy="400050"/>
          </a:xfrm>
        </p:spPr>
        <p:txBody>
          <a:bodyPr>
            <a:noAutofit/>
          </a:bodyPr>
          <a:lstStyle>
            <a:lvl1pPr marL="0" indent="0">
              <a:buNone/>
              <a:defRPr sz="2000">
                <a:latin typeface="Georgia" panose="02040502050405020303" pitchFamily="18" charset="0"/>
              </a:defRPr>
            </a:lvl1pPr>
            <a:lvl2pPr marL="266693" indent="0">
              <a:buFont typeface="Arial" panose="020B0604020202020204" pitchFamily="34" charset="0"/>
              <a:buNone/>
              <a:defRPr sz="2400">
                <a:latin typeface="Georgia" panose="02040502050405020303" pitchFamily="18" charset="0"/>
              </a:defRPr>
            </a:lvl2pPr>
            <a:lvl3pPr marL="541325" indent="0">
              <a:buFont typeface="Arial" panose="020B0604020202020204" pitchFamily="34" charset="0"/>
              <a:buNone/>
              <a:defRPr sz="2400">
                <a:latin typeface="Georgia" panose="02040502050405020303" pitchFamily="18" charset="0"/>
              </a:defRPr>
            </a:lvl3pPr>
            <a:lvl4pPr marL="808018" indent="0">
              <a:buFont typeface="Arial" panose="020B0604020202020204" pitchFamily="34" charset="0"/>
              <a:buNone/>
              <a:defRPr sz="2400">
                <a:latin typeface="Georgia" panose="02040502050405020303" pitchFamily="18" charset="0"/>
              </a:defRPr>
            </a:lvl4pPr>
            <a:lvl5pPr marL="1074710" indent="0">
              <a:buFont typeface="Arial" panose="020B0604020202020204" pitchFamily="34" charset="0"/>
              <a:buNone/>
              <a:defRPr sz="2400">
                <a:latin typeface="Georgia" panose="02040502050405020303" pitchFamily="18" charset="0"/>
              </a:defRPr>
            </a:lvl5pPr>
          </a:lstStyle>
          <a:p>
            <a:pPr lvl="0"/>
            <a:r>
              <a:rPr lang="en-GB" dirty="0"/>
              <a:t>Subtitle (optional)</a:t>
            </a:r>
          </a:p>
        </p:txBody>
      </p:sp>
      <p:sp>
        <p:nvSpPr>
          <p:cNvPr id="3" name="Title 2">
            <a:extLst>
              <a:ext uri="{FF2B5EF4-FFF2-40B4-BE49-F238E27FC236}">
                <a16:creationId xmlns:a16="http://schemas.microsoft.com/office/drawing/2014/main" id="{5AF03B26-5888-4A66-80ED-85DA3CDC3919}"/>
              </a:ext>
            </a:extLst>
          </p:cNvPr>
          <p:cNvSpPr>
            <a:spLocks noGrp="1"/>
          </p:cNvSpPr>
          <p:nvPr>
            <p:ph type="title"/>
            <p:custDataLst>
              <p:tags r:id="rId6"/>
            </p:custDataLst>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20044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95410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el und 2x Inhalte">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de-DE" dirty="0"/>
              <a:t>Titel durch Klicken hinzufügen</a:t>
            </a:r>
          </a:p>
        </p:txBody>
      </p:sp>
      <p:sp>
        <p:nvSpPr>
          <p:cNvPr id="8" name="Inhaltsplatzhalter 7"/>
          <p:cNvSpPr>
            <a:spLocks noGrp="1"/>
          </p:cNvSpPr>
          <p:nvPr>
            <p:ph sz="quarter" idx="14"/>
          </p:nvPr>
        </p:nvSpPr>
        <p:spPr>
          <a:xfrm>
            <a:off x="696732" y="2421122"/>
            <a:ext cx="4103461" cy="3743069"/>
          </a:xfrm>
        </p:spPr>
        <p:txBody>
          <a:bodyPr/>
          <a:lstStyle>
            <a:lvl1pPr marL="0" indent="90461">
              <a:defRPr sz="1600"/>
            </a:lvl1pPr>
            <a:lvl2pPr marL="271382" indent="-180921">
              <a:defRPr sz="1400"/>
            </a:lvl2pPr>
          </a:lstStyle>
          <a:p>
            <a:pPr lvl="0"/>
            <a:r>
              <a:rPr lang="de-DE" dirty="0"/>
              <a:t>Mastertextformat bearbeiten</a:t>
            </a:r>
          </a:p>
          <a:p>
            <a:pPr lvl="1"/>
            <a:r>
              <a:rPr lang="de-DE" dirty="0"/>
              <a:t>Zweite Ebene</a:t>
            </a:r>
          </a:p>
        </p:txBody>
      </p:sp>
      <p:sp>
        <p:nvSpPr>
          <p:cNvPr id="7" name="Inhaltsplatzhalter 7"/>
          <p:cNvSpPr>
            <a:spLocks noGrp="1"/>
          </p:cNvSpPr>
          <p:nvPr>
            <p:ph sz="quarter" idx="15"/>
          </p:nvPr>
        </p:nvSpPr>
        <p:spPr>
          <a:xfrm>
            <a:off x="6455946" y="2349130"/>
            <a:ext cx="4286088" cy="3815061"/>
          </a:xfrm>
        </p:spPr>
        <p:txBody>
          <a:bodyPr/>
          <a:lstStyle>
            <a:lvl1pPr marL="90461" indent="0">
              <a:defRPr sz="1799"/>
            </a:lvl1pPr>
            <a:lvl2pPr marL="271382" indent="-180921">
              <a:defRPr sz="1600"/>
            </a:lvl2pPr>
          </a:lstStyle>
          <a:p>
            <a:pPr lvl="0"/>
            <a:r>
              <a:rPr lang="de-DE" dirty="0"/>
              <a:t>Mastertextformat bearbeiten</a:t>
            </a:r>
          </a:p>
          <a:p>
            <a:pPr lvl="1"/>
            <a:r>
              <a:rPr lang="de-DE" dirty="0"/>
              <a:t>Zweite Ebene</a:t>
            </a:r>
          </a:p>
        </p:txBody>
      </p:sp>
      <p:sp>
        <p:nvSpPr>
          <p:cNvPr id="2" name="Datumsplatzhalter 1"/>
          <p:cNvSpPr>
            <a:spLocks noGrp="1"/>
          </p:cNvSpPr>
          <p:nvPr>
            <p:ph type="dt" sz="half" idx="16"/>
          </p:nvPr>
        </p:nvSpPr>
        <p:spPr/>
        <p:txBody>
          <a:bodyPr/>
          <a:lstStyle/>
          <a:p>
            <a:fld id="{3DCBF974-CE65-43F0-94F5-8A26C5E8DB73}" type="datetime1">
              <a:rPr lang="de-DE" smtClean="0"/>
              <a:t>12.09.2022</a:t>
            </a:fld>
            <a:endParaRPr lang="de-DE" dirty="0"/>
          </a:p>
        </p:txBody>
      </p:sp>
      <p:sp>
        <p:nvSpPr>
          <p:cNvPr id="9" name="Fußzeilenplatzhalter 8"/>
          <p:cNvSpPr>
            <a:spLocks noGrp="1"/>
          </p:cNvSpPr>
          <p:nvPr>
            <p:ph type="ftr" sz="quarter" idx="17"/>
          </p:nvPr>
        </p:nvSpPr>
        <p:spPr/>
        <p:txBody>
          <a:bodyPr/>
          <a:lstStyle/>
          <a:p>
            <a:r>
              <a:rPr lang="de-DE"/>
              <a:t>M&amp;A Forum | Frankfurt, 10. Juni 2021</a:t>
            </a:r>
            <a:endParaRPr lang="de-DE" dirty="0"/>
          </a:p>
        </p:txBody>
      </p:sp>
      <p:sp>
        <p:nvSpPr>
          <p:cNvPr id="10" name="Foliennummernplatzhalter 9"/>
          <p:cNvSpPr>
            <a:spLocks noGrp="1"/>
          </p:cNvSpPr>
          <p:nvPr>
            <p:ph type="sldNum" sz="quarter" idx="18"/>
          </p:nvPr>
        </p:nvSpPr>
        <p:spPr/>
        <p:txBody>
          <a:bodyPr/>
          <a:lstStyle/>
          <a:p>
            <a:fld id="{761F7C54-956E-4035-96E5-E3754B49D8A7}" type="slidenum">
              <a:rPr lang="de-DE" smtClean="0"/>
              <a:pPr/>
              <a:t>‹Nr.›</a:t>
            </a:fld>
            <a:endParaRPr lang="de-DE" dirty="0"/>
          </a:p>
        </p:txBody>
      </p:sp>
      <p:sp>
        <p:nvSpPr>
          <p:cNvPr id="11" name="Textplatzhalter 10">
            <a:extLst>
              <a:ext uri="{FF2B5EF4-FFF2-40B4-BE49-F238E27FC236}">
                <a16:creationId xmlns:a16="http://schemas.microsoft.com/office/drawing/2014/main" id="{338F2DCB-5D25-43B6-A74B-2EF644A97CA7}"/>
              </a:ext>
            </a:extLst>
          </p:cNvPr>
          <p:cNvSpPr>
            <a:spLocks noGrp="1"/>
          </p:cNvSpPr>
          <p:nvPr>
            <p:ph type="body" sz="quarter" idx="19" hasCustomPrompt="1"/>
          </p:nvPr>
        </p:nvSpPr>
        <p:spPr>
          <a:xfrm>
            <a:off x="696732" y="1772827"/>
            <a:ext cx="4103461" cy="576129"/>
          </a:xfrm>
          <a:solidFill>
            <a:srgbClr val="004B74"/>
          </a:solidFill>
        </p:spPr>
        <p:txBody>
          <a:bodyPr anchor="ctr" anchorCtr="0"/>
          <a:lstStyle>
            <a:lvl1pPr marL="0" indent="90461">
              <a:defRPr sz="1799">
                <a:solidFill>
                  <a:schemeClr val="bg1"/>
                </a:solidFill>
              </a:defRPr>
            </a:lvl1pPr>
            <a:lvl2pPr marL="0" indent="0">
              <a:buNone/>
              <a:defRPr/>
            </a:lvl2pPr>
          </a:lstStyle>
          <a:p>
            <a:pPr lvl="0"/>
            <a:r>
              <a:rPr lang="de-DE" dirty="0"/>
              <a:t>Voraussetzungen (Beispieltext)</a:t>
            </a:r>
          </a:p>
        </p:txBody>
      </p:sp>
      <p:sp>
        <p:nvSpPr>
          <p:cNvPr id="13" name="Textplatzhalter 12">
            <a:extLst>
              <a:ext uri="{FF2B5EF4-FFF2-40B4-BE49-F238E27FC236}">
                <a16:creationId xmlns:a16="http://schemas.microsoft.com/office/drawing/2014/main" id="{214017D1-C6A1-4E18-A4B1-C5C994DFE24E}"/>
              </a:ext>
            </a:extLst>
          </p:cNvPr>
          <p:cNvSpPr>
            <a:spLocks noGrp="1"/>
          </p:cNvSpPr>
          <p:nvPr>
            <p:ph type="body" sz="quarter" idx="20" hasCustomPrompt="1"/>
          </p:nvPr>
        </p:nvSpPr>
        <p:spPr>
          <a:xfrm>
            <a:off x="6454629" y="1772828"/>
            <a:ext cx="4320104" cy="504708"/>
          </a:xfrm>
          <a:solidFill>
            <a:srgbClr val="004B74"/>
          </a:solidFill>
        </p:spPr>
        <p:txBody>
          <a:bodyPr anchor="ctr" anchorCtr="0"/>
          <a:lstStyle>
            <a:lvl1pPr marL="90461" indent="0">
              <a:defRPr>
                <a:solidFill>
                  <a:schemeClr val="bg1"/>
                </a:solidFill>
              </a:defRPr>
            </a:lvl1pPr>
            <a:lvl2pPr marL="0" indent="0">
              <a:buNone/>
              <a:defRPr/>
            </a:lvl2pPr>
          </a:lstStyle>
          <a:p>
            <a:pPr lvl="0"/>
            <a:r>
              <a:rPr lang="de-DE" dirty="0"/>
              <a:t>Erläuterungen (Beispieltext)</a:t>
            </a:r>
          </a:p>
        </p:txBody>
      </p:sp>
    </p:spTree>
    <p:extLst>
      <p:ext uri="{BB962C8B-B14F-4D97-AF65-F5344CB8AC3E}">
        <p14:creationId xmlns:p14="http://schemas.microsoft.com/office/powerpoint/2010/main" val="41418069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lvl1pPr>
              <a:defRPr baseline="0"/>
            </a:lvl1pPr>
          </a:lstStyle>
          <a:p>
            <a:r>
              <a:rPr lang="de-DE" dirty="0"/>
              <a:t>Titel durch Klicken hinzufügen</a:t>
            </a:r>
          </a:p>
        </p:txBody>
      </p:sp>
      <p:sp>
        <p:nvSpPr>
          <p:cNvPr id="8" name="Inhaltsplatzhalter 7"/>
          <p:cNvSpPr>
            <a:spLocks noGrp="1"/>
          </p:cNvSpPr>
          <p:nvPr>
            <p:ph sz="quarter" idx="14"/>
          </p:nvPr>
        </p:nvSpPr>
        <p:spPr>
          <a:xfrm>
            <a:off x="696731" y="1845191"/>
            <a:ext cx="10077376" cy="4319000"/>
          </a:xfrm>
        </p:spPr>
        <p:txBody>
          <a:bodyPr/>
          <a:lstStyle>
            <a:lvl1pPr>
              <a:spcBef>
                <a:spcPts val="900"/>
              </a:spcBef>
              <a:defRPr/>
            </a:lvl1pPr>
            <a:lvl2pPr>
              <a:spcBef>
                <a:spcPts val="900"/>
              </a:spcBef>
              <a:defRPr sz="1999"/>
            </a:lvl2pPr>
            <a:lvl3pPr>
              <a:spcBef>
                <a:spcPts val="900"/>
              </a:spcBef>
              <a:defRPr/>
            </a:lvl3pPr>
            <a:lvl4pPr>
              <a:spcBef>
                <a:spcPts val="900"/>
              </a:spcBef>
              <a:defRPr sz="1799"/>
            </a:lvl4pPr>
            <a:lvl5pPr>
              <a:spcBef>
                <a:spcPts val="900"/>
              </a:spcBef>
              <a:defRPr sz="1600"/>
            </a:lvl5pPr>
            <a:lvl6pPr>
              <a:spcBef>
                <a:spcPts val="900"/>
              </a:spcBef>
              <a:defRPr sz="1400"/>
            </a:lvl6pPr>
            <a:lvl7pPr>
              <a:spcBef>
                <a:spcPts val="900"/>
              </a:spcBef>
              <a:defRPr baseline="0"/>
            </a:lvl7pPr>
            <a:lvl8pPr>
              <a:spcBef>
                <a:spcPts val="900"/>
              </a:spcBef>
              <a:defRPr baseline="0"/>
            </a:lvl8pPr>
            <a:lvl9pPr>
              <a:spcBef>
                <a:spcPts val="900"/>
              </a:spcBef>
              <a:buClr>
                <a:srgbClr val="B0946F"/>
              </a:buClr>
              <a:defRPr baseline="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Datumsplatzhalter 9"/>
          <p:cNvSpPr>
            <a:spLocks noGrp="1"/>
          </p:cNvSpPr>
          <p:nvPr>
            <p:ph type="dt" sz="half" idx="15"/>
          </p:nvPr>
        </p:nvSpPr>
        <p:spPr/>
        <p:txBody>
          <a:bodyPr/>
          <a:lstStyle/>
          <a:p>
            <a:fld id="{C5A92CD6-8839-443B-8DBF-ED7C3F29563D}" type="datetime1">
              <a:rPr lang="de-DE" smtClean="0"/>
              <a:t>12.09.2022</a:t>
            </a:fld>
            <a:endParaRPr lang="de-DE" dirty="0"/>
          </a:p>
        </p:txBody>
      </p:sp>
      <p:sp>
        <p:nvSpPr>
          <p:cNvPr id="12" name="Foliennummernplatzhalter 11"/>
          <p:cNvSpPr>
            <a:spLocks noGrp="1"/>
          </p:cNvSpPr>
          <p:nvPr>
            <p:ph type="sldNum" sz="quarter" idx="17"/>
          </p:nvPr>
        </p:nvSpPr>
        <p:spPr/>
        <p:txBody>
          <a:bodyPr/>
          <a:lstStyle/>
          <a:p>
            <a:fld id="{761F7C54-956E-4035-96E5-E3754B49D8A7}" type="slidenum">
              <a:rPr lang="de-DE" smtClean="0"/>
              <a:pPr/>
              <a:t>‹Nr.›</a:t>
            </a:fld>
            <a:endParaRPr lang="de-DE" dirty="0"/>
          </a:p>
        </p:txBody>
      </p:sp>
      <p:sp>
        <p:nvSpPr>
          <p:cNvPr id="7" name="Fußzeilenplatzhalter 2"/>
          <p:cNvSpPr>
            <a:spLocks noGrp="1"/>
          </p:cNvSpPr>
          <p:nvPr>
            <p:ph type="ftr" sz="quarter" idx="3"/>
          </p:nvPr>
        </p:nvSpPr>
        <p:spPr>
          <a:xfrm>
            <a:off x="696805" y="6452636"/>
            <a:ext cx="6874210" cy="179958"/>
          </a:xfrm>
          <a:prstGeom prst="rect">
            <a:avLst/>
          </a:prstGeom>
        </p:spPr>
        <p:txBody>
          <a:bodyPr vert="horz" lIns="0" tIns="0" rIns="0" bIns="0" rtlCol="0" anchor="ctr"/>
          <a:lstStyle>
            <a:lvl1pPr algn="l">
              <a:defRPr sz="1000">
                <a:solidFill>
                  <a:schemeClr val="tx1"/>
                </a:solidFill>
                <a:latin typeface="+mj-lt"/>
              </a:defRPr>
            </a:lvl1pPr>
          </a:lstStyle>
          <a:p>
            <a:r>
              <a:rPr lang="de-DE"/>
              <a:t>Flick Gocke Schaumburg Partnerschaft mbB</a:t>
            </a:r>
            <a:endParaRPr lang="de-DE" dirty="0"/>
          </a:p>
        </p:txBody>
      </p:sp>
    </p:spTree>
    <p:extLst>
      <p:ext uri="{BB962C8B-B14F-4D97-AF65-F5344CB8AC3E}">
        <p14:creationId xmlns:p14="http://schemas.microsoft.com/office/powerpoint/2010/main" val="24919549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41878-A724-180C-DC1C-B7CFEA8CA8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415CBD84-CB51-4C70-D515-19CC753186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2D710D6-8C80-80D9-1BF1-3DC3DB8529DD}"/>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5" name="Footer Placeholder 4">
            <a:extLst>
              <a:ext uri="{FF2B5EF4-FFF2-40B4-BE49-F238E27FC236}">
                <a16:creationId xmlns:a16="http://schemas.microsoft.com/office/drawing/2014/main" id="{00D7A972-05B6-051F-06E7-A0876D0527A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FBE8641-BDC3-F81F-A986-3B7B0124DC7F}"/>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27886689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EF8EC-4628-A8AB-6B8B-1FCC58E08B8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9362F4E-3BBE-CC4D-3572-A42926EACA0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941F2A0-02A2-EB30-CF45-0E1B36054603}"/>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5" name="Footer Placeholder 4">
            <a:extLst>
              <a:ext uri="{FF2B5EF4-FFF2-40B4-BE49-F238E27FC236}">
                <a16:creationId xmlns:a16="http://schemas.microsoft.com/office/drawing/2014/main" id="{4E6F06BD-C827-4DD9-53A4-3A441D6351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0818427-CE94-E000-5594-9AA325EB7796}"/>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38482996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B86F8-CBE0-B862-457C-8D2CF63A86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D61737C-28C3-91E2-57AE-353A2644CF7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E81E052-54E2-9FC9-54E8-49A647B8562B}"/>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5" name="Footer Placeholder 4">
            <a:extLst>
              <a:ext uri="{FF2B5EF4-FFF2-40B4-BE49-F238E27FC236}">
                <a16:creationId xmlns:a16="http://schemas.microsoft.com/office/drawing/2014/main" id="{3AEACE8A-5ACE-DFA9-4F88-698369FFECA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F21E853-7D17-C652-0018-72F32171EC4B}"/>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14944714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8D55C-DB2D-7BB5-08AC-5657134A93C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D6BBBD0-1514-6502-31C0-E1D8B01C3BF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C9DFC42-502C-D14A-B0A8-FD1C65CD02E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8AC254D-D55B-0808-BC21-5635E36054B0}"/>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6" name="Footer Placeholder 5">
            <a:extLst>
              <a:ext uri="{FF2B5EF4-FFF2-40B4-BE49-F238E27FC236}">
                <a16:creationId xmlns:a16="http://schemas.microsoft.com/office/drawing/2014/main" id="{B2C50F63-30AE-6210-9E84-A22886195E6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B1A1C4F-F62F-BFA4-6575-56532D61BD4F}"/>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24632370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BEB17-EE36-CCD4-AE14-6164DF8126F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40BA66B-0F9D-AE34-127E-3EA58AB325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AAE783-8989-ED27-F63B-7DB8E646EA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A4CF6F0-C034-DBC8-C179-01E860345A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2C7AF1-533A-31E9-2FA8-A4E1CC39A86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4B5BD60-31E7-EBE5-8CFF-AAB3CB0B899D}"/>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8" name="Footer Placeholder 7">
            <a:extLst>
              <a:ext uri="{FF2B5EF4-FFF2-40B4-BE49-F238E27FC236}">
                <a16:creationId xmlns:a16="http://schemas.microsoft.com/office/drawing/2014/main" id="{283C7633-8091-F111-B5EF-90960A83C5E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50080B1-9CE6-041A-2225-FF420284CF32}"/>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25107531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90EB2-4D07-DC81-E00F-F23822BD3E0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2A05641-A086-890F-A9FD-8196C6E75307}"/>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4" name="Footer Placeholder 3">
            <a:extLst>
              <a:ext uri="{FF2B5EF4-FFF2-40B4-BE49-F238E27FC236}">
                <a16:creationId xmlns:a16="http://schemas.microsoft.com/office/drawing/2014/main" id="{1849AFC7-27C9-D4D3-355F-5CAF1931EFB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F0D4992-DDB3-7650-C7AE-338F36D2D829}"/>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6719654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14B465-2AA7-E95D-1864-BA62CF4A9999}"/>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3" name="Footer Placeholder 2">
            <a:extLst>
              <a:ext uri="{FF2B5EF4-FFF2-40B4-BE49-F238E27FC236}">
                <a16:creationId xmlns:a16="http://schemas.microsoft.com/office/drawing/2014/main" id="{4E513693-B130-2930-92B5-C3D82D6FA4E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A56FCE9-BF12-2E66-91A3-B4E924DD3184}"/>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34321279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Map">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6C8D37D-C1A0-4155-B14D-9BCEEB518ED7}"/>
              </a:ext>
            </a:extLst>
          </p:cNvPr>
          <p:cNvSpPr>
            <a:spLocks noGrp="1"/>
          </p:cNvSpPr>
          <p:nvPr>
            <p:ph type="sldNum" sz="quarter" idx="12"/>
            <p:custDataLst>
              <p:tags r:id="rId1"/>
            </p:custDataLst>
          </p:nvPr>
        </p:nvSpPr>
        <p:spPr/>
        <p:txBody>
          <a:bodyPr/>
          <a:lstStyle/>
          <a:p>
            <a:fld id="{B459E51B-A277-4897-9DDF-ABA4750400EB}" type="slidenum">
              <a:rPr lang="en-GB" smtClean="0"/>
              <a:t>‹Nr.›</a:t>
            </a:fld>
            <a:endParaRPr lang="en-GB" dirty="0"/>
          </a:p>
        </p:txBody>
      </p:sp>
      <p:sp>
        <p:nvSpPr>
          <p:cNvPr id="15" name="Text Placeholder 9">
            <a:extLst>
              <a:ext uri="{FF2B5EF4-FFF2-40B4-BE49-F238E27FC236}">
                <a16:creationId xmlns:a16="http://schemas.microsoft.com/office/drawing/2014/main" id="{DD82BC42-3FCE-4090-B760-89C8A096F339}"/>
              </a:ext>
            </a:extLst>
          </p:cNvPr>
          <p:cNvSpPr>
            <a:spLocks noGrp="1"/>
          </p:cNvSpPr>
          <p:nvPr>
            <p:ph type="body" sz="quarter" idx="15" hasCustomPrompt="1"/>
            <p:custDataLst>
              <p:tags r:id="rId2"/>
            </p:custDataLst>
          </p:nvPr>
        </p:nvSpPr>
        <p:spPr>
          <a:xfrm>
            <a:off x="461640" y="895350"/>
            <a:ext cx="9853611" cy="400050"/>
          </a:xfrm>
        </p:spPr>
        <p:txBody>
          <a:bodyPr>
            <a:noAutofit/>
          </a:bodyPr>
          <a:lstStyle>
            <a:lvl1pPr marL="0" indent="0">
              <a:buNone/>
              <a:defRPr sz="2000">
                <a:latin typeface="Georgia" panose="02040502050405020303" pitchFamily="18" charset="0"/>
              </a:defRPr>
            </a:lvl1pPr>
            <a:lvl2pPr marL="266693" indent="0">
              <a:buFont typeface="Arial" panose="020B0604020202020204" pitchFamily="34" charset="0"/>
              <a:buNone/>
              <a:defRPr sz="2400">
                <a:latin typeface="Georgia" panose="02040502050405020303" pitchFamily="18" charset="0"/>
              </a:defRPr>
            </a:lvl2pPr>
            <a:lvl3pPr marL="541325" indent="0">
              <a:buFont typeface="Arial" panose="020B0604020202020204" pitchFamily="34" charset="0"/>
              <a:buNone/>
              <a:defRPr sz="2400">
                <a:latin typeface="Georgia" panose="02040502050405020303" pitchFamily="18" charset="0"/>
              </a:defRPr>
            </a:lvl3pPr>
            <a:lvl4pPr marL="808018" indent="0">
              <a:buFont typeface="Arial" panose="020B0604020202020204" pitchFamily="34" charset="0"/>
              <a:buNone/>
              <a:defRPr sz="2400">
                <a:latin typeface="Georgia" panose="02040502050405020303" pitchFamily="18" charset="0"/>
              </a:defRPr>
            </a:lvl4pPr>
            <a:lvl5pPr marL="1074710" indent="0">
              <a:buFont typeface="Arial" panose="020B0604020202020204" pitchFamily="34" charset="0"/>
              <a:buNone/>
              <a:defRPr sz="2400">
                <a:latin typeface="Georgia" panose="02040502050405020303" pitchFamily="18" charset="0"/>
              </a:defRPr>
            </a:lvl5pPr>
          </a:lstStyle>
          <a:p>
            <a:pPr lvl="0"/>
            <a:r>
              <a:rPr lang="en-GB" dirty="0"/>
              <a:t>Subtitle (optional)</a:t>
            </a:r>
          </a:p>
        </p:txBody>
      </p:sp>
      <p:sp>
        <p:nvSpPr>
          <p:cNvPr id="3" name="Title 2">
            <a:extLst>
              <a:ext uri="{FF2B5EF4-FFF2-40B4-BE49-F238E27FC236}">
                <a16:creationId xmlns:a16="http://schemas.microsoft.com/office/drawing/2014/main" id="{ABF5D534-70E0-40B9-8EF5-4ADC2DD76E7B}"/>
              </a:ext>
            </a:extLst>
          </p:cNvPr>
          <p:cNvSpPr>
            <a:spLocks noGrp="1"/>
          </p:cNvSpPr>
          <p:nvPr>
            <p:ph type="title"/>
            <p:custDataLst>
              <p:tags r:id="rId3"/>
            </p:custDataLst>
          </p:nvPr>
        </p:nvSpPr>
        <p:spPr/>
        <p:txBody>
          <a:bodyPr/>
          <a:lstStyle/>
          <a:p>
            <a:r>
              <a:rPr lang="en-US"/>
              <a:t>Click to edit Master title style</a:t>
            </a:r>
            <a:endParaRPr lang="en-GB" dirty="0"/>
          </a:p>
        </p:txBody>
      </p:sp>
      <p:grpSp>
        <p:nvGrpSpPr>
          <p:cNvPr id="121" name="Graphic 3">
            <a:extLst>
              <a:ext uri="{FF2B5EF4-FFF2-40B4-BE49-F238E27FC236}">
                <a16:creationId xmlns:a16="http://schemas.microsoft.com/office/drawing/2014/main" id="{B8D261B7-55B9-471D-B5C0-524B96E3C9FA}"/>
              </a:ext>
            </a:extLst>
          </p:cNvPr>
          <p:cNvGrpSpPr/>
          <p:nvPr>
            <p:custDataLst>
              <p:tags r:id="rId4"/>
            </p:custDataLst>
          </p:nvPr>
        </p:nvGrpSpPr>
        <p:grpSpPr>
          <a:xfrm>
            <a:off x="3141786" y="-16722"/>
            <a:ext cx="9069611" cy="6886994"/>
            <a:chOff x="3141786" y="-16722"/>
            <a:chExt cx="9069611" cy="6886994"/>
          </a:xfrm>
        </p:grpSpPr>
        <p:sp>
          <p:nvSpPr>
            <p:cNvPr id="123" name="Freihandform: Form 122">
              <a:extLst>
                <a:ext uri="{FF2B5EF4-FFF2-40B4-BE49-F238E27FC236}">
                  <a16:creationId xmlns:a16="http://schemas.microsoft.com/office/drawing/2014/main" id="{2C159775-EA54-4C58-99D7-2E204E825F3F}"/>
                </a:ext>
              </a:extLst>
            </p:cNvPr>
            <p:cNvSpPr/>
            <p:nvPr/>
          </p:nvSpPr>
          <p:spPr>
            <a:xfrm>
              <a:off x="9457867" y="6109582"/>
              <a:ext cx="67501" cy="43721"/>
            </a:xfrm>
            <a:custGeom>
              <a:avLst/>
              <a:gdLst>
                <a:gd name="connsiteX0" fmla="*/ 10712 w 67501"/>
                <a:gd name="connsiteY0" fmla="*/ 32438 h 43721"/>
                <a:gd name="connsiteX1" fmla="*/ 57986 w 67501"/>
                <a:gd name="connsiteY1" fmla="*/ 43722 h 43721"/>
                <a:gd name="connsiteX2" fmla="*/ 67501 w 67501"/>
                <a:gd name="connsiteY2" fmla="*/ 5302 h 43721"/>
                <a:gd name="connsiteX3" fmla="*/ 0 w 67501"/>
                <a:gd name="connsiteY3" fmla="*/ 0 h 43721"/>
                <a:gd name="connsiteX4" fmla="*/ 10712 w 67501"/>
                <a:gd name="connsiteY4" fmla="*/ 32438 h 43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01" h="43721">
                  <a:moveTo>
                    <a:pt x="10712" y="32438"/>
                  </a:moveTo>
                  <a:lnTo>
                    <a:pt x="57986" y="43722"/>
                  </a:lnTo>
                  <a:lnTo>
                    <a:pt x="67501" y="5302"/>
                  </a:lnTo>
                  <a:lnTo>
                    <a:pt x="0" y="0"/>
                  </a:lnTo>
                  <a:lnTo>
                    <a:pt x="10712" y="32438"/>
                  </a:lnTo>
                  <a:close/>
                </a:path>
              </a:pathLst>
            </a:custGeom>
            <a:noFill/>
            <a:ln w="1785" cap="flat">
              <a:noFill/>
              <a:prstDash val="solid"/>
              <a:miter/>
            </a:ln>
          </p:spPr>
          <p:txBody>
            <a:bodyPr rtlCol="0" anchor="ctr"/>
            <a:lstStyle/>
            <a:p>
              <a:endParaRPr lang="de-AT"/>
            </a:p>
          </p:txBody>
        </p:sp>
        <p:sp>
          <p:nvSpPr>
            <p:cNvPr id="125" name="Freihandform: Form 124">
              <a:extLst>
                <a:ext uri="{FF2B5EF4-FFF2-40B4-BE49-F238E27FC236}">
                  <a16:creationId xmlns:a16="http://schemas.microsoft.com/office/drawing/2014/main" id="{6CCB684B-3CCA-4626-B6B9-1634AAE4B69A}"/>
                </a:ext>
              </a:extLst>
            </p:cNvPr>
            <p:cNvSpPr/>
            <p:nvPr/>
          </p:nvSpPr>
          <p:spPr>
            <a:xfrm>
              <a:off x="9481057" y="6255600"/>
              <a:ext cx="26868" cy="23708"/>
            </a:xfrm>
            <a:custGeom>
              <a:avLst/>
              <a:gdLst>
                <a:gd name="connsiteX0" fmla="*/ 9533 w 26868"/>
                <a:gd name="connsiteY0" fmla="*/ 23708 h 23708"/>
                <a:gd name="connsiteX1" fmla="*/ 26868 w 26868"/>
                <a:gd name="connsiteY1" fmla="*/ 18031 h 23708"/>
                <a:gd name="connsiteX2" fmla="*/ 26868 w 26868"/>
                <a:gd name="connsiteY2" fmla="*/ 6480 h 23708"/>
                <a:gd name="connsiteX3" fmla="*/ 8409 w 26868"/>
                <a:gd name="connsiteY3" fmla="*/ 0 h 23708"/>
                <a:gd name="connsiteX4" fmla="*/ 0 w 26868"/>
                <a:gd name="connsiteY4" fmla="*/ 5606 h 23708"/>
                <a:gd name="connsiteX5" fmla="*/ 9533 w 26868"/>
                <a:gd name="connsiteY5" fmla="*/ 23708 h 2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68" h="23708">
                  <a:moveTo>
                    <a:pt x="9533" y="23708"/>
                  </a:moveTo>
                  <a:lnTo>
                    <a:pt x="26868" y="18031"/>
                  </a:lnTo>
                  <a:lnTo>
                    <a:pt x="26868" y="6480"/>
                  </a:lnTo>
                  <a:lnTo>
                    <a:pt x="8409" y="0"/>
                  </a:lnTo>
                  <a:lnTo>
                    <a:pt x="0" y="5606"/>
                  </a:lnTo>
                  <a:lnTo>
                    <a:pt x="9533" y="23708"/>
                  </a:lnTo>
                  <a:close/>
                </a:path>
              </a:pathLst>
            </a:custGeom>
            <a:noFill/>
            <a:ln w="1785" cap="flat">
              <a:noFill/>
              <a:prstDash val="solid"/>
              <a:miter/>
            </a:ln>
          </p:spPr>
          <p:txBody>
            <a:bodyPr rtlCol="0" anchor="ctr"/>
            <a:lstStyle/>
            <a:p>
              <a:endParaRPr lang="de-AT"/>
            </a:p>
          </p:txBody>
        </p:sp>
        <p:sp>
          <p:nvSpPr>
            <p:cNvPr id="127" name="Freihandform: Form 126">
              <a:extLst>
                <a:ext uri="{FF2B5EF4-FFF2-40B4-BE49-F238E27FC236}">
                  <a16:creationId xmlns:a16="http://schemas.microsoft.com/office/drawing/2014/main" id="{1CF9DA4B-109E-440F-9FBC-C0632AB915AE}"/>
                </a:ext>
              </a:extLst>
            </p:cNvPr>
            <p:cNvSpPr/>
            <p:nvPr/>
          </p:nvSpPr>
          <p:spPr>
            <a:xfrm>
              <a:off x="9397649" y="6308319"/>
              <a:ext cx="41097" cy="40722"/>
            </a:xfrm>
            <a:custGeom>
              <a:avLst/>
              <a:gdLst>
                <a:gd name="connsiteX0" fmla="*/ 38991 w 41097"/>
                <a:gd name="connsiteY0" fmla="*/ 29654 h 40722"/>
                <a:gd name="connsiteX1" fmla="*/ 41097 w 41097"/>
                <a:gd name="connsiteY1" fmla="*/ 10194 h 40722"/>
                <a:gd name="connsiteX2" fmla="*/ 24834 w 41097"/>
                <a:gd name="connsiteY2" fmla="*/ 0 h 40722"/>
                <a:gd name="connsiteX3" fmla="*/ 5249 w 41097"/>
                <a:gd name="connsiteY3" fmla="*/ 7106 h 40722"/>
                <a:gd name="connsiteX4" fmla="*/ 0 w 41097"/>
                <a:gd name="connsiteY4" fmla="*/ 29422 h 40722"/>
                <a:gd name="connsiteX5" fmla="*/ 25601 w 41097"/>
                <a:gd name="connsiteY5" fmla="*/ 40722 h 40722"/>
                <a:gd name="connsiteX6" fmla="*/ 38991 w 41097"/>
                <a:gd name="connsiteY6" fmla="*/ 29654 h 4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97" h="40722">
                  <a:moveTo>
                    <a:pt x="38991" y="29654"/>
                  </a:moveTo>
                  <a:lnTo>
                    <a:pt x="41097" y="10194"/>
                  </a:lnTo>
                  <a:lnTo>
                    <a:pt x="24834" y="0"/>
                  </a:lnTo>
                  <a:lnTo>
                    <a:pt x="5249" y="7106"/>
                  </a:lnTo>
                  <a:lnTo>
                    <a:pt x="0" y="29422"/>
                  </a:lnTo>
                  <a:lnTo>
                    <a:pt x="25601" y="40722"/>
                  </a:lnTo>
                  <a:lnTo>
                    <a:pt x="38991" y="29654"/>
                  </a:lnTo>
                  <a:close/>
                </a:path>
              </a:pathLst>
            </a:custGeom>
            <a:noFill/>
            <a:ln w="1785" cap="flat">
              <a:noFill/>
              <a:prstDash val="solid"/>
              <a:miter/>
            </a:ln>
          </p:spPr>
          <p:txBody>
            <a:bodyPr rtlCol="0" anchor="ctr"/>
            <a:lstStyle/>
            <a:p>
              <a:endParaRPr lang="de-AT"/>
            </a:p>
          </p:txBody>
        </p:sp>
        <p:sp>
          <p:nvSpPr>
            <p:cNvPr id="129" name="Freihandform: Form 128">
              <a:extLst>
                <a:ext uri="{FF2B5EF4-FFF2-40B4-BE49-F238E27FC236}">
                  <a16:creationId xmlns:a16="http://schemas.microsoft.com/office/drawing/2014/main" id="{55EFDD94-45E6-4B31-BED3-0350C6660C30}"/>
                </a:ext>
              </a:extLst>
            </p:cNvPr>
            <p:cNvSpPr/>
            <p:nvPr/>
          </p:nvSpPr>
          <p:spPr>
            <a:xfrm>
              <a:off x="9403380" y="6194775"/>
              <a:ext cx="50576" cy="47024"/>
            </a:xfrm>
            <a:custGeom>
              <a:avLst/>
              <a:gdLst>
                <a:gd name="connsiteX0" fmla="*/ 0 w 50576"/>
                <a:gd name="connsiteY0" fmla="*/ 47025 h 47024"/>
                <a:gd name="connsiteX1" fmla="*/ 46970 w 50576"/>
                <a:gd name="connsiteY1" fmla="*/ 47025 h 47024"/>
                <a:gd name="connsiteX2" fmla="*/ 50577 w 50576"/>
                <a:gd name="connsiteY2" fmla="*/ 15103 h 47024"/>
                <a:gd name="connsiteX3" fmla="*/ 0 w 50576"/>
                <a:gd name="connsiteY3" fmla="*/ 0 h 47024"/>
                <a:gd name="connsiteX4" fmla="*/ 0 w 50576"/>
                <a:gd name="connsiteY4" fmla="*/ 47025 h 47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76" h="47024">
                  <a:moveTo>
                    <a:pt x="0" y="47025"/>
                  </a:moveTo>
                  <a:lnTo>
                    <a:pt x="46970" y="47025"/>
                  </a:lnTo>
                  <a:lnTo>
                    <a:pt x="50577" y="15103"/>
                  </a:lnTo>
                  <a:lnTo>
                    <a:pt x="0" y="0"/>
                  </a:lnTo>
                  <a:lnTo>
                    <a:pt x="0" y="47025"/>
                  </a:lnTo>
                  <a:close/>
                </a:path>
              </a:pathLst>
            </a:custGeom>
            <a:noFill/>
            <a:ln w="1785" cap="flat">
              <a:noFill/>
              <a:prstDash val="solid"/>
              <a:miter/>
            </a:ln>
          </p:spPr>
          <p:txBody>
            <a:bodyPr rtlCol="0" anchor="ctr"/>
            <a:lstStyle/>
            <a:p>
              <a:endParaRPr lang="de-AT"/>
            </a:p>
          </p:txBody>
        </p:sp>
        <p:sp>
          <p:nvSpPr>
            <p:cNvPr id="131" name="Freihandform: Form 130">
              <a:extLst>
                <a:ext uri="{FF2B5EF4-FFF2-40B4-BE49-F238E27FC236}">
                  <a16:creationId xmlns:a16="http://schemas.microsoft.com/office/drawing/2014/main" id="{0EB43C12-C641-41C1-9C9A-41BDA6A545A2}"/>
                </a:ext>
              </a:extLst>
            </p:cNvPr>
            <p:cNvSpPr/>
            <p:nvPr/>
          </p:nvSpPr>
          <p:spPr>
            <a:xfrm>
              <a:off x="10923387" y="6076215"/>
              <a:ext cx="362305" cy="327777"/>
            </a:xfrm>
            <a:custGeom>
              <a:avLst/>
              <a:gdLst>
                <a:gd name="connsiteX0" fmla="*/ 179492 w 362305"/>
                <a:gd name="connsiteY0" fmla="*/ 323457 h 327777"/>
                <a:gd name="connsiteX1" fmla="*/ 245173 w 362305"/>
                <a:gd name="connsiteY1" fmla="*/ 294893 h 327777"/>
                <a:gd name="connsiteX2" fmla="*/ 260544 w 362305"/>
                <a:gd name="connsiteY2" fmla="*/ 233925 h 327777"/>
                <a:gd name="connsiteX3" fmla="*/ 343720 w 362305"/>
                <a:gd name="connsiteY3" fmla="*/ 184527 h 327777"/>
                <a:gd name="connsiteX4" fmla="*/ 343720 w 362305"/>
                <a:gd name="connsiteY4" fmla="*/ 118525 h 327777"/>
                <a:gd name="connsiteX5" fmla="*/ 343756 w 362305"/>
                <a:gd name="connsiteY5" fmla="*/ 118275 h 327777"/>
                <a:gd name="connsiteX6" fmla="*/ 362305 w 362305"/>
                <a:gd name="connsiteY6" fmla="*/ 0 h 327777"/>
                <a:gd name="connsiteX7" fmla="*/ 289645 w 362305"/>
                <a:gd name="connsiteY7" fmla="*/ 32349 h 327777"/>
                <a:gd name="connsiteX8" fmla="*/ 234051 w 362305"/>
                <a:gd name="connsiteY8" fmla="*/ 118114 h 327777"/>
                <a:gd name="connsiteX9" fmla="*/ 116936 w 362305"/>
                <a:gd name="connsiteY9" fmla="*/ 151820 h 327777"/>
                <a:gd name="connsiteX10" fmla="*/ 70358 w 362305"/>
                <a:gd name="connsiteY10" fmla="*/ 190382 h 327777"/>
                <a:gd name="connsiteX11" fmla="*/ 33491 w 362305"/>
                <a:gd name="connsiteY11" fmla="*/ 243030 h 327777"/>
                <a:gd name="connsiteX12" fmla="*/ 0 w 362305"/>
                <a:gd name="connsiteY12" fmla="*/ 264079 h 327777"/>
                <a:gd name="connsiteX13" fmla="*/ 58272 w 362305"/>
                <a:gd name="connsiteY13" fmla="*/ 327778 h 327777"/>
                <a:gd name="connsiteX14" fmla="*/ 179492 w 362305"/>
                <a:gd name="connsiteY14" fmla="*/ 323457 h 32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05" h="327777">
                  <a:moveTo>
                    <a:pt x="179492" y="323457"/>
                  </a:moveTo>
                  <a:lnTo>
                    <a:pt x="245173" y="294893"/>
                  </a:lnTo>
                  <a:lnTo>
                    <a:pt x="260544" y="233925"/>
                  </a:lnTo>
                  <a:lnTo>
                    <a:pt x="343720" y="184527"/>
                  </a:lnTo>
                  <a:lnTo>
                    <a:pt x="343720" y="118525"/>
                  </a:lnTo>
                  <a:lnTo>
                    <a:pt x="343756" y="118275"/>
                  </a:lnTo>
                  <a:lnTo>
                    <a:pt x="362305" y="0"/>
                  </a:lnTo>
                  <a:lnTo>
                    <a:pt x="289645" y="32349"/>
                  </a:lnTo>
                  <a:lnTo>
                    <a:pt x="234051" y="118114"/>
                  </a:lnTo>
                  <a:lnTo>
                    <a:pt x="116936" y="151820"/>
                  </a:lnTo>
                  <a:lnTo>
                    <a:pt x="70358" y="190382"/>
                  </a:lnTo>
                  <a:lnTo>
                    <a:pt x="33491" y="243030"/>
                  </a:lnTo>
                  <a:lnTo>
                    <a:pt x="0" y="264079"/>
                  </a:lnTo>
                  <a:lnTo>
                    <a:pt x="58272" y="327778"/>
                  </a:lnTo>
                  <a:lnTo>
                    <a:pt x="179492" y="323457"/>
                  </a:lnTo>
                  <a:close/>
                </a:path>
              </a:pathLst>
            </a:custGeom>
            <a:noFill/>
            <a:ln w="1785" cap="flat">
              <a:noFill/>
              <a:prstDash val="solid"/>
              <a:miter/>
            </a:ln>
          </p:spPr>
          <p:txBody>
            <a:bodyPr rtlCol="0" anchor="ctr"/>
            <a:lstStyle/>
            <a:p>
              <a:endParaRPr lang="de-AT"/>
            </a:p>
          </p:txBody>
        </p:sp>
        <p:sp>
          <p:nvSpPr>
            <p:cNvPr id="133" name="Freihandform: Form 132">
              <a:extLst>
                <a:ext uri="{FF2B5EF4-FFF2-40B4-BE49-F238E27FC236}">
                  <a16:creationId xmlns:a16="http://schemas.microsoft.com/office/drawing/2014/main" id="{BEB959C1-2819-41A1-BF96-0B30745C1E64}"/>
                </a:ext>
              </a:extLst>
            </p:cNvPr>
            <p:cNvSpPr/>
            <p:nvPr/>
          </p:nvSpPr>
          <p:spPr>
            <a:xfrm>
              <a:off x="9559628" y="5842593"/>
              <a:ext cx="60410" cy="109437"/>
            </a:xfrm>
            <a:custGeom>
              <a:avLst/>
              <a:gdLst>
                <a:gd name="connsiteX0" fmla="*/ 17799 w 60410"/>
                <a:gd name="connsiteY0" fmla="*/ 68216 h 109437"/>
                <a:gd name="connsiteX1" fmla="*/ 5463 w 60410"/>
                <a:gd name="connsiteY1" fmla="*/ 83623 h 109437"/>
                <a:gd name="connsiteX2" fmla="*/ 10515 w 60410"/>
                <a:gd name="connsiteY2" fmla="*/ 97744 h 109437"/>
                <a:gd name="connsiteX3" fmla="*/ 39080 w 60410"/>
                <a:gd name="connsiteY3" fmla="*/ 109438 h 109437"/>
                <a:gd name="connsiteX4" fmla="*/ 59557 w 60410"/>
                <a:gd name="connsiteY4" fmla="*/ 87693 h 109437"/>
                <a:gd name="connsiteX5" fmla="*/ 59236 w 60410"/>
                <a:gd name="connsiteY5" fmla="*/ 34706 h 109437"/>
                <a:gd name="connsiteX6" fmla="*/ 51148 w 60410"/>
                <a:gd name="connsiteY6" fmla="*/ 12497 h 109437"/>
                <a:gd name="connsiteX7" fmla="*/ 38080 w 60410"/>
                <a:gd name="connsiteY7" fmla="*/ 0 h 109437"/>
                <a:gd name="connsiteX8" fmla="*/ 446 w 60410"/>
                <a:gd name="connsiteY8" fmla="*/ 0 h 109437"/>
                <a:gd name="connsiteX9" fmla="*/ 0 w 60410"/>
                <a:gd name="connsiteY9" fmla="*/ 30511 h 109437"/>
                <a:gd name="connsiteX10" fmla="*/ 25672 w 60410"/>
                <a:gd name="connsiteY10" fmla="*/ 39276 h 10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410" h="109437">
                  <a:moveTo>
                    <a:pt x="17799" y="68216"/>
                  </a:moveTo>
                  <a:lnTo>
                    <a:pt x="5463" y="83623"/>
                  </a:lnTo>
                  <a:lnTo>
                    <a:pt x="10515" y="97744"/>
                  </a:lnTo>
                  <a:lnTo>
                    <a:pt x="39080" y="109438"/>
                  </a:lnTo>
                  <a:lnTo>
                    <a:pt x="59557" y="87693"/>
                  </a:lnTo>
                  <a:cubicBezTo>
                    <a:pt x="61128" y="80891"/>
                    <a:pt x="60235" y="52166"/>
                    <a:pt x="59236" y="34706"/>
                  </a:cubicBezTo>
                  <a:lnTo>
                    <a:pt x="51148" y="12497"/>
                  </a:lnTo>
                  <a:lnTo>
                    <a:pt x="38080" y="0"/>
                  </a:lnTo>
                  <a:lnTo>
                    <a:pt x="446" y="0"/>
                  </a:lnTo>
                  <a:lnTo>
                    <a:pt x="0" y="30511"/>
                  </a:lnTo>
                  <a:lnTo>
                    <a:pt x="25672" y="39276"/>
                  </a:lnTo>
                  <a:close/>
                </a:path>
              </a:pathLst>
            </a:custGeom>
            <a:noFill/>
            <a:ln w="1785" cap="flat">
              <a:noFill/>
              <a:prstDash val="solid"/>
              <a:miter/>
            </a:ln>
          </p:spPr>
          <p:txBody>
            <a:bodyPr rtlCol="0" anchor="ctr"/>
            <a:lstStyle/>
            <a:p>
              <a:endParaRPr lang="de-AT"/>
            </a:p>
          </p:txBody>
        </p:sp>
        <p:sp>
          <p:nvSpPr>
            <p:cNvPr id="135" name="Freihandform: Form 134">
              <a:extLst>
                <a:ext uri="{FF2B5EF4-FFF2-40B4-BE49-F238E27FC236}">
                  <a16:creationId xmlns:a16="http://schemas.microsoft.com/office/drawing/2014/main" id="{97F344D6-3B2A-441B-9FA0-5759F53381DF}"/>
                </a:ext>
              </a:extLst>
            </p:cNvPr>
            <p:cNvSpPr/>
            <p:nvPr/>
          </p:nvSpPr>
          <p:spPr>
            <a:xfrm>
              <a:off x="3445301" y="6456855"/>
              <a:ext cx="3363651" cy="413292"/>
            </a:xfrm>
            <a:custGeom>
              <a:avLst/>
              <a:gdLst>
                <a:gd name="connsiteX0" fmla="*/ 3324250 w 3363651"/>
                <a:gd name="connsiteY0" fmla="*/ 249922 h 413292"/>
                <a:gd name="connsiteX1" fmla="*/ 3324286 w 3363651"/>
                <a:gd name="connsiteY1" fmla="*/ 249279 h 413292"/>
                <a:gd name="connsiteX2" fmla="*/ 3330820 w 3363651"/>
                <a:gd name="connsiteY2" fmla="*/ 75785 h 413292"/>
                <a:gd name="connsiteX3" fmla="*/ 3246823 w 3363651"/>
                <a:gd name="connsiteY3" fmla="*/ 7195 h 413292"/>
                <a:gd name="connsiteX4" fmla="*/ 3120407 w 3363651"/>
                <a:gd name="connsiteY4" fmla="*/ 0 h 413292"/>
                <a:gd name="connsiteX5" fmla="*/ 2986296 w 3363651"/>
                <a:gd name="connsiteY5" fmla="*/ 62270 h 413292"/>
                <a:gd name="connsiteX6" fmla="*/ 2985743 w 3363651"/>
                <a:gd name="connsiteY6" fmla="*/ 62342 h 413292"/>
                <a:gd name="connsiteX7" fmla="*/ 2826335 w 3363651"/>
                <a:gd name="connsiteY7" fmla="*/ 77606 h 413292"/>
                <a:gd name="connsiteX8" fmla="*/ 2634381 w 3363651"/>
                <a:gd name="connsiteY8" fmla="*/ 22780 h 413292"/>
                <a:gd name="connsiteX9" fmla="*/ 2372802 w 3363651"/>
                <a:gd name="connsiteY9" fmla="*/ 47738 h 413292"/>
                <a:gd name="connsiteX10" fmla="*/ 2241923 w 3363651"/>
                <a:gd name="connsiteY10" fmla="*/ 93834 h 413292"/>
                <a:gd name="connsiteX11" fmla="*/ 2080854 w 3363651"/>
                <a:gd name="connsiteY11" fmla="*/ 38366 h 413292"/>
                <a:gd name="connsiteX12" fmla="*/ 1897899 w 3363651"/>
                <a:gd name="connsiteY12" fmla="*/ 47792 h 413292"/>
                <a:gd name="connsiteX13" fmla="*/ 1713640 w 3363651"/>
                <a:gd name="connsiteY13" fmla="*/ 61753 h 413292"/>
                <a:gd name="connsiteX14" fmla="*/ 1583189 w 3363651"/>
                <a:gd name="connsiteY14" fmla="*/ 93495 h 413292"/>
                <a:gd name="connsiteX15" fmla="*/ 1402608 w 3363651"/>
                <a:gd name="connsiteY15" fmla="*/ 163942 h 413292"/>
                <a:gd name="connsiteX16" fmla="*/ 1287707 w 3363651"/>
                <a:gd name="connsiteY16" fmla="*/ 218447 h 413292"/>
                <a:gd name="connsiteX17" fmla="*/ 1287493 w 3363651"/>
                <a:gd name="connsiteY17" fmla="*/ 218501 h 413292"/>
                <a:gd name="connsiteX18" fmla="*/ 1055156 w 3363651"/>
                <a:gd name="connsiteY18" fmla="*/ 289805 h 413292"/>
                <a:gd name="connsiteX19" fmla="*/ 1054495 w 3363651"/>
                <a:gd name="connsiteY19" fmla="*/ 289716 h 413292"/>
                <a:gd name="connsiteX20" fmla="*/ 848117 w 3363651"/>
                <a:gd name="connsiteY20" fmla="*/ 265918 h 413292"/>
                <a:gd name="connsiteX21" fmla="*/ 847295 w 3363651"/>
                <a:gd name="connsiteY21" fmla="*/ 265043 h 413292"/>
                <a:gd name="connsiteX22" fmla="*/ 771278 w 3363651"/>
                <a:gd name="connsiteY22" fmla="*/ 183884 h 413292"/>
                <a:gd name="connsiteX23" fmla="*/ 655663 w 3363651"/>
                <a:gd name="connsiteY23" fmla="*/ 205682 h 413292"/>
                <a:gd name="connsiteX24" fmla="*/ 515393 w 3363651"/>
                <a:gd name="connsiteY24" fmla="*/ 194560 h 413292"/>
                <a:gd name="connsiteX25" fmla="*/ 483830 w 3363651"/>
                <a:gd name="connsiteY25" fmla="*/ 174297 h 413292"/>
                <a:gd name="connsiteX26" fmla="*/ 404295 w 3363651"/>
                <a:gd name="connsiteY26" fmla="*/ 121863 h 413292"/>
                <a:gd name="connsiteX27" fmla="*/ 400778 w 3363651"/>
                <a:gd name="connsiteY27" fmla="*/ 9087 h 413292"/>
                <a:gd name="connsiteX28" fmla="*/ 348041 w 3363651"/>
                <a:gd name="connsiteY28" fmla="*/ 1589 h 413292"/>
                <a:gd name="connsiteX29" fmla="*/ 297357 w 3363651"/>
                <a:gd name="connsiteY29" fmla="*/ 26511 h 413292"/>
                <a:gd name="connsiteX30" fmla="*/ 257777 w 3363651"/>
                <a:gd name="connsiteY30" fmla="*/ 77963 h 413292"/>
                <a:gd name="connsiteX31" fmla="*/ 222482 w 3363651"/>
                <a:gd name="connsiteY31" fmla="*/ 128879 h 413292"/>
                <a:gd name="connsiteX32" fmla="*/ 170441 w 3363651"/>
                <a:gd name="connsiteY32" fmla="*/ 197577 h 413292"/>
                <a:gd name="connsiteX33" fmla="*/ 0 w 3363651"/>
                <a:gd name="connsiteY33" fmla="*/ 413293 h 413292"/>
                <a:gd name="connsiteX34" fmla="*/ 3358974 w 3363651"/>
                <a:gd name="connsiteY34" fmla="*/ 413293 h 413292"/>
                <a:gd name="connsiteX35" fmla="*/ 3363652 w 3363651"/>
                <a:gd name="connsiteY35" fmla="*/ 354967 h 413292"/>
                <a:gd name="connsiteX36" fmla="*/ 3324250 w 3363651"/>
                <a:gd name="connsiteY36" fmla="*/ 249922 h 41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63651" h="413292">
                  <a:moveTo>
                    <a:pt x="3324250" y="249922"/>
                  </a:moveTo>
                  <a:lnTo>
                    <a:pt x="3324286" y="249279"/>
                  </a:lnTo>
                  <a:lnTo>
                    <a:pt x="3330820" y="75785"/>
                  </a:lnTo>
                  <a:lnTo>
                    <a:pt x="3246823" y="7195"/>
                  </a:lnTo>
                  <a:lnTo>
                    <a:pt x="3120407" y="0"/>
                  </a:lnTo>
                  <a:lnTo>
                    <a:pt x="2986296" y="62270"/>
                  </a:lnTo>
                  <a:lnTo>
                    <a:pt x="2985743" y="62342"/>
                  </a:lnTo>
                  <a:lnTo>
                    <a:pt x="2826335" y="77606"/>
                  </a:lnTo>
                  <a:lnTo>
                    <a:pt x="2634381" y="22780"/>
                  </a:lnTo>
                  <a:lnTo>
                    <a:pt x="2372802" y="47738"/>
                  </a:lnTo>
                  <a:lnTo>
                    <a:pt x="2241923" y="93834"/>
                  </a:lnTo>
                  <a:lnTo>
                    <a:pt x="2080854" y="38366"/>
                  </a:lnTo>
                  <a:lnTo>
                    <a:pt x="1897899" y="47792"/>
                  </a:lnTo>
                  <a:lnTo>
                    <a:pt x="1713640" y="61753"/>
                  </a:lnTo>
                  <a:lnTo>
                    <a:pt x="1583189" y="93495"/>
                  </a:lnTo>
                  <a:lnTo>
                    <a:pt x="1402608" y="163942"/>
                  </a:lnTo>
                  <a:lnTo>
                    <a:pt x="1287707" y="218447"/>
                  </a:lnTo>
                  <a:lnTo>
                    <a:pt x="1287493" y="218501"/>
                  </a:lnTo>
                  <a:lnTo>
                    <a:pt x="1055156" y="289805"/>
                  </a:lnTo>
                  <a:lnTo>
                    <a:pt x="1054495" y="289716"/>
                  </a:lnTo>
                  <a:lnTo>
                    <a:pt x="848117" y="265918"/>
                  </a:lnTo>
                  <a:lnTo>
                    <a:pt x="847295" y="265043"/>
                  </a:lnTo>
                  <a:lnTo>
                    <a:pt x="771278" y="183884"/>
                  </a:lnTo>
                  <a:lnTo>
                    <a:pt x="655663" y="205682"/>
                  </a:lnTo>
                  <a:lnTo>
                    <a:pt x="515393" y="194560"/>
                  </a:lnTo>
                  <a:lnTo>
                    <a:pt x="483830" y="174297"/>
                  </a:lnTo>
                  <a:lnTo>
                    <a:pt x="404295" y="121863"/>
                  </a:lnTo>
                  <a:lnTo>
                    <a:pt x="400778" y="9087"/>
                  </a:lnTo>
                  <a:lnTo>
                    <a:pt x="348041" y="1589"/>
                  </a:lnTo>
                  <a:lnTo>
                    <a:pt x="297357" y="26511"/>
                  </a:lnTo>
                  <a:lnTo>
                    <a:pt x="257777" y="77963"/>
                  </a:lnTo>
                  <a:lnTo>
                    <a:pt x="222482" y="128879"/>
                  </a:lnTo>
                  <a:lnTo>
                    <a:pt x="170441" y="197577"/>
                  </a:lnTo>
                  <a:lnTo>
                    <a:pt x="0" y="413293"/>
                  </a:lnTo>
                  <a:lnTo>
                    <a:pt x="3358974" y="413293"/>
                  </a:lnTo>
                  <a:lnTo>
                    <a:pt x="3363652" y="354967"/>
                  </a:lnTo>
                  <a:lnTo>
                    <a:pt x="3324250" y="249922"/>
                  </a:lnTo>
                  <a:close/>
                </a:path>
              </a:pathLst>
            </a:custGeom>
            <a:noFill/>
            <a:ln w="1785" cap="flat">
              <a:noFill/>
              <a:prstDash val="solid"/>
              <a:miter/>
            </a:ln>
          </p:spPr>
          <p:txBody>
            <a:bodyPr rtlCol="0" anchor="ctr"/>
            <a:lstStyle/>
            <a:p>
              <a:endParaRPr lang="de-AT"/>
            </a:p>
          </p:txBody>
        </p:sp>
        <p:sp>
          <p:nvSpPr>
            <p:cNvPr id="137" name="Freihandform: Form 136">
              <a:extLst>
                <a:ext uri="{FF2B5EF4-FFF2-40B4-BE49-F238E27FC236}">
                  <a16:creationId xmlns:a16="http://schemas.microsoft.com/office/drawing/2014/main" id="{E9EC6783-F246-4134-A9A8-2E163E6A57C5}"/>
                </a:ext>
              </a:extLst>
            </p:cNvPr>
            <p:cNvSpPr/>
            <p:nvPr/>
          </p:nvSpPr>
          <p:spPr>
            <a:xfrm>
              <a:off x="6197226" y="-16722"/>
              <a:ext cx="1756200" cy="2172635"/>
            </a:xfrm>
            <a:custGeom>
              <a:avLst/>
              <a:gdLst>
                <a:gd name="connsiteX0" fmla="*/ 522106 w 1756200"/>
                <a:gd name="connsiteY0" fmla="*/ 244780 h 2172635"/>
                <a:gd name="connsiteX1" fmla="*/ 521696 w 1756200"/>
                <a:gd name="connsiteY1" fmla="*/ 245084 h 2172635"/>
                <a:gd name="connsiteX2" fmla="*/ 436395 w 1756200"/>
                <a:gd name="connsiteY2" fmla="*/ 307247 h 2172635"/>
                <a:gd name="connsiteX3" fmla="*/ 436180 w 1756200"/>
                <a:gd name="connsiteY3" fmla="*/ 307354 h 2172635"/>
                <a:gd name="connsiteX4" fmla="*/ 359431 w 1756200"/>
                <a:gd name="connsiteY4" fmla="*/ 347434 h 2172635"/>
                <a:gd name="connsiteX5" fmla="*/ 297214 w 1756200"/>
                <a:gd name="connsiteY5" fmla="*/ 427182 h 2172635"/>
                <a:gd name="connsiteX6" fmla="*/ 296714 w 1756200"/>
                <a:gd name="connsiteY6" fmla="*/ 427486 h 2172635"/>
                <a:gd name="connsiteX7" fmla="*/ 191150 w 1756200"/>
                <a:gd name="connsiteY7" fmla="*/ 492077 h 2172635"/>
                <a:gd name="connsiteX8" fmla="*/ 190918 w 1756200"/>
                <a:gd name="connsiteY8" fmla="*/ 492167 h 2172635"/>
                <a:gd name="connsiteX9" fmla="*/ 123006 w 1756200"/>
                <a:gd name="connsiteY9" fmla="*/ 520945 h 2172635"/>
                <a:gd name="connsiteX10" fmla="*/ 41865 w 1756200"/>
                <a:gd name="connsiteY10" fmla="*/ 601854 h 2172635"/>
                <a:gd name="connsiteX11" fmla="*/ 44204 w 1756200"/>
                <a:gd name="connsiteY11" fmla="*/ 704473 h 2172635"/>
                <a:gd name="connsiteX12" fmla="*/ 0 w 1756200"/>
                <a:gd name="connsiteY12" fmla="*/ 761120 h 2172635"/>
                <a:gd name="connsiteX13" fmla="*/ 18549 w 1756200"/>
                <a:gd name="connsiteY13" fmla="*/ 829692 h 2172635"/>
                <a:gd name="connsiteX14" fmla="*/ 18549 w 1756200"/>
                <a:gd name="connsiteY14" fmla="*/ 829978 h 2172635"/>
                <a:gd name="connsiteX15" fmla="*/ 38437 w 1756200"/>
                <a:gd name="connsiteY15" fmla="*/ 1075633 h 2172635"/>
                <a:gd name="connsiteX16" fmla="*/ 38277 w 1756200"/>
                <a:gd name="connsiteY16" fmla="*/ 1076204 h 2172635"/>
                <a:gd name="connsiteX17" fmla="*/ 2732 w 1756200"/>
                <a:gd name="connsiteY17" fmla="*/ 1203673 h 2172635"/>
                <a:gd name="connsiteX18" fmla="*/ 15122 w 1756200"/>
                <a:gd name="connsiteY18" fmla="*/ 1304292 h 2172635"/>
                <a:gd name="connsiteX19" fmla="*/ 31278 w 1756200"/>
                <a:gd name="connsiteY19" fmla="*/ 1353155 h 2172635"/>
                <a:gd name="connsiteX20" fmla="*/ 56522 w 1756200"/>
                <a:gd name="connsiteY20" fmla="*/ 1391306 h 2172635"/>
                <a:gd name="connsiteX21" fmla="*/ 70090 w 1756200"/>
                <a:gd name="connsiteY21" fmla="*/ 1419871 h 2172635"/>
                <a:gd name="connsiteX22" fmla="*/ 92710 w 1756200"/>
                <a:gd name="connsiteY22" fmla="*/ 1437670 h 2172635"/>
                <a:gd name="connsiteX23" fmla="*/ 116525 w 1756200"/>
                <a:gd name="connsiteY23" fmla="*/ 1465414 h 2172635"/>
                <a:gd name="connsiteX24" fmla="*/ 139502 w 1756200"/>
                <a:gd name="connsiteY24" fmla="*/ 1483373 h 2172635"/>
                <a:gd name="connsiteX25" fmla="*/ 139788 w 1756200"/>
                <a:gd name="connsiteY25" fmla="*/ 1483820 h 2172635"/>
                <a:gd name="connsiteX26" fmla="*/ 164800 w 1756200"/>
                <a:gd name="connsiteY26" fmla="*/ 1521525 h 2172635"/>
                <a:gd name="connsiteX27" fmla="*/ 197506 w 1756200"/>
                <a:gd name="connsiteY27" fmla="*/ 1547126 h 2172635"/>
                <a:gd name="connsiteX28" fmla="*/ 326028 w 1756200"/>
                <a:gd name="connsiteY28" fmla="*/ 1531362 h 2172635"/>
                <a:gd name="connsiteX29" fmla="*/ 333723 w 1756200"/>
                <a:gd name="connsiteY29" fmla="*/ 1509742 h 2172635"/>
                <a:gd name="connsiteX30" fmla="*/ 354647 w 1756200"/>
                <a:gd name="connsiteY30" fmla="*/ 1507189 h 2172635"/>
                <a:gd name="connsiteX31" fmla="*/ 381354 w 1756200"/>
                <a:gd name="connsiteY31" fmla="*/ 1472983 h 2172635"/>
                <a:gd name="connsiteX32" fmla="*/ 391513 w 1756200"/>
                <a:gd name="connsiteY32" fmla="*/ 1471733 h 2172635"/>
                <a:gd name="connsiteX33" fmla="*/ 417685 w 1756200"/>
                <a:gd name="connsiteY33" fmla="*/ 1438170 h 2172635"/>
                <a:gd name="connsiteX34" fmla="*/ 436716 w 1756200"/>
                <a:gd name="connsiteY34" fmla="*/ 1425530 h 2172635"/>
                <a:gd name="connsiteX35" fmla="*/ 463924 w 1756200"/>
                <a:gd name="connsiteY35" fmla="*/ 1390646 h 2172635"/>
                <a:gd name="connsiteX36" fmla="*/ 474046 w 1756200"/>
                <a:gd name="connsiteY36" fmla="*/ 1389414 h 2172635"/>
                <a:gd name="connsiteX37" fmla="*/ 491845 w 1756200"/>
                <a:gd name="connsiteY37" fmla="*/ 1366598 h 2172635"/>
                <a:gd name="connsiteX38" fmla="*/ 502539 w 1756200"/>
                <a:gd name="connsiteY38" fmla="*/ 1365277 h 2172635"/>
                <a:gd name="connsiteX39" fmla="*/ 521606 w 1756200"/>
                <a:gd name="connsiteY39" fmla="*/ 1352655 h 2172635"/>
                <a:gd name="connsiteX40" fmla="*/ 540655 w 1756200"/>
                <a:gd name="connsiteY40" fmla="*/ 1350316 h 2172635"/>
                <a:gd name="connsiteX41" fmla="*/ 547939 w 1756200"/>
                <a:gd name="connsiteY41" fmla="*/ 1329803 h 2172635"/>
                <a:gd name="connsiteX42" fmla="*/ 603586 w 1756200"/>
                <a:gd name="connsiteY42" fmla="*/ 1281922 h 2172635"/>
                <a:gd name="connsiteX43" fmla="*/ 621903 w 1756200"/>
                <a:gd name="connsiteY43" fmla="*/ 1174252 h 2172635"/>
                <a:gd name="connsiteX44" fmla="*/ 680443 w 1756200"/>
                <a:gd name="connsiteY44" fmla="*/ 1189730 h 2172635"/>
                <a:gd name="connsiteX45" fmla="*/ 701973 w 1756200"/>
                <a:gd name="connsiteY45" fmla="*/ 1280440 h 2172635"/>
                <a:gd name="connsiteX46" fmla="*/ 747587 w 1756200"/>
                <a:gd name="connsiteY46" fmla="*/ 1306684 h 2172635"/>
                <a:gd name="connsiteX47" fmla="*/ 722665 w 1756200"/>
                <a:gd name="connsiteY47" fmla="*/ 1362903 h 2172635"/>
                <a:gd name="connsiteX48" fmla="*/ 766476 w 1756200"/>
                <a:gd name="connsiteY48" fmla="*/ 1552553 h 2172635"/>
                <a:gd name="connsiteX49" fmla="*/ 766476 w 1756200"/>
                <a:gd name="connsiteY49" fmla="*/ 1552732 h 2172635"/>
                <a:gd name="connsiteX50" fmla="*/ 777598 w 1756200"/>
                <a:gd name="connsiteY50" fmla="*/ 1643156 h 2172635"/>
                <a:gd name="connsiteX51" fmla="*/ 801271 w 1756200"/>
                <a:gd name="connsiteY51" fmla="*/ 1670739 h 2172635"/>
                <a:gd name="connsiteX52" fmla="*/ 815017 w 1756200"/>
                <a:gd name="connsiteY52" fmla="*/ 1699660 h 2172635"/>
                <a:gd name="connsiteX53" fmla="*/ 838012 w 1756200"/>
                <a:gd name="connsiteY53" fmla="*/ 1717656 h 2172635"/>
                <a:gd name="connsiteX54" fmla="*/ 838315 w 1756200"/>
                <a:gd name="connsiteY54" fmla="*/ 1718584 h 2172635"/>
                <a:gd name="connsiteX55" fmla="*/ 854472 w 1756200"/>
                <a:gd name="connsiteY55" fmla="*/ 1767555 h 2172635"/>
                <a:gd name="connsiteX56" fmla="*/ 878323 w 1756200"/>
                <a:gd name="connsiteY56" fmla="*/ 1795352 h 2172635"/>
                <a:gd name="connsiteX57" fmla="*/ 891017 w 1756200"/>
                <a:gd name="connsiteY57" fmla="*/ 1814418 h 2172635"/>
                <a:gd name="connsiteX58" fmla="*/ 916154 w 1756200"/>
                <a:gd name="connsiteY58" fmla="*/ 1852391 h 2172635"/>
                <a:gd name="connsiteX59" fmla="*/ 941683 w 1756200"/>
                <a:gd name="connsiteY59" fmla="*/ 1882098 h 2172635"/>
                <a:gd name="connsiteX60" fmla="*/ 889267 w 1756200"/>
                <a:gd name="connsiteY60" fmla="*/ 1961079 h 2172635"/>
                <a:gd name="connsiteX61" fmla="*/ 968373 w 1756200"/>
                <a:gd name="connsiteY61" fmla="*/ 2105080 h 2172635"/>
                <a:gd name="connsiteX62" fmla="*/ 965802 w 1756200"/>
                <a:gd name="connsiteY62" fmla="*/ 2164923 h 2172635"/>
                <a:gd name="connsiteX63" fmla="*/ 1024449 w 1756200"/>
                <a:gd name="connsiteY63" fmla="*/ 2167458 h 2172635"/>
                <a:gd name="connsiteX64" fmla="*/ 1075348 w 1756200"/>
                <a:gd name="connsiteY64" fmla="*/ 2161227 h 2172635"/>
                <a:gd name="connsiteX65" fmla="*/ 1075794 w 1756200"/>
                <a:gd name="connsiteY65" fmla="*/ 2161299 h 2172635"/>
                <a:gd name="connsiteX66" fmla="*/ 1147705 w 1756200"/>
                <a:gd name="connsiteY66" fmla="*/ 2172635 h 2172635"/>
                <a:gd name="connsiteX67" fmla="*/ 1181411 w 1756200"/>
                <a:gd name="connsiteY67" fmla="*/ 2140197 h 2172635"/>
                <a:gd name="connsiteX68" fmla="*/ 1144170 w 1756200"/>
                <a:gd name="connsiteY68" fmla="*/ 2084014 h 2172635"/>
                <a:gd name="connsiteX69" fmla="*/ 1159059 w 1756200"/>
                <a:gd name="connsiteY69" fmla="*/ 2027617 h 2172635"/>
                <a:gd name="connsiteX70" fmla="*/ 1208137 w 1756200"/>
                <a:gd name="connsiteY70" fmla="*/ 2011389 h 2172635"/>
                <a:gd name="connsiteX71" fmla="*/ 1212154 w 1756200"/>
                <a:gd name="connsiteY71" fmla="*/ 1957741 h 2172635"/>
                <a:gd name="connsiteX72" fmla="*/ 1360582 w 1756200"/>
                <a:gd name="connsiteY72" fmla="*/ 1991179 h 2172635"/>
                <a:gd name="connsiteX73" fmla="*/ 1396306 w 1756200"/>
                <a:gd name="connsiteY73" fmla="*/ 1700696 h 2172635"/>
                <a:gd name="connsiteX74" fmla="*/ 1422728 w 1756200"/>
                <a:gd name="connsiteY74" fmla="*/ 1666811 h 2172635"/>
                <a:gd name="connsiteX75" fmla="*/ 1414337 w 1756200"/>
                <a:gd name="connsiteY75" fmla="*/ 1598381 h 2172635"/>
                <a:gd name="connsiteX76" fmla="*/ 1378060 w 1756200"/>
                <a:gd name="connsiteY76" fmla="*/ 1570013 h 2172635"/>
                <a:gd name="connsiteX77" fmla="*/ 1435867 w 1756200"/>
                <a:gd name="connsiteY77" fmla="*/ 1520329 h 2172635"/>
                <a:gd name="connsiteX78" fmla="*/ 1437189 w 1756200"/>
                <a:gd name="connsiteY78" fmla="*/ 1452113 h 2172635"/>
                <a:gd name="connsiteX79" fmla="*/ 1373650 w 1756200"/>
                <a:gd name="connsiteY79" fmla="*/ 1439206 h 2172635"/>
                <a:gd name="connsiteX80" fmla="*/ 1377935 w 1756200"/>
                <a:gd name="connsiteY80" fmla="*/ 1382184 h 2172635"/>
                <a:gd name="connsiteX81" fmla="*/ 1517044 w 1756200"/>
                <a:gd name="connsiteY81" fmla="*/ 1334035 h 2172635"/>
                <a:gd name="connsiteX82" fmla="*/ 1557749 w 1756200"/>
                <a:gd name="connsiteY82" fmla="*/ 1259017 h 2172635"/>
                <a:gd name="connsiteX83" fmla="*/ 1540985 w 1756200"/>
                <a:gd name="connsiteY83" fmla="*/ 1208315 h 2172635"/>
                <a:gd name="connsiteX84" fmla="*/ 1609468 w 1756200"/>
                <a:gd name="connsiteY84" fmla="*/ 1168414 h 2172635"/>
                <a:gd name="connsiteX85" fmla="*/ 1631570 w 1756200"/>
                <a:gd name="connsiteY85" fmla="*/ 1106108 h 2172635"/>
                <a:gd name="connsiteX86" fmla="*/ 1618341 w 1756200"/>
                <a:gd name="connsiteY86" fmla="*/ 1078275 h 2172635"/>
                <a:gd name="connsiteX87" fmla="*/ 1605416 w 1756200"/>
                <a:gd name="connsiteY87" fmla="*/ 1058780 h 2172635"/>
                <a:gd name="connsiteX88" fmla="*/ 1604184 w 1756200"/>
                <a:gd name="connsiteY88" fmla="*/ 1048604 h 2172635"/>
                <a:gd name="connsiteX89" fmla="*/ 1566443 w 1756200"/>
                <a:gd name="connsiteY89" fmla="*/ 991653 h 2172635"/>
                <a:gd name="connsiteX90" fmla="*/ 1552339 w 1756200"/>
                <a:gd name="connsiteY90" fmla="*/ 961928 h 2172635"/>
                <a:gd name="connsiteX91" fmla="*/ 1549983 w 1756200"/>
                <a:gd name="connsiteY91" fmla="*/ 942665 h 2172635"/>
                <a:gd name="connsiteX92" fmla="*/ 1382327 w 1756200"/>
                <a:gd name="connsiteY92" fmla="*/ 839119 h 2172635"/>
                <a:gd name="connsiteX93" fmla="*/ 1382612 w 1756200"/>
                <a:gd name="connsiteY93" fmla="*/ 837012 h 2172635"/>
                <a:gd name="connsiteX94" fmla="*/ 1443383 w 1756200"/>
                <a:gd name="connsiteY94" fmla="*/ 404367 h 2172635"/>
                <a:gd name="connsiteX95" fmla="*/ 1474947 w 1756200"/>
                <a:gd name="connsiteY95" fmla="*/ 400492 h 2172635"/>
                <a:gd name="connsiteX96" fmla="*/ 1643764 w 1756200"/>
                <a:gd name="connsiteY96" fmla="*/ 184116 h 2172635"/>
                <a:gd name="connsiteX97" fmla="*/ 1692681 w 1756200"/>
                <a:gd name="connsiteY97" fmla="*/ 167924 h 2172635"/>
                <a:gd name="connsiteX98" fmla="*/ 1756201 w 1756200"/>
                <a:gd name="connsiteY98" fmla="*/ 0 h 2172635"/>
                <a:gd name="connsiteX99" fmla="*/ 700438 w 1756200"/>
                <a:gd name="connsiteY99" fmla="*/ 0 h 2172635"/>
                <a:gd name="connsiteX100" fmla="*/ 654556 w 1756200"/>
                <a:gd name="connsiteY100" fmla="*/ 63181 h 2172635"/>
                <a:gd name="connsiteX101" fmla="*/ 522106 w 1756200"/>
                <a:gd name="connsiteY101" fmla="*/ 244780 h 217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756200" h="2172635">
                  <a:moveTo>
                    <a:pt x="522106" y="244780"/>
                  </a:moveTo>
                  <a:lnTo>
                    <a:pt x="521696" y="245084"/>
                  </a:lnTo>
                  <a:lnTo>
                    <a:pt x="436395" y="307247"/>
                  </a:lnTo>
                  <a:lnTo>
                    <a:pt x="436180" y="307354"/>
                  </a:lnTo>
                  <a:lnTo>
                    <a:pt x="359431" y="347434"/>
                  </a:lnTo>
                  <a:lnTo>
                    <a:pt x="297214" y="427182"/>
                  </a:lnTo>
                  <a:lnTo>
                    <a:pt x="296714" y="427486"/>
                  </a:lnTo>
                  <a:lnTo>
                    <a:pt x="191150" y="492077"/>
                  </a:lnTo>
                  <a:lnTo>
                    <a:pt x="190918" y="492167"/>
                  </a:lnTo>
                  <a:lnTo>
                    <a:pt x="123006" y="520945"/>
                  </a:lnTo>
                  <a:lnTo>
                    <a:pt x="41865" y="601854"/>
                  </a:lnTo>
                  <a:lnTo>
                    <a:pt x="44204" y="704473"/>
                  </a:lnTo>
                  <a:lnTo>
                    <a:pt x="0" y="761120"/>
                  </a:lnTo>
                  <a:lnTo>
                    <a:pt x="18549" y="829692"/>
                  </a:lnTo>
                  <a:lnTo>
                    <a:pt x="18549" y="829978"/>
                  </a:lnTo>
                  <a:lnTo>
                    <a:pt x="38437" y="1075633"/>
                  </a:lnTo>
                  <a:lnTo>
                    <a:pt x="38277" y="1076204"/>
                  </a:lnTo>
                  <a:lnTo>
                    <a:pt x="2732" y="1203673"/>
                  </a:lnTo>
                  <a:lnTo>
                    <a:pt x="15122" y="1304292"/>
                  </a:lnTo>
                  <a:lnTo>
                    <a:pt x="31278" y="1353155"/>
                  </a:lnTo>
                  <a:lnTo>
                    <a:pt x="56522" y="1391306"/>
                  </a:lnTo>
                  <a:lnTo>
                    <a:pt x="70090" y="1419871"/>
                  </a:lnTo>
                  <a:lnTo>
                    <a:pt x="92710" y="1437670"/>
                  </a:lnTo>
                  <a:lnTo>
                    <a:pt x="116525" y="1465414"/>
                  </a:lnTo>
                  <a:lnTo>
                    <a:pt x="139502" y="1483373"/>
                  </a:lnTo>
                  <a:lnTo>
                    <a:pt x="139788" y="1483820"/>
                  </a:lnTo>
                  <a:lnTo>
                    <a:pt x="164800" y="1521525"/>
                  </a:lnTo>
                  <a:lnTo>
                    <a:pt x="197506" y="1547126"/>
                  </a:lnTo>
                  <a:lnTo>
                    <a:pt x="326028" y="1531362"/>
                  </a:lnTo>
                  <a:lnTo>
                    <a:pt x="333723" y="1509742"/>
                  </a:lnTo>
                  <a:lnTo>
                    <a:pt x="354647" y="1507189"/>
                  </a:lnTo>
                  <a:lnTo>
                    <a:pt x="381354" y="1472983"/>
                  </a:lnTo>
                  <a:lnTo>
                    <a:pt x="391513" y="1471733"/>
                  </a:lnTo>
                  <a:lnTo>
                    <a:pt x="417685" y="1438170"/>
                  </a:lnTo>
                  <a:lnTo>
                    <a:pt x="436716" y="1425530"/>
                  </a:lnTo>
                  <a:lnTo>
                    <a:pt x="463924" y="1390646"/>
                  </a:lnTo>
                  <a:lnTo>
                    <a:pt x="474046" y="1389414"/>
                  </a:lnTo>
                  <a:lnTo>
                    <a:pt x="491845" y="1366598"/>
                  </a:lnTo>
                  <a:lnTo>
                    <a:pt x="502539" y="1365277"/>
                  </a:lnTo>
                  <a:lnTo>
                    <a:pt x="521606" y="1352655"/>
                  </a:lnTo>
                  <a:lnTo>
                    <a:pt x="540655" y="1350316"/>
                  </a:lnTo>
                  <a:lnTo>
                    <a:pt x="547939" y="1329803"/>
                  </a:lnTo>
                  <a:lnTo>
                    <a:pt x="603586" y="1281922"/>
                  </a:lnTo>
                  <a:lnTo>
                    <a:pt x="621903" y="1174252"/>
                  </a:lnTo>
                  <a:lnTo>
                    <a:pt x="680443" y="1189730"/>
                  </a:lnTo>
                  <a:lnTo>
                    <a:pt x="701973" y="1280440"/>
                  </a:lnTo>
                  <a:lnTo>
                    <a:pt x="747587" y="1306684"/>
                  </a:lnTo>
                  <a:lnTo>
                    <a:pt x="722665" y="1362903"/>
                  </a:lnTo>
                  <a:lnTo>
                    <a:pt x="766476" y="1552553"/>
                  </a:lnTo>
                  <a:lnTo>
                    <a:pt x="766476" y="1552732"/>
                  </a:lnTo>
                  <a:lnTo>
                    <a:pt x="777598" y="1643156"/>
                  </a:lnTo>
                  <a:lnTo>
                    <a:pt x="801271" y="1670739"/>
                  </a:lnTo>
                  <a:lnTo>
                    <a:pt x="815017" y="1699660"/>
                  </a:lnTo>
                  <a:lnTo>
                    <a:pt x="838012" y="1717656"/>
                  </a:lnTo>
                  <a:lnTo>
                    <a:pt x="838315" y="1718584"/>
                  </a:lnTo>
                  <a:lnTo>
                    <a:pt x="854472" y="1767555"/>
                  </a:lnTo>
                  <a:lnTo>
                    <a:pt x="878323" y="1795352"/>
                  </a:lnTo>
                  <a:lnTo>
                    <a:pt x="891017" y="1814418"/>
                  </a:lnTo>
                  <a:lnTo>
                    <a:pt x="916154" y="1852391"/>
                  </a:lnTo>
                  <a:lnTo>
                    <a:pt x="941683" y="1882098"/>
                  </a:lnTo>
                  <a:lnTo>
                    <a:pt x="889267" y="1961079"/>
                  </a:lnTo>
                  <a:lnTo>
                    <a:pt x="968373" y="2105080"/>
                  </a:lnTo>
                  <a:lnTo>
                    <a:pt x="965802" y="2164923"/>
                  </a:lnTo>
                  <a:lnTo>
                    <a:pt x="1024449" y="2167458"/>
                  </a:lnTo>
                  <a:lnTo>
                    <a:pt x="1075348" y="2161227"/>
                  </a:lnTo>
                  <a:lnTo>
                    <a:pt x="1075794" y="2161299"/>
                  </a:lnTo>
                  <a:lnTo>
                    <a:pt x="1147705" y="2172635"/>
                  </a:lnTo>
                  <a:lnTo>
                    <a:pt x="1181411" y="2140197"/>
                  </a:lnTo>
                  <a:lnTo>
                    <a:pt x="1144170" y="2084014"/>
                  </a:lnTo>
                  <a:lnTo>
                    <a:pt x="1159059" y="2027617"/>
                  </a:lnTo>
                  <a:lnTo>
                    <a:pt x="1208137" y="2011389"/>
                  </a:lnTo>
                  <a:lnTo>
                    <a:pt x="1212154" y="1957741"/>
                  </a:lnTo>
                  <a:lnTo>
                    <a:pt x="1360582" y="1991179"/>
                  </a:lnTo>
                  <a:lnTo>
                    <a:pt x="1396306" y="1700696"/>
                  </a:lnTo>
                  <a:lnTo>
                    <a:pt x="1422728" y="1666811"/>
                  </a:lnTo>
                  <a:lnTo>
                    <a:pt x="1414337" y="1598381"/>
                  </a:lnTo>
                  <a:lnTo>
                    <a:pt x="1378060" y="1570013"/>
                  </a:lnTo>
                  <a:lnTo>
                    <a:pt x="1435867" y="1520329"/>
                  </a:lnTo>
                  <a:lnTo>
                    <a:pt x="1437189" y="1452113"/>
                  </a:lnTo>
                  <a:lnTo>
                    <a:pt x="1373650" y="1439206"/>
                  </a:lnTo>
                  <a:lnTo>
                    <a:pt x="1377935" y="1382184"/>
                  </a:lnTo>
                  <a:lnTo>
                    <a:pt x="1517044" y="1334035"/>
                  </a:lnTo>
                  <a:lnTo>
                    <a:pt x="1557749" y="1259017"/>
                  </a:lnTo>
                  <a:lnTo>
                    <a:pt x="1540985" y="1208315"/>
                  </a:lnTo>
                  <a:lnTo>
                    <a:pt x="1609468" y="1168414"/>
                  </a:lnTo>
                  <a:lnTo>
                    <a:pt x="1631570" y="1106108"/>
                  </a:lnTo>
                  <a:lnTo>
                    <a:pt x="1618341" y="1078275"/>
                  </a:lnTo>
                  <a:lnTo>
                    <a:pt x="1605416" y="1058780"/>
                  </a:lnTo>
                  <a:lnTo>
                    <a:pt x="1604184" y="1048604"/>
                  </a:lnTo>
                  <a:lnTo>
                    <a:pt x="1566443" y="991653"/>
                  </a:lnTo>
                  <a:lnTo>
                    <a:pt x="1552339" y="961928"/>
                  </a:lnTo>
                  <a:lnTo>
                    <a:pt x="1549983" y="942665"/>
                  </a:lnTo>
                  <a:lnTo>
                    <a:pt x="1382327" y="839119"/>
                  </a:lnTo>
                  <a:lnTo>
                    <a:pt x="1382612" y="837012"/>
                  </a:lnTo>
                  <a:lnTo>
                    <a:pt x="1443383" y="404367"/>
                  </a:lnTo>
                  <a:lnTo>
                    <a:pt x="1474947" y="400492"/>
                  </a:lnTo>
                  <a:lnTo>
                    <a:pt x="1643764" y="184116"/>
                  </a:lnTo>
                  <a:lnTo>
                    <a:pt x="1692681" y="167924"/>
                  </a:lnTo>
                  <a:lnTo>
                    <a:pt x="1756201" y="0"/>
                  </a:lnTo>
                  <a:lnTo>
                    <a:pt x="700438" y="0"/>
                  </a:lnTo>
                  <a:lnTo>
                    <a:pt x="654556" y="63181"/>
                  </a:lnTo>
                  <a:lnTo>
                    <a:pt x="522106" y="244780"/>
                  </a:lnTo>
                  <a:close/>
                </a:path>
              </a:pathLst>
            </a:custGeom>
            <a:noFill/>
            <a:ln w="1785" cap="flat">
              <a:noFill/>
              <a:prstDash val="solid"/>
              <a:miter/>
            </a:ln>
          </p:spPr>
          <p:txBody>
            <a:bodyPr rtlCol="0" anchor="ctr"/>
            <a:lstStyle/>
            <a:p>
              <a:endParaRPr lang="de-AT"/>
            </a:p>
          </p:txBody>
        </p:sp>
        <p:sp>
          <p:nvSpPr>
            <p:cNvPr id="139" name="Freihandform: Form 138">
              <a:extLst>
                <a:ext uri="{FF2B5EF4-FFF2-40B4-BE49-F238E27FC236}">
                  <a16:creationId xmlns:a16="http://schemas.microsoft.com/office/drawing/2014/main" id="{459D3276-6E75-4070-9A01-2658DBE2E003}"/>
                </a:ext>
              </a:extLst>
            </p:cNvPr>
            <p:cNvSpPr/>
            <p:nvPr/>
          </p:nvSpPr>
          <p:spPr>
            <a:xfrm>
              <a:off x="9629200" y="6211182"/>
              <a:ext cx="65591" cy="79105"/>
            </a:xfrm>
            <a:custGeom>
              <a:avLst/>
              <a:gdLst>
                <a:gd name="connsiteX0" fmla="*/ 28457 w 65591"/>
                <a:gd name="connsiteY0" fmla="*/ 63520 h 79105"/>
                <a:gd name="connsiteX1" fmla="*/ 53487 w 65591"/>
                <a:gd name="connsiteY1" fmla="*/ 35420 h 79105"/>
                <a:gd name="connsiteX2" fmla="*/ 59236 w 65591"/>
                <a:gd name="connsiteY2" fmla="*/ 22066 h 79105"/>
                <a:gd name="connsiteX3" fmla="*/ 65591 w 65591"/>
                <a:gd name="connsiteY3" fmla="*/ 4535 h 79105"/>
                <a:gd name="connsiteX4" fmla="*/ 48327 w 65591"/>
                <a:gd name="connsiteY4" fmla="*/ 0 h 79105"/>
                <a:gd name="connsiteX5" fmla="*/ 11247 w 65591"/>
                <a:gd name="connsiteY5" fmla="*/ 41722 h 79105"/>
                <a:gd name="connsiteX6" fmla="*/ 0 w 65591"/>
                <a:gd name="connsiteY6" fmla="*/ 66448 h 79105"/>
                <a:gd name="connsiteX7" fmla="*/ 0 w 65591"/>
                <a:gd name="connsiteY7" fmla="*/ 75643 h 79105"/>
                <a:gd name="connsiteX8" fmla="*/ 12336 w 65591"/>
                <a:gd name="connsiteY8" fmla="*/ 79106 h 79105"/>
                <a:gd name="connsiteX9" fmla="*/ 28457 w 65591"/>
                <a:gd name="connsiteY9" fmla="*/ 63520 h 7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91" h="79105">
                  <a:moveTo>
                    <a:pt x="28457" y="63520"/>
                  </a:moveTo>
                  <a:lnTo>
                    <a:pt x="53487" y="35420"/>
                  </a:lnTo>
                  <a:lnTo>
                    <a:pt x="59236" y="22066"/>
                  </a:lnTo>
                  <a:lnTo>
                    <a:pt x="65591" y="4535"/>
                  </a:lnTo>
                  <a:lnTo>
                    <a:pt x="48327" y="0"/>
                  </a:lnTo>
                  <a:lnTo>
                    <a:pt x="11247" y="41722"/>
                  </a:lnTo>
                  <a:lnTo>
                    <a:pt x="0" y="66448"/>
                  </a:lnTo>
                  <a:lnTo>
                    <a:pt x="0" y="75643"/>
                  </a:lnTo>
                  <a:lnTo>
                    <a:pt x="12336" y="79106"/>
                  </a:lnTo>
                  <a:lnTo>
                    <a:pt x="28457" y="63520"/>
                  </a:lnTo>
                  <a:close/>
                </a:path>
              </a:pathLst>
            </a:custGeom>
            <a:noFill/>
            <a:ln w="1785" cap="flat">
              <a:noFill/>
              <a:prstDash val="solid"/>
              <a:miter/>
            </a:ln>
          </p:spPr>
          <p:txBody>
            <a:bodyPr rtlCol="0" anchor="ctr"/>
            <a:lstStyle/>
            <a:p>
              <a:endParaRPr lang="de-AT"/>
            </a:p>
          </p:txBody>
        </p:sp>
        <p:sp>
          <p:nvSpPr>
            <p:cNvPr id="141" name="Freihandform: Form 140">
              <a:extLst>
                <a:ext uri="{FF2B5EF4-FFF2-40B4-BE49-F238E27FC236}">
                  <a16:creationId xmlns:a16="http://schemas.microsoft.com/office/drawing/2014/main" id="{F5D048AD-8A7C-453B-BC10-B4C1DBAADA1E}"/>
                </a:ext>
              </a:extLst>
            </p:cNvPr>
            <p:cNvSpPr/>
            <p:nvPr/>
          </p:nvSpPr>
          <p:spPr>
            <a:xfrm>
              <a:off x="3173921" y="-16722"/>
              <a:ext cx="9037476" cy="6886852"/>
            </a:xfrm>
            <a:custGeom>
              <a:avLst/>
              <a:gdLst>
                <a:gd name="connsiteX0" fmla="*/ 4917723 w 9037476"/>
                <a:gd name="connsiteY0" fmla="*/ 230462 h 6886852"/>
                <a:gd name="connsiteX1" fmla="*/ 4825102 w 9037476"/>
                <a:gd name="connsiteY1" fmla="*/ 263311 h 6886852"/>
                <a:gd name="connsiteX2" fmla="*/ 4807588 w 9037476"/>
                <a:gd name="connsiteY2" fmla="*/ 365876 h 6886852"/>
                <a:gd name="connsiteX3" fmla="*/ 4822585 w 9037476"/>
                <a:gd name="connsiteY3" fmla="*/ 404813 h 6886852"/>
                <a:gd name="connsiteX4" fmla="*/ 4822585 w 9037476"/>
                <a:gd name="connsiteY4" fmla="*/ 405206 h 6886852"/>
                <a:gd name="connsiteX5" fmla="*/ 4832511 w 9037476"/>
                <a:gd name="connsiteY5" fmla="*/ 486025 h 6886852"/>
                <a:gd name="connsiteX6" fmla="*/ 4890604 w 9037476"/>
                <a:gd name="connsiteY6" fmla="*/ 623278 h 6886852"/>
                <a:gd name="connsiteX7" fmla="*/ 4890604 w 9037476"/>
                <a:gd name="connsiteY7" fmla="*/ 623724 h 6886852"/>
                <a:gd name="connsiteX8" fmla="*/ 4900977 w 9037476"/>
                <a:gd name="connsiteY8" fmla="*/ 708168 h 6886852"/>
                <a:gd name="connsiteX9" fmla="*/ 4871288 w 9037476"/>
                <a:gd name="connsiteY9" fmla="*/ 711739 h 6886852"/>
                <a:gd name="connsiteX10" fmla="*/ 4917473 w 9037476"/>
                <a:gd name="connsiteY10" fmla="*/ 845224 h 6886852"/>
                <a:gd name="connsiteX11" fmla="*/ 4982029 w 9037476"/>
                <a:gd name="connsiteY11" fmla="*/ 877734 h 6886852"/>
                <a:gd name="connsiteX12" fmla="*/ 5083450 w 9037476"/>
                <a:gd name="connsiteY12" fmla="*/ 918903 h 6886852"/>
                <a:gd name="connsiteX13" fmla="*/ 5037586 w 9037476"/>
                <a:gd name="connsiteY13" fmla="*/ 977692 h 6886852"/>
                <a:gd name="connsiteX14" fmla="*/ 5049423 w 9037476"/>
                <a:gd name="connsiteY14" fmla="*/ 1002686 h 6886852"/>
                <a:gd name="connsiteX15" fmla="*/ 5105213 w 9037476"/>
                <a:gd name="connsiteY15" fmla="*/ 986172 h 6886852"/>
                <a:gd name="connsiteX16" fmla="*/ 5151737 w 9037476"/>
                <a:gd name="connsiteY16" fmla="*/ 913904 h 6886852"/>
                <a:gd name="connsiteX17" fmla="*/ 5172608 w 9037476"/>
                <a:gd name="connsiteY17" fmla="*/ 991278 h 6886852"/>
                <a:gd name="connsiteX18" fmla="*/ 5176964 w 9037476"/>
                <a:gd name="connsiteY18" fmla="*/ 1026662 h 6886852"/>
                <a:gd name="connsiteX19" fmla="*/ 5623802 w 9037476"/>
                <a:gd name="connsiteY19" fmla="*/ 724361 h 6886852"/>
                <a:gd name="connsiteX20" fmla="*/ 5624445 w 9037476"/>
                <a:gd name="connsiteY20" fmla="*/ 729609 h 6886852"/>
                <a:gd name="connsiteX21" fmla="*/ 5658597 w 9037476"/>
                <a:gd name="connsiteY21" fmla="*/ 1007560 h 6886852"/>
                <a:gd name="connsiteX22" fmla="*/ 5500921 w 9037476"/>
                <a:gd name="connsiteY22" fmla="*/ 1005882 h 6886852"/>
                <a:gd name="connsiteX23" fmla="*/ 5267567 w 9037476"/>
                <a:gd name="connsiteY23" fmla="*/ 1106286 h 6886852"/>
                <a:gd name="connsiteX24" fmla="*/ 5233360 w 9037476"/>
                <a:gd name="connsiteY24" fmla="*/ 1150115 h 6886852"/>
                <a:gd name="connsiteX25" fmla="*/ 5267727 w 9037476"/>
                <a:gd name="connsiteY25" fmla="*/ 1347567 h 6886852"/>
                <a:gd name="connsiteX26" fmla="*/ 5305111 w 9037476"/>
                <a:gd name="connsiteY26" fmla="*/ 1342997 h 6886852"/>
                <a:gd name="connsiteX27" fmla="*/ 5398821 w 9037476"/>
                <a:gd name="connsiteY27" fmla="*/ 1320734 h 6886852"/>
                <a:gd name="connsiteX28" fmla="*/ 5402534 w 9037476"/>
                <a:gd name="connsiteY28" fmla="*/ 1437277 h 6886852"/>
                <a:gd name="connsiteX29" fmla="*/ 5420244 w 9037476"/>
                <a:gd name="connsiteY29" fmla="*/ 1497263 h 6886852"/>
                <a:gd name="connsiteX30" fmla="*/ 5420137 w 9037476"/>
                <a:gd name="connsiteY30" fmla="*/ 1497959 h 6886852"/>
                <a:gd name="connsiteX31" fmla="*/ 5403248 w 9037476"/>
                <a:gd name="connsiteY31" fmla="*/ 1615681 h 6886852"/>
                <a:gd name="connsiteX32" fmla="*/ 5298720 w 9037476"/>
                <a:gd name="connsiteY32" fmla="*/ 1639229 h 6886852"/>
                <a:gd name="connsiteX33" fmla="*/ 5223184 w 9037476"/>
                <a:gd name="connsiteY33" fmla="*/ 1533701 h 6886852"/>
                <a:gd name="connsiteX34" fmla="*/ 5158325 w 9037476"/>
                <a:gd name="connsiteY34" fmla="*/ 1491818 h 6886852"/>
                <a:gd name="connsiteX35" fmla="*/ 5074792 w 9037476"/>
                <a:gd name="connsiteY35" fmla="*/ 1541984 h 6886852"/>
                <a:gd name="connsiteX36" fmla="*/ 5007772 w 9037476"/>
                <a:gd name="connsiteY36" fmla="*/ 1744364 h 6886852"/>
                <a:gd name="connsiteX37" fmla="*/ 5017627 w 9037476"/>
                <a:gd name="connsiteY37" fmla="*/ 1824595 h 6886852"/>
                <a:gd name="connsiteX38" fmla="*/ 5067133 w 9037476"/>
                <a:gd name="connsiteY38" fmla="*/ 1974219 h 6886852"/>
                <a:gd name="connsiteX39" fmla="*/ 5066508 w 9037476"/>
                <a:gd name="connsiteY39" fmla="*/ 1975433 h 6886852"/>
                <a:gd name="connsiteX40" fmla="*/ 4958356 w 9037476"/>
                <a:gd name="connsiteY40" fmla="*/ 2184632 h 6886852"/>
                <a:gd name="connsiteX41" fmla="*/ 4933004 w 9037476"/>
                <a:gd name="connsiteY41" fmla="*/ 2228872 h 6886852"/>
                <a:gd name="connsiteX42" fmla="*/ 4902655 w 9037476"/>
                <a:gd name="connsiteY42" fmla="*/ 2314137 h 6886852"/>
                <a:gd name="connsiteX43" fmla="*/ 4905440 w 9037476"/>
                <a:gd name="connsiteY43" fmla="*/ 2336863 h 6886852"/>
                <a:gd name="connsiteX44" fmla="*/ 4778685 w 9037476"/>
                <a:gd name="connsiteY44" fmla="*/ 2352396 h 6886852"/>
                <a:gd name="connsiteX45" fmla="*/ 4717985 w 9037476"/>
                <a:gd name="connsiteY45" fmla="*/ 2277414 h 6886852"/>
                <a:gd name="connsiteX46" fmla="*/ 4568736 w 9037476"/>
                <a:gd name="connsiteY46" fmla="*/ 2295713 h 6886852"/>
                <a:gd name="connsiteX47" fmla="*/ 4523479 w 9037476"/>
                <a:gd name="connsiteY47" fmla="*/ 2342130 h 6886852"/>
                <a:gd name="connsiteX48" fmla="*/ 4475401 w 9037476"/>
                <a:gd name="connsiteY48" fmla="*/ 2368588 h 6886852"/>
                <a:gd name="connsiteX49" fmla="*/ 4430769 w 9037476"/>
                <a:gd name="connsiteY49" fmla="*/ 2425717 h 6886852"/>
                <a:gd name="connsiteX50" fmla="*/ 4182364 w 9037476"/>
                <a:gd name="connsiteY50" fmla="*/ 2518552 h 6886852"/>
                <a:gd name="connsiteX51" fmla="*/ 4089155 w 9037476"/>
                <a:gd name="connsiteY51" fmla="*/ 2464993 h 6886852"/>
                <a:gd name="connsiteX52" fmla="*/ 4116862 w 9037476"/>
                <a:gd name="connsiteY52" fmla="*/ 2429770 h 6886852"/>
                <a:gd name="connsiteX53" fmla="*/ 4093386 w 9037476"/>
                <a:gd name="connsiteY53" fmla="*/ 2394403 h 6886852"/>
                <a:gd name="connsiteX54" fmla="*/ 4045023 w 9037476"/>
                <a:gd name="connsiteY54" fmla="*/ 2372873 h 6886852"/>
                <a:gd name="connsiteX55" fmla="*/ 4050628 w 9037476"/>
                <a:gd name="connsiteY55" fmla="*/ 2418362 h 6886852"/>
                <a:gd name="connsiteX56" fmla="*/ 4050628 w 9037476"/>
                <a:gd name="connsiteY56" fmla="*/ 2418754 h 6886852"/>
                <a:gd name="connsiteX57" fmla="*/ 4044808 w 9037476"/>
                <a:gd name="connsiteY57" fmla="*/ 2466314 h 6886852"/>
                <a:gd name="connsiteX58" fmla="*/ 3996231 w 9037476"/>
                <a:gd name="connsiteY58" fmla="*/ 2428359 h 6886852"/>
                <a:gd name="connsiteX59" fmla="*/ 3783015 w 9037476"/>
                <a:gd name="connsiteY59" fmla="*/ 2526175 h 6886852"/>
                <a:gd name="connsiteX60" fmla="*/ 3782497 w 9037476"/>
                <a:gd name="connsiteY60" fmla="*/ 2526175 h 6886852"/>
                <a:gd name="connsiteX61" fmla="*/ 3730724 w 9037476"/>
                <a:gd name="connsiteY61" fmla="*/ 2532531 h 6886852"/>
                <a:gd name="connsiteX62" fmla="*/ 3679843 w 9037476"/>
                <a:gd name="connsiteY62" fmla="*/ 2503234 h 6886852"/>
                <a:gd name="connsiteX63" fmla="*/ 3752040 w 9037476"/>
                <a:gd name="connsiteY63" fmla="*/ 2472581 h 6886852"/>
                <a:gd name="connsiteX64" fmla="*/ 3746559 w 9037476"/>
                <a:gd name="connsiteY64" fmla="*/ 2427949 h 6886852"/>
                <a:gd name="connsiteX65" fmla="*/ 3679575 w 9037476"/>
                <a:gd name="connsiteY65" fmla="*/ 2446105 h 6886852"/>
                <a:gd name="connsiteX66" fmla="*/ 3604076 w 9037476"/>
                <a:gd name="connsiteY66" fmla="*/ 2424146 h 6886852"/>
                <a:gd name="connsiteX67" fmla="*/ 3568888 w 9037476"/>
                <a:gd name="connsiteY67" fmla="*/ 2417005 h 6886852"/>
                <a:gd name="connsiteX68" fmla="*/ 3592275 w 9037476"/>
                <a:gd name="connsiteY68" fmla="*/ 2351039 h 6886852"/>
                <a:gd name="connsiteX69" fmla="*/ 3581563 w 9037476"/>
                <a:gd name="connsiteY69" fmla="*/ 2342701 h 6886852"/>
                <a:gd name="connsiteX70" fmla="*/ 3580224 w 9037476"/>
                <a:gd name="connsiteY70" fmla="*/ 2331793 h 6886852"/>
                <a:gd name="connsiteX71" fmla="*/ 3567549 w 9037476"/>
                <a:gd name="connsiteY71" fmla="*/ 2305121 h 6886852"/>
                <a:gd name="connsiteX72" fmla="*/ 3556534 w 9037476"/>
                <a:gd name="connsiteY72" fmla="*/ 2306460 h 6886852"/>
                <a:gd name="connsiteX73" fmla="*/ 3553802 w 9037476"/>
                <a:gd name="connsiteY73" fmla="*/ 2284269 h 6886852"/>
                <a:gd name="connsiteX74" fmla="*/ 3542412 w 9037476"/>
                <a:gd name="connsiteY74" fmla="*/ 2275343 h 6886852"/>
                <a:gd name="connsiteX75" fmla="*/ 3539841 w 9037476"/>
                <a:gd name="connsiteY75" fmla="*/ 2254401 h 6886852"/>
                <a:gd name="connsiteX76" fmla="*/ 3526826 w 9037476"/>
                <a:gd name="connsiteY76" fmla="*/ 2234763 h 6886852"/>
                <a:gd name="connsiteX77" fmla="*/ 3527166 w 9037476"/>
                <a:gd name="connsiteY77" fmla="*/ 2233371 h 6886852"/>
                <a:gd name="connsiteX78" fmla="*/ 3561836 w 9037476"/>
                <a:gd name="connsiteY78" fmla="*/ 2094440 h 6886852"/>
                <a:gd name="connsiteX79" fmla="*/ 3597452 w 9037476"/>
                <a:gd name="connsiteY79" fmla="*/ 2048790 h 6886852"/>
                <a:gd name="connsiteX80" fmla="*/ 3621143 w 9037476"/>
                <a:gd name="connsiteY80" fmla="*/ 1967007 h 6886852"/>
                <a:gd name="connsiteX81" fmla="*/ 3649440 w 9037476"/>
                <a:gd name="connsiteY81" fmla="*/ 2018566 h 6886852"/>
                <a:gd name="connsiteX82" fmla="*/ 3709657 w 9037476"/>
                <a:gd name="connsiteY82" fmla="*/ 1963222 h 6886852"/>
                <a:gd name="connsiteX83" fmla="*/ 3694500 w 9037476"/>
                <a:gd name="connsiteY83" fmla="*/ 1917465 h 6886852"/>
                <a:gd name="connsiteX84" fmla="*/ 3631373 w 9037476"/>
                <a:gd name="connsiteY84" fmla="*/ 1904664 h 6886852"/>
                <a:gd name="connsiteX85" fmla="*/ 3616341 w 9037476"/>
                <a:gd name="connsiteY85" fmla="*/ 1873047 h 6886852"/>
                <a:gd name="connsiteX86" fmla="*/ 3616501 w 9037476"/>
                <a:gd name="connsiteY86" fmla="*/ 1872029 h 6886852"/>
                <a:gd name="connsiteX87" fmla="*/ 3656385 w 9037476"/>
                <a:gd name="connsiteY87" fmla="*/ 1626857 h 6886852"/>
                <a:gd name="connsiteX88" fmla="*/ 3587026 w 9037476"/>
                <a:gd name="connsiteY88" fmla="*/ 1672899 h 6886852"/>
                <a:gd name="connsiteX89" fmla="*/ 3536235 w 9037476"/>
                <a:gd name="connsiteY89" fmla="*/ 1761538 h 6886852"/>
                <a:gd name="connsiteX90" fmla="*/ 3535735 w 9037476"/>
                <a:gd name="connsiteY90" fmla="*/ 1761931 h 6886852"/>
                <a:gd name="connsiteX91" fmla="*/ 3488050 w 9037476"/>
                <a:gd name="connsiteY91" fmla="*/ 1799154 h 6886852"/>
                <a:gd name="connsiteX92" fmla="*/ 3407141 w 9037476"/>
                <a:gd name="connsiteY92" fmla="*/ 1809098 h 6886852"/>
                <a:gd name="connsiteX93" fmla="*/ 3364294 w 9037476"/>
                <a:gd name="connsiteY93" fmla="*/ 1853016 h 6886852"/>
                <a:gd name="connsiteX94" fmla="*/ 3385861 w 9037476"/>
                <a:gd name="connsiteY94" fmla="*/ 1878117 h 6886852"/>
                <a:gd name="connsiteX95" fmla="*/ 3430493 w 9037476"/>
                <a:gd name="connsiteY95" fmla="*/ 1894042 h 6886852"/>
                <a:gd name="connsiteX96" fmla="*/ 3424351 w 9037476"/>
                <a:gd name="connsiteY96" fmla="*/ 1944173 h 6886852"/>
                <a:gd name="connsiteX97" fmla="*/ 3355189 w 9037476"/>
                <a:gd name="connsiteY97" fmla="*/ 1890079 h 6886852"/>
                <a:gd name="connsiteX98" fmla="*/ 3327446 w 9037476"/>
                <a:gd name="connsiteY98" fmla="*/ 1981664 h 6886852"/>
                <a:gd name="connsiteX99" fmla="*/ 3315949 w 9037476"/>
                <a:gd name="connsiteY99" fmla="*/ 2135198 h 6886852"/>
                <a:gd name="connsiteX100" fmla="*/ 3402910 w 9037476"/>
                <a:gd name="connsiteY100" fmla="*/ 2175885 h 6886852"/>
                <a:gd name="connsiteX101" fmla="*/ 3409337 w 9037476"/>
                <a:gd name="connsiteY101" fmla="*/ 2228193 h 6886852"/>
                <a:gd name="connsiteX102" fmla="*/ 3426975 w 9037476"/>
                <a:gd name="connsiteY102" fmla="*/ 2287893 h 6886852"/>
                <a:gd name="connsiteX103" fmla="*/ 3434474 w 9037476"/>
                <a:gd name="connsiteY103" fmla="*/ 2348843 h 6886852"/>
                <a:gd name="connsiteX104" fmla="*/ 3452505 w 9037476"/>
                <a:gd name="connsiteY104" fmla="*/ 2409899 h 6886852"/>
                <a:gd name="connsiteX105" fmla="*/ 3434313 w 9037476"/>
                <a:gd name="connsiteY105" fmla="*/ 2433108 h 6886852"/>
                <a:gd name="connsiteX106" fmla="*/ 3431707 w 9037476"/>
                <a:gd name="connsiteY106" fmla="*/ 2494879 h 6886852"/>
                <a:gd name="connsiteX107" fmla="*/ 3431474 w 9037476"/>
                <a:gd name="connsiteY107" fmla="*/ 2495415 h 6886852"/>
                <a:gd name="connsiteX108" fmla="*/ 3374720 w 9037476"/>
                <a:gd name="connsiteY108" fmla="*/ 2627740 h 6886852"/>
                <a:gd name="connsiteX109" fmla="*/ 3319537 w 9037476"/>
                <a:gd name="connsiteY109" fmla="*/ 2634506 h 6886852"/>
                <a:gd name="connsiteX110" fmla="*/ 3303148 w 9037476"/>
                <a:gd name="connsiteY110" fmla="*/ 2584964 h 6886852"/>
                <a:gd name="connsiteX111" fmla="*/ 3196317 w 9037476"/>
                <a:gd name="connsiteY111" fmla="*/ 2598068 h 6886852"/>
                <a:gd name="connsiteX112" fmla="*/ 3174608 w 9037476"/>
                <a:gd name="connsiteY112" fmla="*/ 2672907 h 6886852"/>
                <a:gd name="connsiteX113" fmla="*/ 3172484 w 9037476"/>
                <a:gd name="connsiteY113" fmla="*/ 2673157 h 6886852"/>
                <a:gd name="connsiteX114" fmla="*/ 3038141 w 9037476"/>
                <a:gd name="connsiteY114" fmla="*/ 2689635 h 6886852"/>
                <a:gd name="connsiteX115" fmla="*/ 3023216 w 9037476"/>
                <a:gd name="connsiteY115" fmla="*/ 2650823 h 6886852"/>
                <a:gd name="connsiteX116" fmla="*/ 2939825 w 9037476"/>
                <a:gd name="connsiteY116" fmla="*/ 2680405 h 6886852"/>
                <a:gd name="connsiteX117" fmla="*/ 2946966 w 9037476"/>
                <a:gd name="connsiteY117" fmla="*/ 2738267 h 6886852"/>
                <a:gd name="connsiteX118" fmla="*/ 2975103 w 9037476"/>
                <a:gd name="connsiteY118" fmla="*/ 2797466 h 6886852"/>
                <a:gd name="connsiteX119" fmla="*/ 2950609 w 9037476"/>
                <a:gd name="connsiteY119" fmla="*/ 2866485 h 6886852"/>
                <a:gd name="connsiteX120" fmla="*/ 2901674 w 9037476"/>
                <a:gd name="connsiteY120" fmla="*/ 2849061 h 6886852"/>
                <a:gd name="connsiteX121" fmla="*/ 2915956 w 9037476"/>
                <a:gd name="connsiteY121" fmla="*/ 2794949 h 6886852"/>
                <a:gd name="connsiteX122" fmla="*/ 2882839 w 9037476"/>
                <a:gd name="connsiteY122" fmla="*/ 2769009 h 6886852"/>
                <a:gd name="connsiteX123" fmla="*/ 2855221 w 9037476"/>
                <a:gd name="connsiteY123" fmla="*/ 2710898 h 6886852"/>
                <a:gd name="connsiteX124" fmla="*/ 2826960 w 9037476"/>
                <a:gd name="connsiteY124" fmla="*/ 2696616 h 6886852"/>
                <a:gd name="connsiteX125" fmla="*/ 2787987 w 9037476"/>
                <a:gd name="connsiteY125" fmla="*/ 2873823 h 6886852"/>
                <a:gd name="connsiteX126" fmla="*/ 2740588 w 9037476"/>
                <a:gd name="connsiteY126" fmla="*/ 2910850 h 6886852"/>
                <a:gd name="connsiteX127" fmla="*/ 2689475 w 9037476"/>
                <a:gd name="connsiteY127" fmla="*/ 3000114 h 6886852"/>
                <a:gd name="connsiteX128" fmla="*/ 2612101 w 9037476"/>
                <a:gd name="connsiteY128" fmla="*/ 3029857 h 6886852"/>
                <a:gd name="connsiteX129" fmla="*/ 2615279 w 9037476"/>
                <a:gd name="connsiteY129" fmla="*/ 3055654 h 6886852"/>
                <a:gd name="connsiteX130" fmla="*/ 2745605 w 9037476"/>
                <a:gd name="connsiteY130" fmla="*/ 3090199 h 6886852"/>
                <a:gd name="connsiteX131" fmla="*/ 2574628 w 9037476"/>
                <a:gd name="connsiteY131" fmla="*/ 3086771 h 6886852"/>
                <a:gd name="connsiteX132" fmla="*/ 2367660 w 9037476"/>
                <a:gd name="connsiteY132" fmla="*/ 3153184 h 6886852"/>
                <a:gd name="connsiteX133" fmla="*/ 2322028 w 9037476"/>
                <a:gd name="connsiteY133" fmla="*/ 3188890 h 6886852"/>
                <a:gd name="connsiteX134" fmla="*/ 2295142 w 9037476"/>
                <a:gd name="connsiteY134" fmla="*/ 3305879 h 6886852"/>
                <a:gd name="connsiteX135" fmla="*/ 2293839 w 9037476"/>
                <a:gd name="connsiteY135" fmla="*/ 3306575 h 6886852"/>
                <a:gd name="connsiteX136" fmla="*/ 2091602 w 9037476"/>
                <a:gd name="connsiteY136" fmla="*/ 3413692 h 6886852"/>
                <a:gd name="connsiteX137" fmla="*/ 2068268 w 9037476"/>
                <a:gd name="connsiteY137" fmla="*/ 3454325 h 6886852"/>
                <a:gd name="connsiteX138" fmla="*/ 2151498 w 9037476"/>
                <a:gd name="connsiteY138" fmla="*/ 3499672 h 6886852"/>
                <a:gd name="connsiteX139" fmla="*/ 2059663 w 9037476"/>
                <a:gd name="connsiteY139" fmla="*/ 3510919 h 6886852"/>
                <a:gd name="connsiteX140" fmla="*/ 2059056 w 9037476"/>
                <a:gd name="connsiteY140" fmla="*/ 3510758 h 6886852"/>
                <a:gd name="connsiteX141" fmla="*/ 1843465 w 9037476"/>
                <a:gd name="connsiteY141" fmla="*/ 3453629 h 6886852"/>
                <a:gd name="connsiteX142" fmla="*/ 1852392 w 9037476"/>
                <a:gd name="connsiteY142" fmla="*/ 3360973 h 6886852"/>
                <a:gd name="connsiteX143" fmla="*/ 1815579 w 9037476"/>
                <a:gd name="connsiteY143" fmla="*/ 3365472 h 6886852"/>
                <a:gd name="connsiteX144" fmla="*/ 1747292 w 9037476"/>
                <a:gd name="connsiteY144" fmla="*/ 3364151 h 6886852"/>
                <a:gd name="connsiteX145" fmla="*/ 1811509 w 9037476"/>
                <a:gd name="connsiteY145" fmla="*/ 3634835 h 6886852"/>
                <a:gd name="connsiteX146" fmla="*/ 1742436 w 9037476"/>
                <a:gd name="connsiteY146" fmla="*/ 3631800 h 6886852"/>
                <a:gd name="connsiteX147" fmla="*/ 1737652 w 9037476"/>
                <a:gd name="connsiteY147" fmla="*/ 3592881 h 6886852"/>
                <a:gd name="connsiteX148" fmla="*/ 1680523 w 9037476"/>
                <a:gd name="connsiteY148" fmla="*/ 3620071 h 6886852"/>
                <a:gd name="connsiteX149" fmla="*/ 1654422 w 9037476"/>
                <a:gd name="connsiteY149" fmla="*/ 3572565 h 6886852"/>
                <a:gd name="connsiteX150" fmla="*/ 1596989 w 9037476"/>
                <a:gd name="connsiteY150" fmla="*/ 3621999 h 6886852"/>
                <a:gd name="connsiteX151" fmla="*/ 1584099 w 9037476"/>
                <a:gd name="connsiteY151" fmla="*/ 3517149 h 6886852"/>
                <a:gd name="connsiteX152" fmla="*/ 1524989 w 9037476"/>
                <a:gd name="connsiteY152" fmla="*/ 3514614 h 6886852"/>
                <a:gd name="connsiteX153" fmla="*/ 1475429 w 9037476"/>
                <a:gd name="connsiteY153" fmla="*/ 3520684 h 6886852"/>
                <a:gd name="connsiteX154" fmla="*/ 1425691 w 9037476"/>
                <a:gd name="connsiteY154" fmla="*/ 3559497 h 6886852"/>
                <a:gd name="connsiteX155" fmla="*/ 1410374 w 9037476"/>
                <a:gd name="connsiteY155" fmla="*/ 3519524 h 6886852"/>
                <a:gd name="connsiteX156" fmla="*/ 1364581 w 9037476"/>
                <a:gd name="connsiteY156" fmla="*/ 3544696 h 6886852"/>
                <a:gd name="connsiteX157" fmla="*/ 1363635 w 9037476"/>
                <a:gd name="connsiteY157" fmla="*/ 3544696 h 6886852"/>
                <a:gd name="connsiteX158" fmla="*/ 1314736 w 9037476"/>
                <a:gd name="connsiteY158" fmla="*/ 3541001 h 6886852"/>
                <a:gd name="connsiteX159" fmla="*/ 1294830 w 9037476"/>
                <a:gd name="connsiteY159" fmla="*/ 3702676 h 6886852"/>
                <a:gd name="connsiteX160" fmla="*/ 1345782 w 9037476"/>
                <a:gd name="connsiteY160" fmla="*/ 3716209 h 6886852"/>
                <a:gd name="connsiteX161" fmla="*/ 1346193 w 9037476"/>
                <a:gd name="connsiteY161" fmla="*/ 3716458 h 6886852"/>
                <a:gd name="connsiteX162" fmla="*/ 1570210 w 9037476"/>
                <a:gd name="connsiteY162" fmla="*/ 3854782 h 6886852"/>
                <a:gd name="connsiteX163" fmla="*/ 1570513 w 9037476"/>
                <a:gd name="connsiteY163" fmla="*/ 3856103 h 6886852"/>
                <a:gd name="connsiteX164" fmla="*/ 1592472 w 9037476"/>
                <a:gd name="connsiteY164" fmla="*/ 3953526 h 6886852"/>
                <a:gd name="connsiteX165" fmla="*/ 1677148 w 9037476"/>
                <a:gd name="connsiteY165" fmla="*/ 3943154 h 6886852"/>
                <a:gd name="connsiteX166" fmla="*/ 1649244 w 9037476"/>
                <a:gd name="connsiteY166" fmla="*/ 3991785 h 6886852"/>
                <a:gd name="connsiteX167" fmla="*/ 1775268 w 9037476"/>
                <a:gd name="connsiteY167" fmla="*/ 4347163 h 6886852"/>
                <a:gd name="connsiteX168" fmla="*/ 1658813 w 9037476"/>
                <a:gd name="connsiteY168" fmla="*/ 4743960 h 6886852"/>
                <a:gd name="connsiteX169" fmla="*/ 1636390 w 9037476"/>
                <a:gd name="connsiteY169" fmla="*/ 4821334 h 6886852"/>
                <a:gd name="connsiteX170" fmla="*/ 1384665 w 9037476"/>
                <a:gd name="connsiteY170" fmla="*/ 4800268 h 6886852"/>
                <a:gd name="connsiteX171" fmla="*/ 1323716 w 9037476"/>
                <a:gd name="connsiteY171" fmla="*/ 4818299 h 6886852"/>
                <a:gd name="connsiteX172" fmla="*/ 1286225 w 9037476"/>
                <a:gd name="connsiteY172" fmla="*/ 4779184 h 6886852"/>
                <a:gd name="connsiteX173" fmla="*/ 1283886 w 9037476"/>
                <a:gd name="connsiteY173" fmla="*/ 4760063 h 6886852"/>
                <a:gd name="connsiteX174" fmla="*/ 778383 w 9037476"/>
                <a:gd name="connsiteY174" fmla="*/ 4657553 h 6886852"/>
                <a:gd name="connsiteX175" fmla="*/ 686191 w 9037476"/>
                <a:gd name="connsiteY175" fmla="*/ 4576215 h 6886852"/>
                <a:gd name="connsiteX176" fmla="*/ 522142 w 9037476"/>
                <a:gd name="connsiteY176" fmla="*/ 4565825 h 6886852"/>
                <a:gd name="connsiteX177" fmla="*/ 476688 w 9037476"/>
                <a:gd name="connsiteY177" fmla="*/ 4590819 h 6886852"/>
                <a:gd name="connsiteX178" fmla="*/ 486008 w 9037476"/>
                <a:gd name="connsiteY178" fmla="*/ 4666443 h 6886852"/>
                <a:gd name="connsiteX179" fmla="*/ 425397 w 9037476"/>
                <a:gd name="connsiteY179" fmla="*/ 4628952 h 6886852"/>
                <a:gd name="connsiteX180" fmla="*/ 285110 w 9037476"/>
                <a:gd name="connsiteY180" fmla="*/ 4636093 h 6886852"/>
                <a:gd name="connsiteX181" fmla="*/ 262597 w 9037476"/>
                <a:gd name="connsiteY181" fmla="*/ 4686813 h 6886852"/>
                <a:gd name="connsiteX182" fmla="*/ 297482 w 9037476"/>
                <a:gd name="connsiteY182" fmla="*/ 4723108 h 6886852"/>
                <a:gd name="connsiteX183" fmla="*/ 296089 w 9037476"/>
                <a:gd name="connsiteY183" fmla="*/ 4794269 h 6886852"/>
                <a:gd name="connsiteX184" fmla="*/ 350094 w 9037476"/>
                <a:gd name="connsiteY184" fmla="*/ 4808552 h 6886852"/>
                <a:gd name="connsiteX185" fmla="*/ 349112 w 9037476"/>
                <a:gd name="connsiteY185" fmla="*/ 4811765 h 6886852"/>
                <a:gd name="connsiteX186" fmla="*/ 224053 w 9037476"/>
                <a:gd name="connsiteY186" fmla="*/ 5219077 h 6886852"/>
                <a:gd name="connsiteX187" fmla="*/ 224053 w 9037476"/>
                <a:gd name="connsiteY187" fmla="*/ 5219202 h 6886852"/>
                <a:gd name="connsiteX188" fmla="*/ 176743 w 9037476"/>
                <a:gd name="connsiteY188" fmla="*/ 5338638 h 6886852"/>
                <a:gd name="connsiteX189" fmla="*/ 176636 w 9037476"/>
                <a:gd name="connsiteY189" fmla="*/ 5338834 h 6886852"/>
                <a:gd name="connsiteX190" fmla="*/ 125541 w 9037476"/>
                <a:gd name="connsiteY190" fmla="*/ 5427973 h 6886852"/>
                <a:gd name="connsiteX191" fmla="*/ 125291 w 9037476"/>
                <a:gd name="connsiteY191" fmla="*/ 5428241 h 6886852"/>
                <a:gd name="connsiteX192" fmla="*/ 70733 w 9037476"/>
                <a:gd name="connsiteY192" fmla="*/ 5486423 h 6886852"/>
                <a:gd name="connsiteX193" fmla="*/ 35831 w 9037476"/>
                <a:gd name="connsiteY193" fmla="*/ 5531145 h 6886852"/>
                <a:gd name="connsiteX194" fmla="*/ 27297 w 9037476"/>
                <a:gd name="connsiteY194" fmla="*/ 5620070 h 6886852"/>
                <a:gd name="connsiteX195" fmla="*/ 81748 w 9037476"/>
                <a:gd name="connsiteY195" fmla="*/ 5613393 h 6886852"/>
                <a:gd name="connsiteX196" fmla="*/ 42847 w 9037476"/>
                <a:gd name="connsiteY196" fmla="*/ 5663220 h 6886852"/>
                <a:gd name="connsiteX197" fmla="*/ 76160 w 9037476"/>
                <a:gd name="connsiteY197" fmla="*/ 5705924 h 6886852"/>
                <a:gd name="connsiteX198" fmla="*/ 119614 w 9037476"/>
                <a:gd name="connsiteY198" fmla="*/ 5676967 h 6886852"/>
                <a:gd name="connsiteX199" fmla="*/ 10890 w 9037476"/>
                <a:gd name="connsiteY199" fmla="*/ 5997746 h 6886852"/>
                <a:gd name="connsiteX200" fmla="*/ 0 w 9037476"/>
                <a:gd name="connsiteY200" fmla="*/ 6066854 h 6886852"/>
                <a:gd name="connsiteX201" fmla="*/ 25547 w 9037476"/>
                <a:gd name="connsiteY201" fmla="*/ 6063730 h 6886852"/>
                <a:gd name="connsiteX202" fmla="*/ 74661 w 9037476"/>
                <a:gd name="connsiteY202" fmla="*/ 6036701 h 6886852"/>
                <a:gd name="connsiteX203" fmla="*/ 216358 w 9037476"/>
                <a:gd name="connsiteY203" fmla="*/ 6101721 h 6886852"/>
                <a:gd name="connsiteX204" fmla="*/ 272631 w 9037476"/>
                <a:gd name="connsiteY204" fmla="*/ 6064373 h 6886852"/>
                <a:gd name="connsiteX205" fmla="*/ 335455 w 9037476"/>
                <a:gd name="connsiteY205" fmla="*/ 6056678 h 6886852"/>
                <a:gd name="connsiteX206" fmla="*/ 336454 w 9037476"/>
                <a:gd name="connsiteY206" fmla="*/ 6057339 h 6886852"/>
                <a:gd name="connsiteX207" fmla="*/ 494523 w 9037476"/>
                <a:gd name="connsiteY207" fmla="*/ 6162528 h 6886852"/>
                <a:gd name="connsiteX208" fmla="*/ 540941 w 9037476"/>
                <a:gd name="connsiteY208" fmla="*/ 6372316 h 6886852"/>
                <a:gd name="connsiteX209" fmla="*/ 591732 w 9037476"/>
                <a:gd name="connsiteY209" fmla="*/ 6376155 h 6886852"/>
                <a:gd name="connsiteX210" fmla="*/ 626849 w 9037476"/>
                <a:gd name="connsiteY210" fmla="*/ 6412735 h 6886852"/>
                <a:gd name="connsiteX211" fmla="*/ 715488 w 9037476"/>
                <a:gd name="connsiteY211" fmla="*/ 6401863 h 6886852"/>
                <a:gd name="connsiteX212" fmla="*/ 789470 w 9037476"/>
                <a:gd name="connsiteY212" fmla="*/ 6330612 h 6886852"/>
                <a:gd name="connsiteX213" fmla="*/ 791005 w 9037476"/>
                <a:gd name="connsiteY213" fmla="*/ 6330791 h 6886852"/>
                <a:gd name="connsiteX214" fmla="*/ 1083792 w 9037476"/>
                <a:gd name="connsiteY214" fmla="*/ 6367050 h 6886852"/>
                <a:gd name="connsiteX215" fmla="*/ 1176841 w 9037476"/>
                <a:gd name="connsiteY215" fmla="*/ 6376119 h 6886852"/>
                <a:gd name="connsiteX216" fmla="*/ 1226721 w 9037476"/>
                <a:gd name="connsiteY216" fmla="*/ 6359587 h 6886852"/>
                <a:gd name="connsiteX217" fmla="*/ 1270140 w 9037476"/>
                <a:gd name="connsiteY217" fmla="*/ 6375030 h 6886852"/>
                <a:gd name="connsiteX218" fmla="*/ 1288564 w 9037476"/>
                <a:gd name="connsiteY218" fmla="*/ 6372781 h 6886852"/>
                <a:gd name="connsiteX219" fmla="*/ 1445026 w 9037476"/>
                <a:gd name="connsiteY219" fmla="*/ 6219389 h 6886852"/>
                <a:gd name="connsiteX220" fmla="*/ 1518222 w 9037476"/>
                <a:gd name="connsiteY220" fmla="*/ 6220817 h 6886852"/>
                <a:gd name="connsiteX221" fmla="*/ 1589277 w 9037476"/>
                <a:gd name="connsiteY221" fmla="*/ 6202964 h 6886852"/>
                <a:gd name="connsiteX222" fmla="*/ 1560926 w 9037476"/>
                <a:gd name="connsiteY222" fmla="*/ 6188682 h 6886852"/>
                <a:gd name="connsiteX223" fmla="*/ 1641086 w 9037476"/>
                <a:gd name="connsiteY223" fmla="*/ 6061606 h 6886852"/>
                <a:gd name="connsiteX224" fmla="*/ 1751452 w 9037476"/>
                <a:gd name="connsiteY224" fmla="*/ 6037826 h 6886852"/>
                <a:gd name="connsiteX225" fmla="*/ 1791960 w 9037476"/>
                <a:gd name="connsiteY225" fmla="*/ 5974805 h 6886852"/>
                <a:gd name="connsiteX226" fmla="*/ 1728083 w 9037476"/>
                <a:gd name="connsiteY226" fmla="*/ 5942670 h 6886852"/>
                <a:gd name="connsiteX227" fmla="*/ 1727690 w 9037476"/>
                <a:gd name="connsiteY227" fmla="*/ 5941331 h 6886852"/>
                <a:gd name="connsiteX228" fmla="*/ 1691984 w 9037476"/>
                <a:gd name="connsiteY228" fmla="*/ 5820450 h 6886852"/>
                <a:gd name="connsiteX229" fmla="*/ 1849928 w 9037476"/>
                <a:gd name="connsiteY229" fmla="*/ 5582418 h 6886852"/>
                <a:gd name="connsiteX230" fmla="*/ 1851142 w 9037476"/>
                <a:gd name="connsiteY230" fmla="*/ 5582115 h 6886852"/>
                <a:gd name="connsiteX231" fmla="*/ 1929266 w 9037476"/>
                <a:gd name="connsiteY231" fmla="*/ 5562476 h 6886852"/>
                <a:gd name="connsiteX232" fmla="*/ 1958616 w 9037476"/>
                <a:gd name="connsiteY232" fmla="*/ 5465982 h 6886852"/>
                <a:gd name="connsiteX233" fmla="*/ 1960491 w 9037476"/>
                <a:gd name="connsiteY233" fmla="*/ 5465589 h 6886852"/>
                <a:gd name="connsiteX234" fmla="*/ 2190185 w 9037476"/>
                <a:gd name="connsiteY234" fmla="*/ 5416922 h 6886852"/>
                <a:gd name="connsiteX235" fmla="*/ 2234442 w 9037476"/>
                <a:gd name="connsiteY235" fmla="*/ 5360168 h 6886852"/>
                <a:gd name="connsiteX236" fmla="*/ 2235228 w 9037476"/>
                <a:gd name="connsiteY236" fmla="*/ 5359847 h 6886852"/>
                <a:gd name="connsiteX237" fmla="*/ 2370909 w 9037476"/>
                <a:gd name="connsiteY237" fmla="*/ 5302343 h 6886852"/>
                <a:gd name="connsiteX238" fmla="*/ 2400831 w 9037476"/>
                <a:gd name="connsiteY238" fmla="*/ 5218042 h 6886852"/>
                <a:gd name="connsiteX239" fmla="*/ 2388334 w 9037476"/>
                <a:gd name="connsiteY239" fmla="*/ 5032640 h 6886852"/>
                <a:gd name="connsiteX240" fmla="*/ 2564131 w 9037476"/>
                <a:gd name="connsiteY240" fmla="*/ 4927059 h 6886852"/>
                <a:gd name="connsiteX241" fmla="*/ 2741320 w 9037476"/>
                <a:gd name="connsiteY241" fmla="*/ 5009896 h 6886852"/>
                <a:gd name="connsiteX242" fmla="*/ 2766314 w 9037476"/>
                <a:gd name="connsiteY242" fmla="*/ 5047601 h 6886852"/>
                <a:gd name="connsiteX243" fmla="*/ 2900710 w 9037476"/>
                <a:gd name="connsiteY243" fmla="*/ 5071631 h 6886852"/>
                <a:gd name="connsiteX244" fmla="*/ 3256927 w 9037476"/>
                <a:gd name="connsiteY244" fmla="*/ 4884266 h 6886852"/>
                <a:gd name="connsiteX245" fmla="*/ 3327857 w 9037476"/>
                <a:gd name="connsiteY245" fmla="*/ 4781397 h 6886852"/>
                <a:gd name="connsiteX246" fmla="*/ 3330267 w 9037476"/>
                <a:gd name="connsiteY246" fmla="*/ 4782362 h 6886852"/>
                <a:gd name="connsiteX247" fmla="*/ 3548071 w 9037476"/>
                <a:gd name="connsiteY247" fmla="*/ 4869680 h 6886852"/>
                <a:gd name="connsiteX248" fmla="*/ 3548625 w 9037476"/>
                <a:gd name="connsiteY248" fmla="*/ 4870769 h 6886852"/>
                <a:gd name="connsiteX249" fmla="*/ 3670845 w 9037476"/>
                <a:gd name="connsiteY249" fmla="*/ 5112960 h 6886852"/>
                <a:gd name="connsiteX250" fmla="*/ 3865441 w 9037476"/>
                <a:gd name="connsiteY250" fmla="*/ 5274314 h 6886852"/>
                <a:gd name="connsiteX251" fmla="*/ 3865566 w 9037476"/>
                <a:gd name="connsiteY251" fmla="*/ 5274439 h 6886852"/>
                <a:gd name="connsiteX252" fmla="*/ 4018797 w 9037476"/>
                <a:gd name="connsiteY252" fmla="*/ 5431133 h 6886852"/>
                <a:gd name="connsiteX253" fmla="*/ 4112935 w 9037476"/>
                <a:gd name="connsiteY253" fmla="*/ 5540732 h 6886852"/>
                <a:gd name="connsiteX254" fmla="*/ 4159156 w 9037476"/>
                <a:gd name="connsiteY254" fmla="*/ 5504598 h 6886852"/>
                <a:gd name="connsiteX255" fmla="*/ 4161048 w 9037476"/>
                <a:gd name="connsiteY255" fmla="*/ 5505669 h 6886852"/>
                <a:gd name="connsiteX256" fmla="*/ 4385512 w 9037476"/>
                <a:gd name="connsiteY256" fmla="*/ 5634780 h 6886852"/>
                <a:gd name="connsiteX257" fmla="*/ 4363589 w 9037476"/>
                <a:gd name="connsiteY257" fmla="*/ 5672985 h 6886852"/>
                <a:gd name="connsiteX258" fmla="*/ 4445498 w 9037476"/>
                <a:gd name="connsiteY258" fmla="*/ 5634031 h 6886852"/>
                <a:gd name="connsiteX259" fmla="*/ 4469617 w 9037476"/>
                <a:gd name="connsiteY259" fmla="*/ 5745629 h 6886852"/>
                <a:gd name="connsiteX260" fmla="*/ 4520229 w 9037476"/>
                <a:gd name="connsiteY260" fmla="*/ 5739434 h 6886852"/>
                <a:gd name="connsiteX261" fmla="*/ 4540064 w 9037476"/>
                <a:gd name="connsiteY261" fmla="*/ 5818200 h 6886852"/>
                <a:gd name="connsiteX262" fmla="*/ 4616421 w 9037476"/>
                <a:gd name="connsiteY262" fmla="*/ 5778335 h 6886852"/>
                <a:gd name="connsiteX263" fmla="*/ 4668747 w 9037476"/>
                <a:gd name="connsiteY263" fmla="*/ 5857351 h 6886852"/>
                <a:gd name="connsiteX264" fmla="*/ 4749692 w 9037476"/>
                <a:gd name="connsiteY264" fmla="*/ 6012582 h 6886852"/>
                <a:gd name="connsiteX265" fmla="*/ 4749692 w 9037476"/>
                <a:gd name="connsiteY265" fmla="*/ 6012742 h 6886852"/>
                <a:gd name="connsiteX266" fmla="*/ 4765759 w 9037476"/>
                <a:gd name="connsiteY266" fmla="*/ 6054768 h 6886852"/>
                <a:gd name="connsiteX267" fmla="*/ 4670318 w 9037476"/>
                <a:gd name="connsiteY267" fmla="*/ 6107273 h 6886852"/>
                <a:gd name="connsiteX268" fmla="*/ 4693312 w 9037476"/>
                <a:gd name="connsiteY268" fmla="*/ 6134052 h 6886852"/>
                <a:gd name="connsiteX269" fmla="*/ 4658321 w 9037476"/>
                <a:gd name="connsiteY269" fmla="*/ 6190878 h 6886852"/>
                <a:gd name="connsiteX270" fmla="*/ 4665462 w 9037476"/>
                <a:gd name="connsiteY270" fmla="*/ 6248935 h 6886852"/>
                <a:gd name="connsiteX271" fmla="*/ 4695312 w 9037476"/>
                <a:gd name="connsiteY271" fmla="*/ 6263985 h 6886852"/>
                <a:gd name="connsiteX272" fmla="*/ 4740980 w 9037476"/>
                <a:gd name="connsiteY272" fmla="*/ 6238849 h 6886852"/>
                <a:gd name="connsiteX273" fmla="*/ 4818675 w 9037476"/>
                <a:gd name="connsiteY273" fmla="*/ 6033541 h 6886852"/>
                <a:gd name="connsiteX274" fmla="*/ 4858648 w 9037476"/>
                <a:gd name="connsiteY274" fmla="*/ 6007048 h 6886852"/>
                <a:gd name="connsiteX275" fmla="*/ 4898585 w 9037476"/>
                <a:gd name="connsiteY275" fmla="*/ 6012011 h 6886852"/>
                <a:gd name="connsiteX276" fmla="*/ 4915634 w 9037476"/>
                <a:gd name="connsiteY276" fmla="*/ 5911820 h 6886852"/>
                <a:gd name="connsiteX277" fmla="*/ 4781024 w 9037476"/>
                <a:gd name="connsiteY277" fmla="*/ 5824859 h 6886852"/>
                <a:gd name="connsiteX278" fmla="*/ 4845294 w 9037476"/>
                <a:gd name="connsiteY278" fmla="*/ 5657489 h 6886852"/>
                <a:gd name="connsiteX279" fmla="*/ 5029517 w 9037476"/>
                <a:gd name="connsiteY279" fmla="*/ 5698229 h 6886852"/>
                <a:gd name="connsiteX280" fmla="*/ 5070918 w 9037476"/>
                <a:gd name="connsiteY280" fmla="*/ 5785244 h 6886852"/>
                <a:gd name="connsiteX281" fmla="*/ 5116067 w 9037476"/>
                <a:gd name="connsiteY281" fmla="*/ 5779709 h 6886852"/>
                <a:gd name="connsiteX282" fmla="*/ 5105356 w 9037476"/>
                <a:gd name="connsiteY282" fmla="*/ 5692409 h 6886852"/>
                <a:gd name="connsiteX283" fmla="*/ 5033356 w 9037476"/>
                <a:gd name="connsiteY283" fmla="*/ 5600003 h 6886852"/>
                <a:gd name="connsiteX284" fmla="*/ 4960641 w 9037476"/>
                <a:gd name="connsiteY284" fmla="*/ 5588542 h 6886852"/>
                <a:gd name="connsiteX285" fmla="*/ 4960230 w 9037476"/>
                <a:gd name="connsiteY285" fmla="*/ 5588363 h 6886852"/>
                <a:gd name="connsiteX286" fmla="*/ 4641379 w 9037476"/>
                <a:gd name="connsiteY286" fmla="*/ 5440613 h 6886852"/>
                <a:gd name="connsiteX287" fmla="*/ 4646949 w 9037476"/>
                <a:gd name="connsiteY287" fmla="*/ 5395731 h 6886852"/>
                <a:gd name="connsiteX288" fmla="*/ 4672175 w 9037476"/>
                <a:gd name="connsiteY288" fmla="*/ 5351742 h 6886852"/>
                <a:gd name="connsiteX289" fmla="*/ 4671372 w 9037476"/>
                <a:gd name="connsiteY289" fmla="*/ 5345315 h 6886852"/>
                <a:gd name="connsiteX290" fmla="*/ 4559274 w 9037476"/>
                <a:gd name="connsiteY290" fmla="*/ 5338780 h 6886852"/>
                <a:gd name="connsiteX291" fmla="*/ 4558649 w 9037476"/>
                <a:gd name="connsiteY291" fmla="*/ 5338441 h 6886852"/>
                <a:gd name="connsiteX292" fmla="*/ 4248402 w 9037476"/>
                <a:gd name="connsiteY292" fmla="*/ 5169482 h 6886852"/>
                <a:gd name="connsiteX293" fmla="*/ 4194433 w 9037476"/>
                <a:gd name="connsiteY293" fmla="*/ 4980867 h 6886852"/>
                <a:gd name="connsiteX294" fmla="*/ 4121236 w 9037476"/>
                <a:gd name="connsiteY294" fmla="*/ 4969298 h 6886852"/>
                <a:gd name="connsiteX295" fmla="*/ 4105579 w 9037476"/>
                <a:gd name="connsiteY295" fmla="*/ 4928701 h 6886852"/>
                <a:gd name="connsiteX296" fmla="*/ 3936763 w 9037476"/>
                <a:gd name="connsiteY296" fmla="*/ 4740943 h 6886852"/>
                <a:gd name="connsiteX297" fmla="*/ 3993803 w 9037476"/>
                <a:gd name="connsiteY297" fmla="*/ 4691794 h 6886852"/>
                <a:gd name="connsiteX298" fmla="*/ 3990393 w 9037476"/>
                <a:gd name="connsiteY298" fmla="*/ 4663979 h 6886852"/>
                <a:gd name="connsiteX299" fmla="*/ 3927908 w 9037476"/>
                <a:gd name="connsiteY299" fmla="*/ 4586588 h 6886852"/>
                <a:gd name="connsiteX300" fmla="*/ 4155532 w 9037476"/>
                <a:gd name="connsiteY300" fmla="*/ 4463564 h 6886852"/>
                <a:gd name="connsiteX301" fmla="*/ 4207519 w 9037476"/>
                <a:gd name="connsiteY301" fmla="*/ 4514426 h 6886852"/>
                <a:gd name="connsiteX302" fmla="*/ 4137143 w 9037476"/>
                <a:gd name="connsiteY302" fmla="*/ 4544258 h 6886852"/>
                <a:gd name="connsiteX303" fmla="*/ 4155157 w 9037476"/>
                <a:gd name="connsiteY303" fmla="*/ 4611010 h 6886852"/>
                <a:gd name="connsiteX304" fmla="*/ 4181025 w 9037476"/>
                <a:gd name="connsiteY304" fmla="*/ 4658124 h 6886852"/>
                <a:gd name="connsiteX305" fmla="*/ 4242939 w 9037476"/>
                <a:gd name="connsiteY305" fmla="*/ 4689277 h 6886852"/>
                <a:gd name="connsiteX306" fmla="*/ 4265862 w 9037476"/>
                <a:gd name="connsiteY306" fmla="*/ 4637646 h 6886852"/>
                <a:gd name="connsiteX307" fmla="*/ 4309655 w 9037476"/>
                <a:gd name="connsiteY307" fmla="*/ 4556934 h 6886852"/>
                <a:gd name="connsiteX308" fmla="*/ 4381692 w 9037476"/>
                <a:gd name="connsiteY308" fmla="*/ 4613295 h 6886852"/>
                <a:gd name="connsiteX309" fmla="*/ 4382013 w 9037476"/>
                <a:gd name="connsiteY309" fmla="*/ 4614027 h 6886852"/>
                <a:gd name="connsiteX310" fmla="*/ 4439142 w 9037476"/>
                <a:gd name="connsiteY310" fmla="*/ 4741978 h 6886852"/>
                <a:gd name="connsiteX311" fmla="*/ 4438981 w 9037476"/>
                <a:gd name="connsiteY311" fmla="*/ 4742925 h 6886852"/>
                <a:gd name="connsiteX312" fmla="*/ 4427645 w 9037476"/>
                <a:gd name="connsiteY312" fmla="*/ 4815264 h 6886852"/>
                <a:gd name="connsiteX313" fmla="*/ 4451818 w 9037476"/>
                <a:gd name="connsiteY313" fmla="*/ 4851773 h 6886852"/>
                <a:gd name="connsiteX314" fmla="*/ 4584750 w 9037476"/>
                <a:gd name="connsiteY314" fmla="*/ 4928273 h 6886852"/>
                <a:gd name="connsiteX315" fmla="*/ 4609565 w 9037476"/>
                <a:gd name="connsiteY315" fmla="*/ 4965603 h 6886852"/>
                <a:gd name="connsiteX316" fmla="*/ 4743176 w 9037476"/>
                <a:gd name="connsiteY316" fmla="*/ 4969727 h 6886852"/>
                <a:gd name="connsiteX317" fmla="*/ 4743925 w 9037476"/>
                <a:gd name="connsiteY317" fmla="*/ 4970209 h 6886852"/>
                <a:gd name="connsiteX318" fmla="*/ 5260015 w 9037476"/>
                <a:gd name="connsiteY318" fmla="*/ 5300254 h 6886852"/>
                <a:gd name="connsiteX319" fmla="*/ 5231843 w 9037476"/>
                <a:gd name="connsiteY319" fmla="*/ 5407067 h 6886852"/>
                <a:gd name="connsiteX320" fmla="*/ 5254606 w 9037476"/>
                <a:gd name="connsiteY320" fmla="*/ 5424920 h 6886852"/>
                <a:gd name="connsiteX321" fmla="*/ 5227469 w 9037476"/>
                <a:gd name="connsiteY321" fmla="*/ 5542928 h 6886852"/>
                <a:gd name="connsiteX322" fmla="*/ 5248553 w 9037476"/>
                <a:gd name="connsiteY322" fmla="*/ 5631835 h 6886852"/>
                <a:gd name="connsiteX323" fmla="*/ 5285937 w 9037476"/>
                <a:gd name="connsiteY323" fmla="*/ 5688196 h 6886852"/>
                <a:gd name="connsiteX324" fmla="*/ 5554069 w 9037476"/>
                <a:gd name="connsiteY324" fmla="*/ 5934887 h 6886852"/>
                <a:gd name="connsiteX325" fmla="*/ 5553676 w 9037476"/>
                <a:gd name="connsiteY325" fmla="*/ 5936672 h 6886852"/>
                <a:gd name="connsiteX326" fmla="*/ 5512168 w 9037476"/>
                <a:gd name="connsiteY326" fmla="*/ 6129964 h 6886852"/>
                <a:gd name="connsiteX327" fmla="*/ 5597987 w 9037476"/>
                <a:gd name="connsiteY327" fmla="*/ 6185843 h 6886852"/>
                <a:gd name="connsiteX328" fmla="*/ 5647421 w 9037476"/>
                <a:gd name="connsiteY328" fmla="*/ 6254130 h 6886852"/>
                <a:gd name="connsiteX329" fmla="*/ 5774444 w 9037476"/>
                <a:gd name="connsiteY329" fmla="*/ 6295817 h 6886852"/>
                <a:gd name="connsiteX330" fmla="*/ 5773087 w 9037476"/>
                <a:gd name="connsiteY330" fmla="*/ 6373459 h 6886852"/>
                <a:gd name="connsiteX331" fmla="*/ 5808454 w 9037476"/>
                <a:gd name="connsiteY331" fmla="*/ 6405201 h 6886852"/>
                <a:gd name="connsiteX332" fmla="*/ 5830913 w 9037476"/>
                <a:gd name="connsiteY332" fmla="*/ 6481700 h 6886852"/>
                <a:gd name="connsiteX333" fmla="*/ 5865958 w 9037476"/>
                <a:gd name="connsiteY333" fmla="*/ 6482308 h 6886852"/>
                <a:gd name="connsiteX334" fmla="*/ 5895343 w 9037476"/>
                <a:gd name="connsiteY334" fmla="*/ 6402845 h 6886852"/>
                <a:gd name="connsiteX335" fmla="*/ 5956204 w 9037476"/>
                <a:gd name="connsiteY335" fmla="*/ 6460991 h 6886852"/>
                <a:gd name="connsiteX336" fmla="*/ 5956347 w 9037476"/>
                <a:gd name="connsiteY336" fmla="*/ 6462116 h 6886852"/>
                <a:gd name="connsiteX337" fmla="*/ 5967059 w 9037476"/>
                <a:gd name="connsiteY337" fmla="*/ 6537633 h 6886852"/>
                <a:gd name="connsiteX338" fmla="*/ 6016564 w 9037476"/>
                <a:gd name="connsiteY338" fmla="*/ 6523744 h 6886852"/>
                <a:gd name="connsiteX339" fmla="*/ 6012530 w 9037476"/>
                <a:gd name="connsiteY339" fmla="*/ 6421019 h 6886852"/>
                <a:gd name="connsiteX340" fmla="*/ 5966344 w 9037476"/>
                <a:gd name="connsiteY340" fmla="*/ 6274483 h 6886852"/>
                <a:gd name="connsiteX341" fmla="*/ 6021385 w 9037476"/>
                <a:gd name="connsiteY341" fmla="*/ 6268823 h 6886852"/>
                <a:gd name="connsiteX342" fmla="*/ 6031186 w 9037476"/>
                <a:gd name="connsiteY342" fmla="*/ 6187450 h 6886852"/>
                <a:gd name="connsiteX343" fmla="*/ 5973557 w 9037476"/>
                <a:gd name="connsiteY343" fmla="*/ 6114236 h 6886852"/>
                <a:gd name="connsiteX344" fmla="*/ 6059589 w 9037476"/>
                <a:gd name="connsiteY344" fmla="*/ 6087171 h 6886852"/>
                <a:gd name="connsiteX345" fmla="*/ 6060839 w 9037476"/>
                <a:gd name="connsiteY345" fmla="*/ 6087903 h 6886852"/>
                <a:gd name="connsiteX346" fmla="*/ 6131162 w 9037476"/>
                <a:gd name="connsiteY346" fmla="*/ 6129393 h 6886852"/>
                <a:gd name="connsiteX347" fmla="*/ 6131162 w 9037476"/>
                <a:gd name="connsiteY347" fmla="*/ 6050948 h 6886852"/>
                <a:gd name="connsiteX348" fmla="*/ 6074033 w 9037476"/>
                <a:gd name="connsiteY348" fmla="*/ 5975055 h 6886852"/>
                <a:gd name="connsiteX349" fmla="*/ 5937512 w 9037476"/>
                <a:gd name="connsiteY349" fmla="*/ 5894467 h 6886852"/>
                <a:gd name="connsiteX350" fmla="*/ 5937084 w 9037476"/>
                <a:gd name="connsiteY350" fmla="*/ 5893628 h 6886852"/>
                <a:gd name="connsiteX351" fmla="*/ 5884293 w 9037476"/>
                <a:gd name="connsiteY351" fmla="*/ 5790261 h 6886852"/>
                <a:gd name="connsiteX352" fmla="*/ 5808329 w 9037476"/>
                <a:gd name="connsiteY352" fmla="*/ 5699515 h 6886852"/>
                <a:gd name="connsiteX353" fmla="*/ 5806543 w 9037476"/>
                <a:gd name="connsiteY353" fmla="*/ 5580383 h 6886852"/>
                <a:gd name="connsiteX354" fmla="*/ 5868314 w 9037476"/>
                <a:gd name="connsiteY354" fmla="*/ 5602627 h 6886852"/>
                <a:gd name="connsiteX355" fmla="*/ 5962113 w 9037476"/>
                <a:gd name="connsiteY355" fmla="*/ 5635227 h 6886852"/>
                <a:gd name="connsiteX356" fmla="*/ 5980555 w 9037476"/>
                <a:gd name="connsiteY356" fmla="*/ 5575330 h 6886852"/>
                <a:gd name="connsiteX357" fmla="*/ 5992552 w 9037476"/>
                <a:gd name="connsiteY357" fmla="*/ 5508275 h 6886852"/>
                <a:gd name="connsiteX358" fmla="*/ 6074568 w 9037476"/>
                <a:gd name="connsiteY358" fmla="*/ 5432936 h 6886852"/>
                <a:gd name="connsiteX359" fmla="*/ 6075121 w 9037476"/>
                <a:gd name="connsiteY359" fmla="*/ 5432704 h 6886852"/>
                <a:gd name="connsiteX360" fmla="*/ 6222140 w 9037476"/>
                <a:gd name="connsiteY360" fmla="*/ 5374843 h 6886852"/>
                <a:gd name="connsiteX361" fmla="*/ 6328364 w 9037476"/>
                <a:gd name="connsiteY361" fmla="*/ 5400676 h 6886852"/>
                <a:gd name="connsiteX362" fmla="*/ 6366569 w 9037476"/>
                <a:gd name="connsiteY362" fmla="*/ 5417047 h 6886852"/>
                <a:gd name="connsiteX363" fmla="*/ 6523674 w 9037476"/>
                <a:gd name="connsiteY363" fmla="*/ 5344583 h 6886852"/>
                <a:gd name="connsiteX364" fmla="*/ 6623649 w 9037476"/>
                <a:gd name="connsiteY364" fmla="*/ 5233038 h 6886852"/>
                <a:gd name="connsiteX365" fmla="*/ 6720430 w 9037476"/>
                <a:gd name="connsiteY365" fmla="*/ 5207312 h 6886852"/>
                <a:gd name="connsiteX366" fmla="*/ 6824190 w 9037476"/>
                <a:gd name="connsiteY366" fmla="*/ 5144828 h 6886852"/>
                <a:gd name="connsiteX367" fmla="*/ 6833599 w 9037476"/>
                <a:gd name="connsiteY367" fmla="*/ 5074880 h 6886852"/>
                <a:gd name="connsiteX368" fmla="*/ 6714931 w 9037476"/>
                <a:gd name="connsiteY368" fmla="*/ 5057259 h 6886852"/>
                <a:gd name="connsiteX369" fmla="*/ 6714164 w 9037476"/>
                <a:gd name="connsiteY369" fmla="*/ 5056367 h 6886852"/>
                <a:gd name="connsiteX370" fmla="*/ 6560343 w 9037476"/>
                <a:gd name="connsiteY370" fmla="*/ 4882569 h 6886852"/>
                <a:gd name="connsiteX371" fmla="*/ 6560343 w 9037476"/>
                <a:gd name="connsiteY371" fmla="*/ 4881266 h 6886852"/>
                <a:gd name="connsiteX372" fmla="*/ 6568538 w 9037476"/>
                <a:gd name="connsiteY372" fmla="*/ 4702916 h 6886852"/>
                <a:gd name="connsiteX373" fmla="*/ 6568966 w 9037476"/>
                <a:gd name="connsiteY373" fmla="*/ 4702220 h 6886852"/>
                <a:gd name="connsiteX374" fmla="*/ 6664658 w 9037476"/>
                <a:gd name="connsiteY374" fmla="*/ 4543330 h 6886852"/>
                <a:gd name="connsiteX375" fmla="*/ 6649358 w 9037476"/>
                <a:gd name="connsiteY375" fmla="*/ 4361445 h 6886852"/>
                <a:gd name="connsiteX376" fmla="*/ 6649518 w 9037476"/>
                <a:gd name="connsiteY376" fmla="*/ 4360874 h 6886852"/>
                <a:gd name="connsiteX377" fmla="*/ 6673245 w 9037476"/>
                <a:gd name="connsiteY377" fmla="*/ 4277858 h 6886852"/>
                <a:gd name="connsiteX378" fmla="*/ 6673513 w 9037476"/>
                <a:gd name="connsiteY378" fmla="*/ 4277430 h 6886852"/>
                <a:gd name="connsiteX379" fmla="*/ 6770632 w 9037476"/>
                <a:gd name="connsiteY379" fmla="*/ 4131751 h 6886852"/>
                <a:gd name="connsiteX380" fmla="*/ 6752904 w 9037476"/>
                <a:gd name="connsiteY380" fmla="*/ 3993677 h 6886852"/>
                <a:gd name="connsiteX381" fmla="*/ 6844454 w 9037476"/>
                <a:gd name="connsiteY381" fmla="*/ 3877259 h 6886852"/>
                <a:gd name="connsiteX382" fmla="*/ 6913455 w 9037476"/>
                <a:gd name="connsiteY382" fmla="*/ 3754306 h 6886852"/>
                <a:gd name="connsiteX383" fmla="*/ 7021554 w 9037476"/>
                <a:gd name="connsiteY383" fmla="*/ 3770035 h 6886852"/>
                <a:gd name="connsiteX384" fmla="*/ 7042423 w 9037476"/>
                <a:gd name="connsiteY384" fmla="*/ 3861495 h 6886852"/>
                <a:gd name="connsiteX385" fmla="*/ 7177355 w 9037476"/>
                <a:gd name="connsiteY385" fmla="*/ 3809722 h 6886852"/>
                <a:gd name="connsiteX386" fmla="*/ 7178141 w 9037476"/>
                <a:gd name="connsiteY386" fmla="*/ 3809811 h 6886852"/>
                <a:gd name="connsiteX387" fmla="*/ 7273850 w 9037476"/>
                <a:gd name="connsiteY387" fmla="*/ 3820112 h 6886852"/>
                <a:gd name="connsiteX388" fmla="*/ 7246820 w 9037476"/>
                <a:gd name="connsiteY388" fmla="*/ 3896736 h 6886852"/>
                <a:gd name="connsiteX389" fmla="*/ 7246463 w 9037476"/>
                <a:gd name="connsiteY389" fmla="*/ 3897183 h 6886852"/>
                <a:gd name="connsiteX390" fmla="*/ 7170874 w 9037476"/>
                <a:gd name="connsiteY390" fmla="*/ 3989642 h 6886852"/>
                <a:gd name="connsiteX391" fmla="*/ 7305860 w 9037476"/>
                <a:gd name="connsiteY391" fmla="*/ 4030615 h 6886852"/>
                <a:gd name="connsiteX392" fmla="*/ 7346725 w 9037476"/>
                <a:gd name="connsiteY392" fmla="*/ 4119540 h 6886852"/>
                <a:gd name="connsiteX393" fmla="*/ 7428241 w 9037476"/>
                <a:gd name="connsiteY393" fmla="*/ 4165118 h 6886852"/>
                <a:gd name="connsiteX394" fmla="*/ 7500009 w 9037476"/>
                <a:gd name="connsiteY394" fmla="*/ 4055216 h 6886852"/>
                <a:gd name="connsiteX395" fmla="*/ 7581115 w 9037476"/>
                <a:gd name="connsiteY395" fmla="*/ 3921177 h 6886852"/>
                <a:gd name="connsiteX396" fmla="*/ 7581257 w 9037476"/>
                <a:gd name="connsiteY396" fmla="*/ 3920998 h 6886852"/>
                <a:gd name="connsiteX397" fmla="*/ 7662434 w 9037476"/>
                <a:gd name="connsiteY397" fmla="*/ 3824075 h 6886852"/>
                <a:gd name="connsiteX398" fmla="*/ 7548908 w 9037476"/>
                <a:gd name="connsiteY398" fmla="*/ 3769499 h 6886852"/>
                <a:gd name="connsiteX399" fmla="*/ 7548623 w 9037476"/>
                <a:gd name="connsiteY399" fmla="*/ 3769249 h 6886852"/>
                <a:gd name="connsiteX400" fmla="*/ 7441417 w 9037476"/>
                <a:gd name="connsiteY400" fmla="*/ 3681949 h 6886852"/>
                <a:gd name="connsiteX401" fmla="*/ 7492832 w 9037476"/>
                <a:gd name="connsiteY401" fmla="*/ 3561639 h 6886852"/>
                <a:gd name="connsiteX402" fmla="*/ 7493350 w 9037476"/>
                <a:gd name="connsiteY402" fmla="*/ 3561175 h 6886852"/>
                <a:gd name="connsiteX403" fmla="*/ 7614946 w 9037476"/>
                <a:gd name="connsiteY403" fmla="*/ 3450059 h 6886852"/>
                <a:gd name="connsiteX404" fmla="*/ 7732614 w 9037476"/>
                <a:gd name="connsiteY404" fmla="*/ 3360170 h 6886852"/>
                <a:gd name="connsiteX405" fmla="*/ 7864279 w 9037476"/>
                <a:gd name="connsiteY405" fmla="*/ 3230594 h 6886852"/>
                <a:gd name="connsiteX406" fmla="*/ 7864653 w 9037476"/>
                <a:gd name="connsiteY406" fmla="*/ 3230380 h 6886852"/>
                <a:gd name="connsiteX407" fmla="*/ 7982482 w 9037476"/>
                <a:gd name="connsiteY407" fmla="*/ 3164824 h 6886852"/>
                <a:gd name="connsiteX408" fmla="*/ 8022240 w 9037476"/>
                <a:gd name="connsiteY408" fmla="*/ 3178160 h 6886852"/>
                <a:gd name="connsiteX409" fmla="*/ 7997157 w 9037476"/>
                <a:gd name="connsiteY409" fmla="*/ 3296614 h 6886852"/>
                <a:gd name="connsiteX410" fmla="*/ 7996389 w 9037476"/>
                <a:gd name="connsiteY410" fmla="*/ 3297310 h 6886852"/>
                <a:gd name="connsiteX411" fmla="*/ 7880810 w 9037476"/>
                <a:gd name="connsiteY411" fmla="*/ 3404052 h 6886852"/>
                <a:gd name="connsiteX412" fmla="*/ 7897931 w 9037476"/>
                <a:gd name="connsiteY412" fmla="*/ 3483176 h 6886852"/>
                <a:gd name="connsiteX413" fmla="*/ 7935779 w 9037476"/>
                <a:gd name="connsiteY413" fmla="*/ 3537163 h 6886852"/>
                <a:gd name="connsiteX414" fmla="*/ 7892932 w 9037476"/>
                <a:gd name="connsiteY414" fmla="*/ 3628480 h 6886852"/>
                <a:gd name="connsiteX415" fmla="*/ 7892683 w 9037476"/>
                <a:gd name="connsiteY415" fmla="*/ 3628783 h 6886852"/>
                <a:gd name="connsiteX416" fmla="*/ 7829341 w 9037476"/>
                <a:gd name="connsiteY416" fmla="*/ 3706443 h 6886852"/>
                <a:gd name="connsiteX417" fmla="*/ 7810238 w 9037476"/>
                <a:gd name="connsiteY417" fmla="*/ 3777855 h 6886852"/>
                <a:gd name="connsiteX418" fmla="*/ 7865207 w 9037476"/>
                <a:gd name="connsiteY418" fmla="*/ 3819862 h 6886852"/>
                <a:gd name="connsiteX419" fmla="*/ 8044449 w 9037476"/>
                <a:gd name="connsiteY419" fmla="*/ 3846641 h 6886852"/>
                <a:gd name="connsiteX420" fmla="*/ 8233279 w 9037476"/>
                <a:gd name="connsiteY420" fmla="*/ 3860477 h 6886852"/>
                <a:gd name="connsiteX421" fmla="*/ 8233885 w 9037476"/>
                <a:gd name="connsiteY421" fmla="*/ 3860781 h 6886852"/>
                <a:gd name="connsiteX422" fmla="*/ 8488306 w 9037476"/>
                <a:gd name="connsiteY422" fmla="*/ 3993052 h 6886852"/>
                <a:gd name="connsiteX423" fmla="*/ 8670137 w 9037476"/>
                <a:gd name="connsiteY423" fmla="*/ 3990446 h 6886852"/>
                <a:gd name="connsiteX424" fmla="*/ 8779557 w 9037476"/>
                <a:gd name="connsiteY424" fmla="*/ 4056108 h 6886852"/>
                <a:gd name="connsiteX425" fmla="*/ 8779914 w 9037476"/>
                <a:gd name="connsiteY425" fmla="*/ 4056519 h 6886852"/>
                <a:gd name="connsiteX426" fmla="*/ 8853450 w 9037476"/>
                <a:gd name="connsiteY426" fmla="*/ 4144623 h 6886852"/>
                <a:gd name="connsiteX427" fmla="*/ 8852521 w 9037476"/>
                <a:gd name="connsiteY427" fmla="*/ 4262684 h 6886852"/>
                <a:gd name="connsiteX428" fmla="*/ 8851790 w 9037476"/>
                <a:gd name="connsiteY428" fmla="*/ 4263558 h 6886852"/>
                <a:gd name="connsiteX429" fmla="*/ 8753777 w 9037476"/>
                <a:gd name="connsiteY429" fmla="*/ 4381084 h 6886852"/>
                <a:gd name="connsiteX430" fmla="*/ 8704843 w 9037476"/>
                <a:gd name="connsiteY430" fmla="*/ 4502233 h 6886852"/>
                <a:gd name="connsiteX431" fmla="*/ 8703736 w 9037476"/>
                <a:gd name="connsiteY431" fmla="*/ 4502768 h 6886852"/>
                <a:gd name="connsiteX432" fmla="*/ 8538366 w 9037476"/>
                <a:gd name="connsiteY432" fmla="*/ 4585070 h 6886852"/>
                <a:gd name="connsiteX433" fmla="*/ 8394257 w 9037476"/>
                <a:gd name="connsiteY433" fmla="*/ 4658177 h 6886852"/>
                <a:gd name="connsiteX434" fmla="*/ 8393454 w 9037476"/>
                <a:gd name="connsiteY434" fmla="*/ 4658177 h 6886852"/>
                <a:gd name="connsiteX435" fmla="*/ 8248275 w 9037476"/>
                <a:gd name="connsiteY435" fmla="*/ 4654928 h 6886852"/>
                <a:gd name="connsiteX436" fmla="*/ 8090991 w 9037476"/>
                <a:gd name="connsiteY436" fmla="*/ 4658177 h 6886852"/>
                <a:gd name="connsiteX437" fmla="*/ 7918569 w 9037476"/>
                <a:gd name="connsiteY437" fmla="*/ 4627256 h 6886852"/>
                <a:gd name="connsiteX438" fmla="*/ 7760000 w 9037476"/>
                <a:gd name="connsiteY438" fmla="*/ 4595317 h 6886852"/>
                <a:gd name="connsiteX439" fmla="*/ 7667041 w 9037476"/>
                <a:gd name="connsiteY439" fmla="*/ 4662980 h 6886852"/>
                <a:gd name="connsiteX440" fmla="*/ 7534483 w 9037476"/>
                <a:gd name="connsiteY440" fmla="*/ 4741532 h 6886852"/>
                <a:gd name="connsiteX441" fmla="*/ 7534287 w 9037476"/>
                <a:gd name="connsiteY441" fmla="*/ 4741532 h 6886852"/>
                <a:gd name="connsiteX442" fmla="*/ 7441845 w 9037476"/>
                <a:gd name="connsiteY442" fmla="*/ 4780987 h 6886852"/>
                <a:gd name="connsiteX443" fmla="*/ 7321231 w 9037476"/>
                <a:gd name="connsiteY443" fmla="*/ 4910687 h 6886852"/>
                <a:gd name="connsiteX444" fmla="*/ 7255033 w 9037476"/>
                <a:gd name="connsiteY444" fmla="*/ 4965781 h 6886852"/>
                <a:gd name="connsiteX445" fmla="*/ 7188192 w 9037476"/>
                <a:gd name="connsiteY445" fmla="*/ 5036854 h 6886852"/>
                <a:gd name="connsiteX446" fmla="*/ 7186853 w 9037476"/>
                <a:gd name="connsiteY446" fmla="*/ 5036854 h 6886852"/>
                <a:gd name="connsiteX447" fmla="*/ 7015269 w 9037476"/>
                <a:gd name="connsiteY447" fmla="*/ 5042102 h 6886852"/>
                <a:gd name="connsiteX448" fmla="*/ 6910205 w 9037476"/>
                <a:gd name="connsiteY448" fmla="*/ 5090590 h 6886852"/>
                <a:gd name="connsiteX449" fmla="*/ 6877677 w 9037476"/>
                <a:gd name="connsiteY449" fmla="*/ 5113210 h 6886852"/>
                <a:gd name="connsiteX450" fmla="*/ 6850416 w 9037476"/>
                <a:gd name="connsiteY450" fmla="*/ 5171286 h 6886852"/>
                <a:gd name="connsiteX451" fmla="*/ 6850416 w 9037476"/>
                <a:gd name="connsiteY451" fmla="*/ 5230878 h 6886852"/>
                <a:gd name="connsiteX452" fmla="*/ 6849916 w 9037476"/>
                <a:gd name="connsiteY452" fmla="*/ 5231663 h 6886852"/>
                <a:gd name="connsiteX453" fmla="*/ 6814032 w 9037476"/>
                <a:gd name="connsiteY453" fmla="*/ 5288543 h 6886852"/>
                <a:gd name="connsiteX454" fmla="*/ 6765062 w 9037476"/>
                <a:gd name="connsiteY454" fmla="*/ 5322070 h 6886852"/>
                <a:gd name="connsiteX455" fmla="*/ 6764687 w 9037476"/>
                <a:gd name="connsiteY455" fmla="*/ 5322195 h 6886852"/>
                <a:gd name="connsiteX456" fmla="*/ 6657998 w 9037476"/>
                <a:gd name="connsiteY456" fmla="*/ 5361204 h 6886852"/>
                <a:gd name="connsiteX457" fmla="*/ 6657802 w 9037476"/>
                <a:gd name="connsiteY457" fmla="*/ 5361204 h 6886852"/>
                <a:gd name="connsiteX458" fmla="*/ 6533582 w 9037476"/>
                <a:gd name="connsiteY458" fmla="*/ 5390018 h 6886852"/>
                <a:gd name="connsiteX459" fmla="*/ 6432178 w 9037476"/>
                <a:gd name="connsiteY459" fmla="*/ 5432758 h 6886852"/>
                <a:gd name="connsiteX460" fmla="*/ 6391116 w 9037476"/>
                <a:gd name="connsiteY460" fmla="*/ 5488102 h 6886852"/>
                <a:gd name="connsiteX461" fmla="*/ 6385761 w 9037476"/>
                <a:gd name="connsiteY461" fmla="*/ 5571831 h 6886852"/>
                <a:gd name="connsiteX462" fmla="*/ 6406238 w 9037476"/>
                <a:gd name="connsiteY462" fmla="*/ 5673485 h 6886852"/>
                <a:gd name="connsiteX463" fmla="*/ 6406238 w 9037476"/>
                <a:gd name="connsiteY463" fmla="*/ 5673860 h 6886852"/>
                <a:gd name="connsiteX464" fmla="*/ 6404988 w 9037476"/>
                <a:gd name="connsiteY464" fmla="*/ 5711012 h 6886852"/>
                <a:gd name="connsiteX465" fmla="*/ 6546293 w 9037476"/>
                <a:gd name="connsiteY465" fmla="*/ 5781102 h 6886852"/>
                <a:gd name="connsiteX466" fmla="*/ 6505018 w 9037476"/>
                <a:gd name="connsiteY466" fmla="*/ 5903483 h 6886852"/>
                <a:gd name="connsiteX467" fmla="*/ 6475025 w 9037476"/>
                <a:gd name="connsiteY467" fmla="*/ 5934119 h 6886852"/>
                <a:gd name="connsiteX468" fmla="*/ 6628291 w 9037476"/>
                <a:gd name="connsiteY468" fmla="*/ 5965040 h 6886852"/>
                <a:gd name="connsiteX469" fmla="*/ 6653428 w 9037476"/>
                <a:gd name="connsiteY469" fmla="*/ 6114378 h 6886852"/>
                <a:gd name="connsiteX470" fmla="*/ 6723215 w 9037476"/>
                <a:gd name="connsiteY470" fmla="*/ 6176757 h 6886852"/>
                <a:gd name="connsiteX471" fmla="*/ 6830600 w 9037476"/>
                <a:gd name="connsiteY471" fmla="*/ 6195323 h 6886852"/>
                <a:gd name="connsiteX472" fmla="*/ 6830600 w 9037476"/>
                <a:gd name="connsiteY472" fmla="*/ 6284195 h 6886852"/>
                <a:gd name="connsiteX473" fmla="*/ 7001059 w 9037476"/>
                <a:gd name="connsiteY473" fmla="*/ 6245526 h 6886852"/>
                <a:gd name="connsiteX474" fmla="*/ 7001594 w 9037476"/>
                <a:gd name="connsiteY474" fmla="*/ 6245526 h 6886852"/>
                <a:gd name="connsiteX475" fmla="*/ 7219399 w 9037476"/>
                <a:gd name="connsiteY475" fmla="*/ 6268413 h 6886852"/>
                <a:gd name="connsiteX476" fmla="*/ 7321159 w 9037476"/>
                <a:gd name="connsiteY476" fmla="*/ 6241080 h 6886852"/>
                <a:gd name="connsiteX477" fmla="*/ 7355633 w 9037476"/>
                <a:gd name="connsiteY477" fmla="*/ 6182577 h 6886852"/>
                <a:gd name="connsiteX478" fmla="*/ 7372861 w 9037476"/>
                <a:gd name="connsiteY478" fmla="*/ 6134874 h 6886852"/>
                <a:gd name="connsiteX479" fmla="*/ 7352795 w 9037476"/>
                <a:gd name="connsiteY479" fmla="*/ 6030685 h 6886852"/>
                <a:gd name="connsiteX480" fmla="*/ 7480496 w 9037476"/>
                <a:gd name="connsiteY480" fmla="*/ 6003370 h 6886852"/>
                <a:gd name="connsiteX481" fmla="*/ 7578776 w 9037476"/>
                <a:gd name="connsiteY481" fmla="*/ 6026935 h 6886852"/>
                <a:gd name="connsiteX482" fmla="*/ 7664237 w 9037476"/>
                <a:gd name="connsiteY482" fmla="*/ 6064426 h 6886852"/>
                <a:gd name="connsiteX483" fmla="*/ 7772265 w 9037476"/>
                <a:gd name="connsiteY483" fmla="*/ 6091956 h 6886852"/>
                <a:gd name="connsiteX484" fmla="*/ 7881738 w 9037476"/>
                <a:gd name="connsiteY484" fmla="*/ 6056964 h 6886852"/>
                <a:gd name="connsiteX485" fmla="*/ 7951846 w 9037476"/>
                <a:gd name="connsiteY485" fmla="*/ 5953257 h 6886852"/>
                <a:gd name="connsiteX486" fmla="*/ 8006905 w 9037476"/>
                <a:gd name="connsiteY486" fmla="*/ 5891254 h 6886852"/>
                <a:gd name="connsiteX487" fmla="*/ 8046913 w 9037476"/>
                <a:gd name="connsiteY487" fmla="*/ 5839249 h 6886852"/>
                <a:gd name="connsiteX488" fmla="*/ 8047110 w 9037476"/>
                <a:gd name="connsiteY488" fmla="*/ 5839070 h 6886852"/>
                <a:gd name="connsiteX489" fmla="*/ 8105559 w 9037476"/>
                <a:gd name="connsiteY489" fmla="*/ 5785030 h 6886852"/>
                <a:gd name="connsiteX490" fmla="*/ 8107041 w 9037476"/>
                <a:gd name="connsiteY490" fmla="*/ 5785208 h 6886852"/>
                <a:gd name="connsiteX491" fmla="*/ 8217729 w 9037476"/>
                <a:gd name="connsiteY491" fmla="*/ 5798794 h 6886852"/>
                <a:gd name="connsiteX492" fmla="*/ 8260986 w 9037476"/>
                <a:gd name="connsiteY492" fmla="*/ 5740469 h 6886852"/>
                <a:gd name="connsiteX493" fmla="*/ 8261325 w 9037476"/>
                <a:gd name="connsiteY493" fmla="*/ 5740201 h 6886852"/>
                <a:gd name="connsiteX494" fmla="*/ 8321132 w 9037476"/>
                <a:gd name="connsiteY494" fmla="*/ 5693052 h 6886852"/>
                <a:gd name="connsiteX495" fmla="*/ 8354874 w 9037476"/>
                <a:gd name="connsiteY495" fmla="*/ 5816486 h 6886852"/>
                <a:gd name="connsiteX496" fmla="*/ 8341610 w 9037476"/>
                <a:gd name="connsiteY496" fmla="*/ 5939510 h 6886852"/>
                <a:gd name="connsiteX497" fmla="*/ 8347501 w 9037476"/>
                <a:gd name="connsiteY497" fmla="*/ 5991498 h 6886852"/>
                <a:gd name="connsiteX498" fmla="*/ 8432070 w 9037476"/>
                <a:gd name="connsiteY498" fmla="*/ 6096990 h 6886852"/>
                <a:gd name="connsiteX499" fmla="*/ 8426893 w 9037476"/>
                <a:gd name="connsiteY499" fmla="*/ 6287587 h 6886852"/>
                <a:gd name="connsiteX500" fmla="*/ 8370352 w 9037476"/>
                <a:gd name="connsiteY500" fmla="*/ 6420858 h 6886852"/>
                <a:gd name="connsiteX501" fmla="*/ 8379154 w 9037476"/>
                <a:gd name="connsiteY501" fmla="*/ 6524905 h 6886852"/>
                <a:gd name="connsiteX502" fmla="*/ 8379154 w 9037476"/>
                <a:gd name="connsiteY502" fmla="*/ 6525262 h 6886852"/>
                <a:gd name="connsiteX503" fmla="*/ 8363729 w 9037476"/>
                <a:gd name="connsiteY503" fmla="*/ 6638805 h 6886852"/>
                <a:gd name="connsiteX504" fmla="*/ 8368067 w 9037476"/>
                <a:gd name="connsiteY504" fmla="*/ 6767649 h 6886852"/>
                <a:gd name="connsiteX505" fmla="*/ 8374013 w 9037476"/>
                <a:gd name="connsiteY505" fmla="*/ 6797517 h 6886852"/>
                <a:gd name="connsiteX506" fmla="*/ 8369585 w 9037476"/>
                <a:gd name="connsiteY506" fmla="*/ 6853700 h 6886852"/>
                <a:gd name="connsiteX507" fmla="*/ 8365693 w 9037476"/>
                <a:gd name="connsiteY507" fmla="*/ 6886853 h 6886852"/>
                <a:gd name="connsiteX508" fmla="*/ 9037477 w 9037476"/>
                <a:gd name="connsiteY508" fmla="*/ 6886853 h 6886852"/>
                <a:gd name="connsiteX509" fmla="*/ 9037477 w 9037476"/>
                <a:gd name="connsiteY509" fmla="*/ 0 h 6886852"/>
                <a:gd name="connsiteX510" fmla="*/ 4982207 w 9037476"/>
                <a:gd name="connsiteY510" fmla="*/ 0 h 6886852"/>
                <a:gd name="connsiteX511" fmla="*/ 4880964 w 9037476"/>
                <a:gd name="connsiteY511" fmla="*/ 201737 h 6886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Lst>
              <a:rect l="l" t="t" r="r" b="b"/>
              <a:pathLst>
                <a:path w="9037476" h="6886852">
                  <a:moveTo>
                    <a:pt x="4917723" y="230462"/>
                  </a:moveTo>
                  <a:lnTo>
                    <a:pt x="4825102" y="263311"/>
                  </a:lnTo>
                  <a:lnTo>
                    <a:pt x="4807588" y="365876"/>
                  </a:lnTo>
                  <a:lnTo>
                    <a:pt x="4822585" y="404813"/>
                  </a:lnTo>
                  <a:lnTo>
                    <a:pt x="4822585" y="405206"/>
                  </a:lnTo>
                  <a:lnTo>
                    <a:pt x="4832511" y="486025"/>
                  </a:lnTo>
                  <a:lnTo>
                    <a:pt x="4890604" y="623278"/>
                  </a:lnTo>
                  <a:lnTo>
                    <a:pt x="4890604" y="623724"/>
                  </a:lnTo>
                  <a:lnTo>
                    <a:pt x="4900977" y="708168"/>
                  </a:lnTo>
                  <a:lnTo>
                    <a:pt x="4871288" y="711739"/>
                  </a:lnTo>
                  <a:lnTo>
                    <a:pt x="4917473" y="845224"/>
                  </a:lnTo>
                  <a:lnTo>
                    <a:pt x="4982029" y="877734"/>
                  </a:lnTo>
                  <a:lnTo>
                    <a:pt x="5083450" y="918903"/>
                  </a:lnTo>
                  <a:lnTo>
                    <a:pt x="5037586" y="977692"/>
                  </a:lnTo>
                  <a:lnTo>
                    <a:pt x="5049423" y="1002686"/>
                  </a:lnTo>
                  <a:lnTo>
                    <a:pt x="5105213" y="986172"/>
                  </a:lnTo>
                  <a:lnTo>
                    <a:pt x="5151737" y="913904"/>
                  </a:lnTo>
                  <a:lnTo>
                    <a:pt x="5172608" y="991278"/>
                  </a:lnTo>
                  <a:lnTo>
                    <a:pt x="5176964" y="1026662"/>
                  </a:lnTo>
                  <a:lnTo>
                    <a:pt x="5623802" y="724361"/>
                  </a:lnTo>
                  <a:lnTo>
                    <a:pt x="5624445" y="729609"/>
                  </a:lnTo>
                  <a:lnTo>
                    <a:pt x="5658597" y="1007560"/>
                  </a:lnTo>
                  <a:lnTo>
                    <a:pt x="5500921" y="1005882"/>
                  </a:lnTo>
                  <a:lnTo>
                    <a:pt x="5267567" y="1106286"/>
                  </a:lnTo>
                  <a:lnTo>
                    <a:pt x="5233360" y="1150115"/>
                  </a:lnTo>
                  <a:lnTo>
                    <a:pt x="5267727" y="1347567"/>
                  </a:lnTo>
                  <a:lnTo>
                    <a:pt x="5305111" y="1342997"/>
                  </a:lnTo>
                  <a:lnTo>
                    <a:pt x="5398821" y="1320734"/>
                  </a:lnTo>
                  <a:lnTo>
                    <a:pt x="5402534" y="1437277"/>
                  </a:lnTo>
                  <a:lnTo>
                    <a:pt x="5420244" y="1497263"/>
                  </a:lnTo>
                  <a:lnTo>
                    <a:pt x="5420137" y="1497959"/>
                  </a:lnTo>
                  <a:lnTo>
                    <a:pt x="5403248" y="1615681"/>
                  </a:lnTo>
                  <a:lnTo>
                    <a:pt x="5298720" y="1639229"/>
                  </a:lnTo>
                  <a:lnTo>
                    <a:pt x="5223184" y="1533701"/>
                  </a:lnTo>
                  <a:lnTo>
                    <a:pt x="5158325" y="1491818"/>
                  </a:lnTo>
                  <a:lnTo>
                    <a:pt x="5074792" y="1541984"/>
                  </a:lnTo>
                  <a:lnTo>
                    <a:pt x="5007772" y="1744364"/>
                  </a:lnTo>
                  <a:lnTo>
                    <a:pt x="5017627" y="1824595"/>
                  </a:lnTo>
                  <a:lnTo>
                    <a:pt x="5067133" y="1974219"/>
                  </a:lnTo>
                  <a:lnTo>
                    <a:pt x="5066508" y="1975433"/>
                  </a:lnTo>
                  <a:lnTo>
                    <a:pt x="4958356" y="2184632"/>
                  </a:lnTo>
                  <a:lnTo>
                    <a:pt x="4933004" y="2228872"/>
                  </a:lnTo>
                  <a:lnTo>
                    <a:pt x="4902655" y="2314137"/>
                  </a:lnTo>
                  <a:lnTo>
                    <a:pt x="4905440" y="2336863"/>
                  </a:lnTo>
                  <a:lnTo>
                    <a:pt x="4778685" y="2352396"/>
                  </a:lnTo>
                  <a:lnTo>
                    <a:pt x="4717985" y="2277414"/>
                  </a:lnTo>
                  <a:lnTo>
                    <a:pt x="4568736" y="2295713"/>
                  </a:lnTo>
                  <a:lnTo>
                    <a:pt x="4523479" y="2342130"/>
                  </a:lnTo>
                  <a:lnTo>
                    <a:pt x="4475401" y="2368588"/>
                  </a:lnTo>
                  <a:lnTo>
                    <a:pt x="4430769" y="2425717"/>
                  </a:lnTo>
                  <a:lnTo>
                    <a:pt x="4182364" y="2518552"/>
                  </a:lnTo>
                  <a:lnTo>
                    <a:pt x="4089155" y="2464993"/>
                  </a:lnTo>
                  <a:lnTo>
                    <a:pt x="4116862" y="2429770"/>
                  </a:lnTo>
                  <a:lnTo>
                    <a:pt x="4093386" y="2394403"/>
                  </a:lnTo>
                  <a:lnTo>
                    <a:pt x="4045023" y="2372873"/>
                  </a:lnTo>
                  <a:lnTo>
                    <a:pt x="4050628" y="2418362"/>
                  </a:lnTo>
                  <a:lnTo>
                    <a:pt x="4050628" y="2418754"/>
                  </a:lnTo>
                  <a:lnTo>
                    <a:pt x="4044808" y="2466314"/>
                  </a:lnTo>
                  <a:lnTo>
                    <a:pt x="3996231" y="2428359"/>
                  </a:lnTo>
                  <a:lnTo>
                    <a:pt x="3783015" y="2526175"/>
                  </a:lnTo>
                  <a:lnTo>
                    <a:pt x="3782497" y="2526175"/>
                  </a:lnTo>
                  <a:lnTo>
                    <a:pt x="3730724" y="2532531"/>
                  </a:lnTo>
                  <a:lnTo>
                    <a:pt x="3679843" y="2503234"/>
                  </a:lnTo>
                  <a:lnTo>
                    <a:pt x="3752040" y="2472581"/>
                  </a:lnTo>
                  <a:lnTo>
                    <a:pt x="3746559" y="2427949"/>
                  </a:lnTo>
                  <a:lnTo>
                    <a:pt x="3679575" y="2446105"/>
                  </a:lnTo>
                  <a:lnTo>
                    <a:pt x="3604076" y="2424146"/>
                  </a:lnTo>
                  <a:lnTo>
                    <a:pt x="3568888" y="2417005"/>
                  </a:lnTo>
                  <a:lnTo>
                    <a:pt x="3592275" y="2351039"/>
                  </a:lnTo>
                  <a:lnTo>
                    <a:pt x="3581563" y="2342701"/>
                  </a:lnTo>
                  <a:lnTo>
                    <a:pt x="3580224" y="2331793"/>
                  </a:lnTo>
                  <a:lnTo>
                    <a:pt x="3567549" y="2305121"/>
                  </a:lnTo>
                  <a:lnTo>
                    <a:pt x="3556534" y="2306460"/>
                  </a:lnTo>
                  <a:lnTo>
                    <a:pt x="3553802" y="2284269"/>
                  </a:lnTo>
                  <a:lnTo>
                    <a:pt x="3542412" y="2275343"/>
                  </a:lnTo>
                  <a:lnTo>
                    <a:pt x="3539841" y="2254401"/>
                  </a:lnTo>
                  <a:lnTo>
                    <a:pt x="3526826" y="2234763"/>
                  </a:lnTo>
                  <a:lnTo>
                    <a:pt x="3527166" y="2233371"/>
                  </a:lnTo>
                  <a:lnTo>
                    <a:pt x="3561836" y="2094440"/>
                  </a:lnTo>
                  <a:lnTo>
                    <a:pt x="3597452" y="2048790"/>
                  </a:lnTo>
                  <a:lnTo>
                    <a:pt x="3621143" y="1967007"/>
                  </a:lnTo>
                  <a:lnTo>
                    <a:pt x="3649440" y="2018566"/>
                  </a:lnTo>
                  <a:lnTo>
                    <a:pt x="3709657" y="1963222"/>
                  </a:lnTo>
                  <a:lnTo>
                    <a:pt x="3694500" y="1917465"/>
                  </a:lnTo>
                  <a:lnTo>
                    <a:pt x="3631373" y="1904664"/>
                  </a:lnTo>
                  <a:lnTo>
                    <a:pt x="3616341" y="1873047"/>
                  </a:lnTo>
                  <a:lnTo>
                    <a:pt x="3616501" y="1872029"/>
                  </a:lnTo>
                  <a:lnTo>
                    <a:pt x="3656385" y="1626857"/>
                  </a:lnTo>
                  <a:lnTo>
                    <a:pt x="3587026" y="1672899"/>
                  </a:lnTo>
                  <a:lnTo>
                    <a:pt x="3536235" y="1761538"/>
                  </a:lnTo>
                  <a:lnTo>
                    <a:pt x="3535735" y="1761931"/>
                  </a:lnTo>
                  <a:lnTo>
                    <a:pt x="3488050" y="1799154"/>
                  </a:lnTo>
                  <a:lnTo>
                    <a:pt x="3407141" y="1809098"/>
                  </a:lnTo>
                  <a:lnTo>
                    <a:pt x="3364294" y="1853016"/>
                  </a:lnTo>
                  <a:lnTo>
                    <a:pt x="3385861" y="1878117"/>
                  </a:lnTo>
                  <a:lnTo>
                    <a:pt x="3430493" y="1894042"/>
                  </a:lnTo>
                  <a:lnTo>
                    <a:pt x="3424351" y="1944173"/>
                  </a:lnTo>
                  <a:lnTo>
                    <a:pt x="3355189" y="1890079"/>
                  </a:lnTo>
                  <a:lnTo>
                    <a:pt x="3327446" y="1981664"/>
                  </a:lnTo>
                  <a:lnTo>
                    <a:pt x="3315949" y="2135198"/>
                  </a:lnTo>
                  <a:lnTo>
                    <a:pt x="3402910" y="2175885"/>
                  </a:lnTo>
                  <a:lnTo>
                    <a:pt x="3409337" y="2228193"/>
                  </a:lnTo>
                  <a:lnTo>
                    <a:pt x="3426975" y="2287893"/>
                  </a:lnTo>
                  <a:lnTo>
                    <a:pt x="3434474" y="2348843"/>
                  </a:lnTo>
                  <a:lnTo>
                    <a:pt x="3452505" y="2409899"/>
                  </a:lnTo>
                  <a:lnTo>
                    <a:pt x="3434313" y="2433108"/>
                  </a:lnTo>
                  <a:lnTo>
                    <a:pt x="3431707" y="2494879"/>
                  </a:lnTo>
                  <a:lnTo>
                    <a:pt x="3431474" y="2495415"/>
                  </a:lnTo>
                  <a:lnTo>
                    <a:pt x="3374720" y="2627740"/>
                  </a:lnTo>
                  <a:lnTo>
                    <a:pt x="3319537" y="2634506"/>
                  </a:lnTo>
                  <a:lnTo>
                    <a:pt x="3303148" y="2584964"/>
                  </a:lnTo>
                  <a:lnTo>
                    <a:pt x="3196317" y="2598068"/>
                  </a:lnTo>
                  <a:lnTo>
                    <a:pt x="3174608" y="2672907"/>
                  </a:lnTo>
                  <a:lnTo>
                    <a:pt x="3172484" y="2673157"/>
                  </a:lnTo>
                  <a:lnTo>
                    <a:pt x="3038141" y="2689635"/>
                  </a:lnTo>
                  <a:lnTo>
                    <a:pt x="3023216" y="2650823"/>
                  </a:lnTo>
                  <a:lnTo>
                    <a:pt x="2939825" y="2680405"/>
                  </a:lnTo>
                  <a:lnTo>
                    <a:pt x="2946966" y="2738267"/>
                  </a:lnTo>
                  <a:lnTo>
                    <a:pt x="2975103" y="2797466"/>
                  </a:lnTo>
                  <a:lnTo>
                    <a:pt x="2950609" y="2866485"/>
                  </a:lnTo>
                  <a:lnTo>
                    <a:pt x="2901674" y="2849061"/>
                  </a:lnTo>
                  <a:lnTo>
                    <a:pt x="2915956" y="2794949"/>
                  </a:lnTo>
                  <a:lnTo>
                    <a:pt x="2882839" y="2769009"/>
                  </a:lnTo>
                  <a:lnTo>
                    <a:pt x="2855221" y="2710898"/>
                  </a:lnTo>
                  <a:lnTo>
                    <a:pt x="2826960" y="2696616"/>
                  </a:lnTo>
                  <a:lnTo>
                    <a:pt x="2787987" y="2873823"/>
                  </a:lnTo>
                  <a:lnTo>
                    <a:pt x="2740588" y="2910850"/>
                  </a:lnTo>
                  <a:lnTo>
                    <a:pt x="2689475" y="3000114"/>
                  </a:lnTo>
                  <a:lnTo>
                    <a:pt x="2612101" y="3029857"/>
                  </a:lnTo>
                  <a:lnTo>
                    <a:pt x="2615279" y="3055654"/>
                  </a:lnTo>
                  <a:lnTo>
                    <a:pt x="2745605" y="3090199"/>
                  </a:lnTo>
                  <a:lnTo>
                    <a:pt x="2574628" y="3086771"/>
                  </a:lnTo>
                  <a:lnTo>
                    <a:pt x="2367660" y="3153184"/>
                  </a:lnTo>
                  <a:lnTo>
                    <a:pt x="2322028" y="3188890"/>
                  </a:lnTo>
                  <a:lnTo>
                    <a:pt x="2295142" y="3305879"/>
                  </a:lnTo>
                  <a:lnTo>
                    <a:pt x="2293839" y="3306575"/>
                  </a:lnTo>
                  <a:lnTo>
                    <a:pt x="2091602" y="3413692"/>
                  </a:lnTo>
                  <a:lnTo>
                    <a:pt x="2068268" y="3454325"/>
                  </a:lnTo>
                  <a:lnTo>
                    <a:pt x="2151498" y="3499672"/>
                  </a:lnTo>
                  <a:lnTo>
                    <a:pt x="2059663" y="3510919"/>
                  </a:lnTo>
                  <a:lnTo>
                    <a:pt x="2059056" y="3510758"/>
                  </a:lnTo>
                  <a:lnTo>
                    <a:pt x="1843465" y="3453629"/>
                  </a:lnTo>
                  <a:lnTo>
                    <a:pt x="1852392" y="3360973"/>
                  </a:lnTo>
                  <a:lnTo>
                    <a:pt x="1815579" y="3365472"/>
                  </a:lnTo>
                  <a:lnTo>
                    <a:pt x="1747292" y="3364151"/>
                  </a:lnTo>
                  <a:lnTo>
                    <a:pt x="1811509" y="3634835"/>
                  </a:lnTo>
                  <a:lnTo>
                    <a:pt x="1742436" y="3631800"/>
                  </a:lnTo>
                  <a:lnTo>
                    <a:pt x="1737652" y="3592881"/>
                  </a:lnTo>
                  <a:lnTo>
                    <a:pt x="1680523" y="3620071"/>
                  </a:lnTo>
                  <a:lnTo>
                    <a:pt x="1654422" y="3572565"/>
                  </a:lnTo>
                  <a:lnTo>
                    <a:pt x="1596989" y="3621999"/>
                  </a:lnTo>
                  <a:lnTo>
                    <a:pt x="1584099" y="3517149"/>
                  </a:lnTo>
                  <a:lnTo>
                    <a:pt x="1524989" y="3514614"/>
                  </a:lnTo>
                  <a:lnTo>
                    <a:pt x="1475429" y="3520684"/>
                  </a:lnTo>
                  <a:lnTo>
                    <a:pt x="1425691" y="3559497"/>
                  </a:lnTo>
                  <a:lnTo>
                    <a:pt x="1410374" y="3519524"/>
                  </a:lnTo>
                  <a:lnTo>
                    <a:pt x="1364581" y="3544696"/>
                  </a:lnTo>
                  <a:lnTo>
                    <a:pt x="1363635" y="3544696"/>
                  </a:lnTo>
                  <a:lnTo>
                    <a:pt x="1314736" y="3541001"/>
                  </a:lnTo>
                  <a:lnTo>
                    <a:pt x="1294830" y="3702676"/>
                  </a:lnTo>
                  <a:lnTo>
                    <a:pt x="1345782" y="3716209"/>
                  </a:lnTo>
                  <a:lnTo>
                    <a:pt x="1346193" y="3716458"/>
                  </a:lnTo>
                  <a:lnTo>
                    <a:pt x="1570210" y="3854782"/>
                  </a:lnTo>
                  <a:lnTo>
                    <a:pt x="1570513" y="3856103"/>
                  </a:lnTo>
                  <a:lnTo>
                    <a:pt x="1592472" y="3953526"/>
                  </a:lnTo>
                  <a:lnTo>
                    <a:pt x="1677148" y="3943154"/>
                  </a:lnTo>
                  <a:lnTo>
                    <a:pt x="1649244" y="3991785"/>
                  </a:lnTo>
                  <a:lnTo>
                    <a:pt x="1775268" y="4347163"/>
                  </a:lnTo>
                  <a:lnTo>
                    <a:pt x="1658813" y="4743960"/>
                  </a:lnTo>
                  <a:lnTo>
                    <a:pt x="1636390" y="4821334"/>
                  </a:lnTo>
                  <a:lnTo>
                    <a:pt x="1384665" y="4800268"/>
                  </a:lnTo>
                  <a:lnTo>
                    <a:pt x="1323716" y="4818299"/>
                  </a:lnTo>
                  <a:lnTo>
                    <a:pt x="1286225" y="4779184"/>
                  </a:lnTo>
                  <a:lnTo>
                    <a:pt x="1283886" y="4760063"/>
                  </a:lnTo>
                  <a:lnTo>
                    <a:pt x="778383" y="4657553"/>
                  </a:lnTo>
                  <a:lnTo>
                    <a:pt x="686191" y="4576215"/>
                  </a:lnTo>
                  <a:lnTo>
                    <a:pt x="522142" y="4565825"/>
                  </a:lnTo>
                  <a:lnTo>
                    <a:pt x="476688" y="4590819"/>
                  </a:lnTo>
                  <a:lnTo>
                    <a:pt x="486008" y="4666443"/>
                  </a:lnTo>
                  <a:lnTo>
                    <a:pt x="425397" y="4628952"/>
                  </a:lnTo>
                  <a:lnTo>
                    <a:pt x="285110" y="4636093"/>
                  </a:lnTo>
                  <a:lnTo>
                    <a:pt x="262597" y="4686813"/>
                  </a:lnTo>
                  <a:lnTo>
                    <a:pt x="297482" y="4723108"/>
                  </a:lnTo>
                  <a:lnTo>
                    <a:pt x="296089" y="4794269"/>
                  </a:lnTo>
                  <a:lnTo>
                    <a:pt x="350094" y="4808552"/>
                  </a:lnTo>
                  <a:lnTo>
                    <a:pt x="349112" y="4811765"/>
                  </a:lnTo>
                  <a:lnTo>
                    <a:pt x="224053" y="5219077"/>
                  </a:lnTo>
                  <a:lnTo>
                    <a:pt x="224053" y="5219202"/>
                  </a:lnTo>
                  <a:lnTo>
                    <a:pt x="176743" y="5338638"/>
                  </a:lnTo>
                  <a:lnTo>
                    <a:pt x="176636" y="5338834"/>
                  </a:lnTo>
                  <a:lnTo>
                    <a:pt x="125541" y="5427973"/>
                  </a:lnTo>
                  <a:lnTo>
                    <a:pt x="125291" y="5428241"/>
                  </a:lnTo>
                  <a:lnTo>
                    <a:pt x="70733" y="5486423"/>
                  </a:lnTo>
                  <a:lnTo>
                    <a:pt x="35831" y="5531145"/>
                  </a:lnTo>
                  <a:lnTo>
                    <a:pt x="27297" y="5620070"/>
                  </a:lnTo>
                  <a:lnTo>
                    <a:pt x="81748" y="5613393"/>
                  </a:lnTo>
                  <a:lnTo>
                    <a:pt x="42847" y="5663220"/>
                  </a:lnTo>
                  <a:lnTo>
                    <a:pt x="76160" y="5705924"/>
                  </a:lnTo>
                  <a:lnTo>
                    <a:pt x="119614" y="5676967"/>
                  </a:lnTo>
                  <a:lnTo>
                    <a:pt x="10890" y="5997746"/>
                  </a:lnTo>
                  <a:lnTo>
                    <a:pt x="0" y="6066854"/>
                  </a:lnTo>
                  <a:lnTo>
                    <a:pt x="25547" y="6063730"/>
                  </a:lnTo>
                  <a:lnTo>
                    <a:pt x="74661" y="6036701"/>
                  </a:lnTo>
                  <a:lnTo>
                    <a:pt x="216358" y="6101721"/>
                  </a:lnTo>
                  <a:lnTo>
                    <a:pt x="272631" y="6064373"/>
                  </a:lnTo>
                  <a:lnTo>
                    <a:pt x="335455" y="6056678"/>
                  </a:lnTo>
                  <a:lnTo>
                    <a:pt x="336454" y="6057339"/>
                  </a:lnTo>
                  <a:lnTo>
                    <a:pt x="494523" y="6162528"/>
                  </a:lnTo>
                  <a:lnTo>
                    <a:pt x="540941" y="6372316"/>
                  </a:lnTo>
                  <a:lnTo>
                    <a:pt x="591732" y="6376155"/>
                  </a:lnTo>
                  <a:lnTo>
                    <a:pt x="626849" y="6412735"/>
                  </a:lnTo>
                  <a:lnTo>
                    <a:pt x="715488" y="6401863"/>
                  </a:lnTo>
                  <a:lnTo>
                    <a:pt x="789470" y="6330612"/>
                  </a:lnTo>
                  <a:lnTo>
                    <a:pt x="791005" y="6330791"/>
                  </a:lnTo>
                  <a:lnTo>
                    <a:pt x="1083792" y="6367050"/>
                  </a:lnTo>
                  <a:lnTo>
                    <a:pt x="1176841" y="6376119"/>
                  </a:lnTo>
                  <a:lnTo>
                    <a:pt x="1226721" y="6359587"/>
                  </a:lnTo>
                  <a:lnTo>
                    <a:pt x="1270140" y="6375030"/>
                  </a:lnTo>
                  <a:lnTo>
                    <a:pt x="1288564" y="6372781"/>
                  </a:lnTo>
                  <a:lnTo>
                    <a:pt x="1445026" y="6219389"/>
                  </a:lnTo>
                  <a:lnTo>
                    <a:pt x="1518222" y="6220817"/>
                  </a:lnTo>
                  <a:lnTo>
                    <a:pt x="1589277" y="6202964"/>
                  </a:lnTo>
                  <a:lnTo>
                    <a:pt x="1560926" y="6188682"/>
                  </a:lnTo>
                  <a:lnTo>
                    <a:pt x="1641086" y="6061606"/>
                  </a:lnTo>
                  <a:lnTo>
                    <a:pt x="1751452" y="6037826"/>
                  </a:lnTo>
                  <a:lnTo>
                    <a:pt x="1791960" y="5974805"/>
                  </a:lnTo>
                  <a:lnTo>
                    <a:pt x="1728083" y="5942670"/>
                  </a:lnTo>
                  <a:lnTo>
                    <a:pt x="1727690" y="5941331"/>
                  </a:lnTo>
                  <a:lnTo>
                    <a:pt x="1691984" y="5820450"/>
                  </a:lnTo>
                  <a:lnTo>
                    <a:pt x="1849928" y="5582418"/>
                  </a:lnTo>
                  <a:lnTo>
                    <a:pt x="1851142" y="5582115"/>
                  </a:lnTo>
                  <a:lnTo>
                    <a:pt x="1929266" y="5562476"/>
                  </a:lnTo>
                  <a:lnTo>
                    <a:pt x="1958616" y="5465982"/>
                  </a:lnTo>
                  <a:lnTo>
                    <a:pt x="1960491" y="5465589"/>
                  </a:lnTo>
                  <a:lnTo>
                    <a:pt x="2190185" y="5416922"/>
                  </a:lnTo>
                  <a:lnTo>
                    <a:pt x="2234442" y="5360168"/>
                  </a:lnTo>
                  <a:lnTo>
                    <a:pt x="2235228" y="5359847"/>
                  </a:lnTo>
                  <a:lnTo>
                    <a:pt x="2370909" y="5302343"/>
                  </a:lnTo>
                  <a:lnTo>
                    <a:pt x="2400831" y="5218042"/>
                  </a:lnTo>
                  <a:lnTo>
                    <a:pt x="2388334" y="5032640"/>
                  </a:lnTo>
                  <a:lnTo>
                    <a:pt x="2564131" y="4927059"/>
                  </a:lnTo>
                  <a:lnTo>
                    <a:pt x="2741320" y="5009896"/>
                  </a:lnTo>
                  <a:lnTo>
                    <a:pt x="2766314" y="5047601"/>
                  </a:lnTo>
                  <a:lnTo>
                    <a:pt x="2900710" y="5071631"/>
                  </a:lnTo>
                  <a:lnTo>
                    <a:pt x="3256927" y="4884266"/>
                  </a:lnTo>
                  <a:lnTo>
                    <a:pt x="3327857" y="4781397"/>
                  </a:lnTo>
                  <a:lnTo>
                    <a:pt x="3330267" y="4782362"/>
                  </a:lnTo>
                  <a:lnTo>
                    <a:pt x="3548071" y="4869680"/>
                  </a:lnTo>
                  <a:lnTo>
                    <a:pt x="3548625" y="4870769"/>
                  </a:lnTo>
                  <a:lnTo>
                    <a:pt x="3670845" y="5112960"/>
                  </a:lnTo>
                  <a:lnTo>
                    <a:pt x="3865441" y="5274314"/>
                  </a:lnTo>
                  <a:lnTo>
                    <a:pt x="3865566" y="5274439"/>
                  </a:lnTo>
                  <a:lnTo>
                    <a:pt x="4018797" y="5431133"/>
                  </a:lnTo>
                  <a:lnTo>
                    <a:pt x="4112935" y="5540732"/>
                  </a:lnTo>
                  <a:lnTo>
                    <a:pt x="4159156" y="5504598"/>
                  </a:lnTo>
                  <a:lnTo>
                    <a:pt x="4161048" y="5505669"/>
                  </a:lnTo>
                  <a:lnTo>
                    <a:pt x="4385512" y="5634780"/>
                  </a:lnTo>
                  <a:lnTo>
                    <a:pt x="4363589" y="5672985"/>
                  </a:lnTo>
                  <a:lnTo>
                    <a:pt x="4445498" y="5634031"/>
                  </a:lnTo>
                  <a:lnTo>
                    <a:pt x="4469617" y="5745629"/>
                  </a:lnTo>
                  <a:lnTo>
                    <a:pt x="4520229" y="5739434"/>
                  </a:lnTo>
                  <a:lnTo>
                    <a:pt x="4540064" y="5818200"/>
                  </a:lnTo>
                  <a:lnTo>
                    <a:pt x="4616421" y="5778335"/>
                  </a:lnTo>
                  <a:lnTo>
                    <a:pt x="4668747" y="5857351"/>
                  </a:lnTo>
                  <a:lnTo>
                    <a:pt x="4749692" y="6012582"/>
                  </a:lnTo>
                  <a:lnTo>
                    <a:pt x="4749692" y="6012742"/>
                  </a:lnTo>
                  <a:lnTo>
                    <a:pt x="4765759" y="6054768"/>
                  </a:lnTo>
                  <a:lnTo>
                    <a:pt x="4670318" y="6107273"/>
                  </a:lnTo>
                  <a:lnTo>
                    <a:pt x="4693312" y="6134052"/>
                  </a:lnTo>
                  <a:lnTo>
                    <a:pt x="4658321" y="6190878"/>
                  </a:lnTo>
                  <a:lnTo>
                    <a:pt x="4665462" y="6248935"/>
                  </a:lnTo>
                  <a:lnTo>
                    <a:pt x="4695312" y="6263985"/>
                  </a:lnTo>
                  <a:lnTo>
                    <a:pt x="4740980" y="6238849"/>
                  </a:lnTo>
                  <a:lnTo>
                    <a:pt x="4818675" y="6033541"/>
                  </a:lnTo>
                  <a:lnTo>
                    <a:pt x="4858648" y="6007048"/>
                  </a:lnTo>
                  <a:lnTo>
                    <a:pt x="4898585" y="6012011"/>
                  </a:lnTo>
                  <a:lnTo>
                    <a:pt x="4915634" y="5911820"/>
                  </a:lnTo>
                  <a:lnTo>
                    <a:pt x="4781024" y="5824859"/>
                  </a:lnTo>
                  <a:lnTo>
                    <a:pt x="4845294" y="5657489"/>
                  </a:lnTo>
                  <a:lnTo>
                    <a:pt x="5029517" y="5698229"/>
                  </a:lnTo>
                  <a:lnTo>
                    <a:pt x="5070918" y="5785244"/>
                  </a:lnTo>
                  <a:lnTo>
                    <a:pt x="5116067" y="5779709"/>
                  </a:lnTo>
                  <a:lnTo>
                    <a:pt x="5105356" y="5692409"/>
                  </a:lnTo>
                  <a:lnTo>
                    <a:pt x="5033356" y="5600003"/>
                  </a:lnTo>
                  <a:lnTo>
                    <a:pt x="4960641" y="5588542"/>
                  </a:lnTo>
                  <a:lnTo>
                    <a:pt x="4960230" y="5588363"/>
                  </a:lnTo>
                  <a:lnTo>
                    <a:pt x="4641379" y="5440613"/>
                  </a:lnTo>
                  <a:lnTo>
                    <a:pt x="4646949" y="5395731"/>
                  </a:lnTo>
                  <a:lnTo>
                    <a:pt x="4672175" y="5351742"/>
                  </a:lnTo>
                  <a:lnTo>
                    <a:pt x="4671372" y="5345315"/>
                  </a:lnTo>
                  <a:lnTo>
                    <a:pt x="4559274" y="5338780"/>
                  </a:lnTo>
                  <a:lnTo>
                    <a:pt x="4558649" y="5338441"/>
                  </a:lnTo>
                  <a:lnTo>
                    <a:pt x="4248402" y="5169482"/>
                  </a:lnTo>
                  <a:lnTo>
                    <a:pt x="4194433" y="4980867"/>
                  </a:lnTo>
                  <a:lnTo>
                    <a:pt x="4121236" y="4969298"/>
                  </a:lnTo>
                  <a:lnTo>
                    <a:pt x="4105579" y="4928701"/>
                  </a:lnTo>
                  <a:lnTo>
                    <a:pt x="3936763" y="4740943"/>
                  </a:lnTo>
                  <a:lnTo>
                    <a:pt x="3993803" y="4691794"/>
                  </a:lnTo>
                  <a:lnTo>
                    <a:pt x="3990393" y="4663979"/>
                  </a:lnTo>
                  <a:lnTo>
                    <a:pt x="3927908" y="4586588"/>
                  </a:lnTo>
                  <a:lnTo>
                    <a:pt x="4155532" y="4463564"/>
                  </a:lnTo>
                  <a:lnTo>
                    <a:pt x="4207519" y="4514426"/>
                  </a:lnTo>
                  <a:lnTo>
                    <a:pt x="4137143" y="4544258"/>
                  </a:lnTo>
                  <a:lnTo>
                    <a:pt x="4155157" y="4611010"/>
                  </a:lnTo>
                  <a:lnTo>
                    <a:pt x="4181025" y="4658124"/>
                  </a:lnTo>
                  <a:lnTo>
                    <a:pt x="4242939" y="4689277"/>
                  </a:lnTo>
                  <a:lnTo>
                    <a:pt x="4265862" y="4637646"/>
                  </a:lnTo>
                  <a:lnTo>
                    <a:pt x="4309655" y="4556934"/>
                  </a:lnTo>
                  <a:lnTo>
                    <a:pt x="4381692" y="4613295"/>
                  </a:lnTo>
                  <a:lnTo>
                    <a:pt x="4382013" y="4614027"/>
                  </a:lnTo>
                  <a:lnTo>
                    <a:pt x="4439142" y="4741978"/>
                  </a:lnTo>
                  <a:lnTo>
                    <a:pt x="4438981" y="4742925"/>
                  </a:lnTo>
                  <a:lnTo>
                    <a:pt x="4427645" y="4815264"/>
                  </a:lnTo>
                  <a:lnTo>
                    <a:pt x="4451818" y="4851773"/>
                  </a:lnTo>
                  <a:lnTo>
                    <a:pt x="4584750" y="4928273"/>
                  </a:lnTo>
                  <a:lnTo>
                    <a:pt x="4609565" y="4965603"/>
                  </a:lnTo>
                  <a:lnTo>
                    <a:pt x="4743176" y="4969727"/>
                  </a:lnTo>
                  <a:lnTo>
                    <a:pt x="4743925" y="4970209"/>
                  </a:lnTo>
                  <a:lnTo>
                    <a:pt x="5260015" y="5300254"/>
                  </a:lnTo>
                  <a:lnTo>
                    <a:pt x="5231843" y="5407067"/>
                  </a:lnTo>
                  <a:lnTo>
                    <a:pt x="5254606" y="5424920"/>
                  </a:lnTo>
                  <a:lnTo>
                    <a:pt x="5227469" y="5542928"/>
                  </a:lnTo>
                  <a:lnTo>
                    <a:pt x="5248553" y="5631835"/>
                  </a:lnTo>
                  <a:lnTo>
                    <a:pt x="5285937" y="5688196"/>
                  </a:lnTo>
                  <a:lnTo>
                    <a:pt x="5554069" y="5934887"/>
                  </a:lnTo>
                  <a:lnTo>
                    <a:pt x="5553676" y="5936672"/>
                  </a:lnTo>
                  <a:lnTo>
                    <a:pt x="5512168" y="6129964"/>
                  </a:lnTo>
                  <a:lnTo>
                    <a:pt x="5597987" y="6185843"/>
                  </a:lnTo>
                  <a:lnTo>
                    <a:pt x="5647421" y="6254130"/>
                  </a:lnTo>
                  <a:lnTo>
                    <a:pt x="5774444" y="6295817"/>
                  </a:lnTo>
                  <a:lnTo>
                    <a:pt x="5773087" y="6373459"/>
                  </a:lnTo>
                  <a:lnTo>
                    <a:pt x="5808454" y="6405201"/>
                  </a:lnTo>
                  <a:lnTo>
                    <a:pt x="5830913" y="6481700"/>
                  </a:lnTo>
                  <a:lnTo>
                    <a:pt x="5865958" y="6482308"/>
                  </a:lnTo>
                  <a:lnTo>
                    <a:pt x="5895343" y="6402845"/>
                  </a:lnTo>
                  <a:lnTo>
                    <a:pt x="5956204" y="6460991"/>
                  </a:lnTo>
                  <a:lnTo>
                    <a:pt x="5956347" y="6462116"/>
                  </a:lnTo>
                  <a:lnTo>
                    <a:pt x="5967059" y="6537633"/>
                  </a:lnTo>
                  <a:lnTo>
                    <a:pt x="6016564" y="6523744"/>
                  </a:lnTo>
                  <a:lnTo>
                    <a:pt x="6012530" y="6421019"/>
                  </a:lnTo>
                  <a:lnTo>
                    <a:pt x="5966344" y="6274483"/>
                  </a:lnTo>
                  <a:lnTo>
                    <a:pt x="6021385" y="6268823"/>
                  </a:lnTo>
                  <a:lnTo>
                    <a:pt x="6031186" y="6187450"/>
                  </a:lnTo>
                  <a:lnTo>
                    <a:pt x="5973557" y="6114236"/>
                  </a:lnTo>
                  <a:lnTo>
                    <a:pt x="6059589" y="6087171"/>
                  </a:lnTo>
                  <a:lnTo>
                    <a:pt x="6060839" y="6087903"/>
                  </a:lnTo>
                  <a:lnTo>
                    <a:pt x="6131162" y="6129393"/>
                  </a:lnTo>
                  <a:lnTo>
                    <a:pt x="6131162" y="6050948"/>
                  </a:lnTo>
                  <a:lnTo>
                    <a:pt x="6074033" y="5975055"/>
                  </a:lnTo>
                  <a:lnTo>
                    <a:pt x="5937512" y="5894467"/>
                  </a:lnTo>
                  <a:lnTo>
                    <a:pt x="5937084" y="5893628"/>
                  </a:lnTo>
                  <a:lnTo>
                    <a:pt x="5884293" y="5790261"/>
                  </a:lnTo>
                  <a:lnTo>
                    <a:pt x="5808329" y="5699515"/>
                  </a:lnTo>
                  <a:lnTo>
                    <a:pt x="5806543" y="5580383"/>
                  </a:lnTo>
                  <a:lnTo>
                    <a:pt x="5868314" y="5602627"/>
                  </a:lnTo>
                  <a:lnTo>
                    <a:pt x="5962113" y="5635227"/>
                  </a:lnTo>
                  <a:lnTo>
                    <a:pt x="5980555" y="5575330"/>
                  </a:lnTo>
                  <a:lnTo>
                    <a:pt x="5992552" y="5508275"/>
                  </a:lnTo>
                  <a:lnTo>
                    <a:pt x="6074568" y="5432936"/>
                  </a:lnTo>
                  <a:lnTo>
                    <a:pt x="6075121" y="5432704"/>
                  </a:lnTo>
                  <a:lnTo>
                    <a:pt x="6222140" y="5374843"/>
                  </a:lnTo>
                  <a:lnTo>
                    <a:pt x="6328364" y="5400676"/>
                  </a:lnTo>
                  <a:lnTo>
                    <a:pt x="6366569" y="5417047"/>
                  </a:lnTo>
                  <a:lnTo>
                    <a:pt x="6523674" y="5344583"/>
                  </a:lnTo>
                  <a:lnTo>
                    <a:pt x="6623649" y="5233038"/>
                  </a:lnTo>
                  <a:lnTo>
                    <a:pt x="6720430" y="5207312"/>
                  </a:lnTo>
                  <a:lnTo>
                    <a:pt x="6824190" y="5144828"/>
                  </a:lnTo>
                  <a:lnTo>
                    <a:pt x="6833599" y="5074880"/>
                  </a:lnTo>
                  <a:lnTo>
                    <a:pt x="6714931" y="5057259"/>
                  </a:lnTo>
                  <a:lnTo>
                    <a:pt x="6714164" y="5056367"/>
                  </a:lnTo>
                  <a:lnTo>
                    <a:pt x="6560343" y="4882569"/>
                  </a:lnTo>
                  <a:lnTo>
                    <a:pt x="6560343" y="4881266"/>
                  </a:lnTo>
                  <a:lnTo>
                    <a:pt x="6568538" y="4702916"/>
                  </a:lnTo>
                  <a:lnTo>
                    <a:pt x="6568966" y="4702220"/>
                  </a:lnTo>
                  <a:lnTo>
                    <a:pt x="6664658" y="4543330"/>
                  </a:lnTo>
                  <a:lnTo>
                    <a:pt x="6649358" y="4361445"/>
                  </a:lnTo>
                  <a:lnTo>
                    <a:pt x="6649518" y="4360874"/>
                  </a:lnTo>
                  <a:lnTo>
                    <a:pt x="6673245" y="4277858"/>
                  </a:lnTo>
                  <a:lnTo>
                    <a:pt x="6673513" y="4277430"/>
                  </a:lnTo>
                  <a:lnTo>
                    <a:pt x="6770632" y="4131751"/>
                  </a:lnTo>
                  <a:lnTo>
                    <a:pt x="6752904" y="3993677"/>
                  </a:lnTo>
                  <a:lnTo>
                    <a:pt x="6844454" y="3877259"/>
                  </a:lnTo>
                  <a:lnTo>
                    <a:pt x="6913455" y="3754306"/>
                  </a:lnTo>
                  <a:lnTo>
                    <a:pt x="7021554" y="3770035"/>
                  </a:lnTo>
                  <a:lnTo>
                    <a:pt x="7042423" y="3861495"/>
                  </a:lnTo>
                  <a:lnTo>
                    <a:pt x="7177355" y="3809722"/>
                  </a:lnTo>
                  <a:lnTo>
                    <a:pt x="7178141" y="3809811"/>
                  </a:lnTo>
                  <a:lnTo>
                    <a:pt x="7273850" y="3820112"/>
                  </a:lnTo>
                  <a:lnTo>
                    <a:pt x="7246820" y="3896736"/>
                  </a:lnTo>
                  <a:lnTo>
                    <a:pt x="7246463" y="3897183"/>
                  </a:lnTo>
                  <a:lnTo>
                    <a:pt x="7170874" y="3989642"/>
                  </a:lnTo>
                  <a:lnTo>
                    <a:pt x="7305860" y="4030615"/>
                  </a:lnTo>
                  <a:lnTo>
                    <a:pt x="7346725" y="4119540"/>
                  </a:lnTo>
                  <a:lnTo>
                    <a:pt x="7428241" y="4165118"/>
                  </a:lnTo>
                  <a:lnTo>
                    <a:pt x="7500009" y="4055216"/>
                  </a:lnTo>
                  <a:lnTo>
                    <a:pt x="7581115" y="3921177"/>
                  </a:lnTo>
                  <a:lnTo>
                    <a:pt x="7581257" y="3920998"/>
                  </a:lnTo>
                  <a:lnTo>
                    <a:pt x="7662434" y="3824075"/>
                  </a:lnTo>
                  <a:lnTo>
                    <a:pt x="7548908" y="3769499"/>
                  </a:lnTo>
                  <a:lnTo>
                    <a:pt x="7548623" y="3769249"/>
                  </a:lnTo>
                  <a:lnTo>
                    <a:pt x="7441417" y="3681949"/>
                  </a:lnTo>
                  <a:lnTo>
                    <a:pt x="7492832" y="3561639"/>
                  </a:lnTo>
                  <a:lnTo>
                    <a:pt x="7493350" y="3561175"/>
                  </a:lnTo>
                  <a:lnTo>
                    <a:pt x="7614946" y="3450059"/>
                  </a:lnTo>
                  <a:lnTo>
                    <a:pt x="7732614" y="3360170"/>
                  </a:lnTo>
                  <a:lnTo>
                    <a:pt x="7864279" y="3230594"/>
                  </a:lnTo>
                  <a:lnTo>
                    <a:pt x="7864653" y="3230380"/>
                  </a:lnTo>
                  <a:lnTo>
                    <a:pt x="7982482" y="3164824"/>
                  </a:lnTo>
                  <a:lnTo>
                    <a:pt x="8022240" y="3178160"/>
                  </a:lnTo>
                  <a:lnTo>
                    <a:pt x="7997157" y="3296614"/>
                  </a:lnTo>
                  <a:lnTo>
                    <a:pt x="7996389" y="3297310"/>
                  </a:lnTo>
                  <a:lnTo>
                    <a:pt x="7880810" y="3404052"/>
                  </a:lnTo>
                  <a:lnTo>
                    <a:pt x="7897931" y="3483176"/>
                  </a:lnTo>
                  <a:lnTo>
                    <a:pt x="7935779" y="3537163"/>
                  </a:lnTo>
                  <a:lnTo>
                    <a:pt x="7892932" y="3628480"/>
                  </a:lnTo>
                  <a:lnTo>
                    <a:pt x="7892683" y="3628783"/>
                  </a:lnTo>
                  <a:lnTo>
                    <a:pt x="7829341" y="3706443"/>
                  </a:lnTo>
                  <a:lnTo>
                    <a:pt x="7810238" y="3777855"/>
                  </a:lnTo>
                  <a:lnTo>
                    <a:pt x="7865207" y="3819862"/>
                  </a:lnTo>
                  <a:lnTo>
                    <a:pt x="8044449" y="3846641"/>
                  </a:lnTo>
                  <a:lnTo>
                    <a:pt x="8233279" y="3860477"/>
                  </a:lnTo>
                  <a:lnTo>
                    <a:pt x="8233885" y="3860781"/>
                  </a:lnTo>
                  <a:lnTo>
                    <a:pt x="8488306" y="3993052"/>
                  </a:lnTo>
                  <a:lnTo>
                    <a:pt x="8670137" y="3990446"/>
                  </a:lnTo>
                  <a:lnTo>
                    <a:pt x="8779557" y="4056108"/>
                  </a:lnTo>
                  <a:lnTo>
                    <a:pt x="8779914" y="4056519"/>
                  </a:lnTo>
                  <a:lnTo>
                    <a:pt x="8853450" y="4144623"/>
                  </a:lnTo>
                  <a:lnTo>
                    <a:pt x="8852521" y="4262684"/>
                  </a:lnTo>
                  <a:lnTo>
                    <a:pt x="8851790" y="4263558"/>
                  </a:lnTo>
                  <a:lnTo>
                    <a:pt x="8753777" y="4381084"/>
                  </a:lnTo>
                  <a:lnTo>
                    <a:pt x="8704843" y="4502233"/>
                  </a:lnTo>
                  <a:lnTo>
                    <a:pt x="8703736" y="4502768"/>
                  </a:lnTo>
                  <a:lnTo>
                    <a:pt x="8538366" y="4585070"/>
                  </a:lnTo>
                  <a:lnTo>
                    <a:pt x="8394257" y="4658177"/>
                  </a:lnTo>
                  <a:lnTo>
                    <a:pt x="8393454" y="4658177"/>
                  </a:lnTo>
                  <a:lnTo>
                    <a:pt x="8248275" y="4654928"/>
                  </a:lnTo>
                  <a:lnTo>
                    <a:pt x="8090991" y="4658177"/>
                  </a:lnTo>
                  <a:lnTo>
                    <a:pt x="7918569" y="4627256"/>
                  </a:lnTo>
                  <a:lnTo>
                    <a:pt x="7760000" y="4595317"/>
                  </a:lnTo>
                  <a:lnTo>
                    <a:pt x="7667041" y="4662980"/>
                  </a:lnTo>
                  <a:lnTo>
                    <a:pt x="7534483" y="4741532"/>
                  </a:lnTo>
                  <a:lnTo>
                    <a:pt x="7534287" y="4741532"/>
                  </a:lnTo>
                  <a:lnTo>
                    <a:pt x="7441845" y="4780987"/>
                  </a:lnTo>
                  <a:lnTo>
                    <a:pt x="7321231" y="4910687"/>
                  </a:lnTo>
                  <a:lnTo>
                    <a:pt x="7255033" y="4965781"/>
                  </a:lnTo>
                  <a:lnTo>
                    <a:pt x="7188192" y="5036854"/>
                  </a:lnTo>
                  <a:lnTo>
                    <a:pt x="7186853" y="5036854"/>
                  </a:lnTo>
                  <a:lnTo>
                    <a:pt x="7015269" y="5042102"/>
                  </a:lnTo>
                  <a:lnTo>
                    <a:pt x="6910205" y="5090590"/>
                  </a:lnTo>
                  <a:lnTo>
                    <a:pt x="6877677" y="5113210"/>
                  </a:lnTo>
                  <a:lnTo>
                    <a:pt x="6850416" y="5171286"/>
                  </a:lnTo>
                  <a:lnTo>
                    <a:pt x="6850416" y="5230878"/>
                  </a:lnTo>
                  <a:lnTo>
                    <a:pt x="6849916" y="5231663"/>
                  </a:lnTo>
                  <a:lnTo>
                    <a:pt x="6814032" y="5288543"/>
                  </a:lnTo>
                  <a:lnTo>
                    <a:pt x="6765062" y="5322070"/>
                  </a:lnTo>
                  <a:lnTo>
                    <a:pt x="6764687" y="5322195"/>
                  </a:lnTo>
                  <a:lnTo>
                    <a:pt x="6657998" y="5361204"/>
                  </a:lnTo>
                  <a:lnTo>
                    <a:pt x="6657802" y="5361204"/>
                  </a:lnTo>
                  <a:lnTo>
                    <a:pt x="6533582" y="5390018"/>
                  </a:lnTo>
                  <a:lnTo>
                    <a:pt x="6432178" y="5432758"/>
                  </a:lnTo>
                  <a:lnTo>
                    <a:pt x="6391116" y="5488102"/>
                  </a:lnTo>
                  <a:lnTo>
                    <a:pt x="6385761" y="5571831"/>
                  </a:lnTo>
                  <a:lnTo>
                    <a:pt x="6406238" y="5673485"/>
                  </a:lnTo>
                  <a:lnTo>
                    <a:pt x="6406238" y="5673860"/>
                  </a:lnTo>
                  <a:lnTo>
                    <a:pt x="6404988" y="5711012"/>
                  </a:lnTo>
                  <a:lnTo>
                    <a:pt x="6546293" y="5781102"/>
                  </a:lnTo>
                  <a:lnTo>
                    <a:pt x="6505018" y="5903483"/>
                  </a:lnTo>
                  <a:lnTo>
                    <a:pt x="6475025" y="5934119"/>
                  </a:lnTo>
                  <a:lnTo>
                    <a:pt x="6628291" y="5965040"/>
                  </a:lnTo>
                  <a:lnTo>
                    <a:pt x="6653428" y="6114378"/>
                  </a:lnTo>
                  <a:lnTo>
                    <a:pt x="6723215" y="6176757"/>
                  </a:lnTo>
                  <a:lnTo>
                    <a:pt x="6830600" y="6195323"/>
                  </a:lnTo>
                  <a:lnTo>
                    <a:pt x="6830600" y="6284195"/>
                  </a:lnTo>
                  <a:lnTo>
                    <a:pt x="7001059" y="6245526"/>
                  </a:lnTo>
                  <a:lnTo>
                    <a:pt x="7001594" y="6245526"/>
                  </a:lnTo>
                  <a:lnTo>
                    <a:pt x="7219399" y="6268413"/>
                  </a:lnTo>
                  <a:lnTo>
                    <a:pt x="7321159" y="6241080"/>
                  </a:lnTo>
                  <a:lnTo>
                    <a:pt x="7355633" y="6182577"/>
                  </a:lnTo>
                  <a:lnTo>
                    <a:pt x="7372861" y="6134874"/>
                  </a:lnTo>
                  <a:lnTo>
                    <a:pt x="7352795" y="6030685"/>
                  </a:lnTo>
                  <a:lnTo>
                    <a:pt x="7480496" y="6003370"/>
                  </a:lnTo>
                  <a:lnTo>
                    <a:pt x="7578776" y="6026935"/>
                  </a:lnTo>
                  <a:lnTo>
                    <a:pt x="7664237" y="6064426"/>
                  </a:lnTo>
                  <a:lnTo>
                    <a:pt x="7772265" y="6091956"/>
                  </a:lnTo>
                  <a:lnTo>
                    <a:pt x="7881738" y="6056964"/>
                  </a:lnTo>
                  <a:lnTo>
                    <a:pt x="7951846" y="5953257"/>
                  </a:lnTo>
                  <a:lnTo>
                    <a:pt x="8006905" y="5891254"/>
                  </a:lnTo>
                  <a:lnTo>
                    <a:pt x="8046913" y="5839249"/>
                  </a:lnTo>
                  <a:lnTo>
                    <a:pt x="8047110" y="5839070"/>
                  </a:lnTo>
                  <a:lnTo>
                    <a:pt x="8105559" y="5785030"/>
                  </a:lnTo>
                  <a:lnTo>
                    <a:pt x="8107041" y="5785208"/>
                  </a:lnTo>
                  <a:lnTo>
                    <a:pt x="8217729" y="5798794"/>
                  </a:lnTo>
                  <a:lnTo>
                    <a:pt x="8260986" y="5740469"/>
                  </a:lnTo>
                  <a:lnTo>
                    <a:pt x="8261325" y="5740201"/>
                  </a:lnTo>
                  <a:lnTo>
                    <a:pt x="8321132" y="5693052"/>
                  </a:lnTo>
                  <a:lnTo>
                    <a:pt x="8354874" y="5816486"/>
                  </a:lnTo>
                  <a:lnTo>
                    <a:pt x="8341610" y="5939510"/>
                  </a:lnTo>
                  <a:lnTo>
                    <a:pt x="8347501" y="5991498"/>
                  </a:lnTo>
                  <a:lnTo>
                    <a:pt x="8432070" y="6096990"/>
                  </a:lnTo>
                  <a:lnTo>
                    <a:pt x="8426893" y="6287587"/>
                  </a:lnTo>
                  <a:lnTo>
                    <a:pt x="8370352" y="6420858"/>
                  </a:lnTo>
                  <a:lnTo>
                    <a:pt x="8379154" y="6524905"/>
                  </a:lnTo>
                  <a:lnTo>
                    <a:pt x="8379154" y="6525262"/>
                  </a:lnTo>
                  <a:lnTo>
                    <a:pt x="8363729" y="6638805"/>
                  </a:lnTo>
                  <a:cubicBezTo>
                    <a:pt x="8360998" y="6696649"/>
                    <a:pt x="8361944" y="6761990"/>
                    <a:pt x="8368067" y="6767649"/>
                  </a:cubicBezTo>
                  <a:cubicBezTo>
                    <a:pt x="8372227" y="6768756"/>
                    <a:pt x="8374655" y="6774344"/>
                    <a:pt x="8374013" y="6797517"/>
                  </a:cubicBezTo>
                  <a:cubicBezTo>
                    <a:pt x="8373602" y="6811246"/>
                    <a:pt x="8372137" y="6830152"/>
                    <a:pt x="8369585" y="6853700"/>
                  </a:cubicBezTo>
                  <a:cubicBezTo>
                    <a:pt x="8368371" y="6865037"/>
                    <a:pt x="8367014" y="6876391"/>
                    <a:pt x="8365693" y="6886853"/>
                  </a:cubicBezTo>
                  <a:lnTo>
                    <a:pt x="9037477" y="6886853"/>
                  </a:lnTo>
                  <a:lnTo>
                    <a:pt x="9037477" y="0"/>
                  </a:lnTo>
                  <a:lnTo>
                    <a:pt x="4982207" y="0"/>
                  </a:lnTo>
                  <a:lnTo>
                    <a:pt x="4880964" y="201737"/>
                  </a:lnTo>
                  <a:close/>
                </a:path>
              </a:pathLst>
            </a:custGeom>
            <a:noFill/>
            <a:ln w="1785" cap="flat">
              <a:noFill/>
              <a:prstDash val="solid"/>
              <a:miter/>
            </a:ln>
          </p:spPr>
          <p:txBody>
            <a:bodyPr rtlCol="0" anchor="ctr"/>
            <a:lstStyle/>
            <a:p>
              <a:endParaRPr lang="de-AT"/>
            </a:p>
          </p:txBody>
        </p:sp>
        <p:sp>
          <p:nvSpPr>
            <p:cNvPr id="143" name="Freihandform: Form 142">
              <a:extLst>
                <a:ext uri="{FF2B5EF4-FFF2-40B4-BE49-F238E27FC236}">
                  <a16:creationId xmlns:a16="http://schemas.microsoft.com/office/drawing/2014/main" id="{4C04C02B-2126-4BC1-8B63-E71FDB79A70B}"/>
                </a:ext>
              </a:extLst>
            </p:cNvPr>
            <p:cNvSpPr/>
            <p:nvPr/>
          </p:nvSpPr>
          <p:spPr>
            <a:xfrm>
              <a:off x="5588498" y="5749365"/>
              <a:ext cx="90388" cy="63359"/>
            </a:xfrm>
            <a:custGeom>
              <a:avLst/>
              <a:gdLst>
                <a:gd name="connsiteX0" fmla="*/ 79391 w 90388"/>
                <a:gd name="connsiteY0" fmla="*/ 63360 h 63359"/>
                <a:gd name="connsiteX1" fmla="*/ 90389 w 90388"/>
                <a:gd name="connsiteY1" fmla="*/ 33117 h 63359"/>
                <a:gd name="connsiteX2" fmla="*/ 38241 w 90388"/>
                <a:gd name="connsiteY2" fmla="*/ 0 h 63359"/>
                <a:gd name="connsiteX3" fmla="*/ 964 w 90388"/>
                <a:gd name="connsiteY3" fmla="*/ 893 h 63359"/>
                <a:gd name="connsiteX4" fmla="*/ 0 w 90388"/>
                <a:gd name="connsiteY4" fmla="*/ 33063 h 63359"/>
                <a:gd name="connsiteX5" fmla="*/ 57325 w 90388"/>
                <a:gd name="connsiteY5" fmla="*/ 60896 h 63359"/>
                <a:gd name="connsiteX6" fmla="*/ 79391 w 90388"/>
                <a:gd name="connsiteY6" fmla="*/ 63360 h 6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88" h="63359">
                  <a:moveTo>
                    <a:pt x="79391" y="63360"/>
                  </a:moveTo>
                  <a:lnTo>
                    <a:pt x="90389" y="33117"/>
                  </a:lnTo>
                  <a:lnTo>
                    <a:pt x="38241" y="0"/>
                  </a:lnTo>
                  <a:lnTo>
                    <a:pt x="964" y="893"/>
                  </a:lnTo>
                  <a:lnTo>
                    <a:pt x="0" y="33063"/>
                  </a:lnTo>
                  <a:lnTo>
                    <a:pt x="57325" y="60896"/>
                  </a:lnTo>
                  <a:lnTo>
                    <a:pt x="79391" y="63360"/>
                  </a:lnTo>
                  <a:close/>
                </a:path>
              </a:pathLst>
            </a:custGeom>
            <a:noFill/>
            <a:ln w="1785" cap="flat">
              <a:noFill/>
              <a:prstDash val="solid"/>
              <a:miter/>
            </a:ln>
          </p:spPr>
          <p:txBody>
            <a:bodyPr rtlCol="0" anchor="ctr"/>
            <a:lstStyle/>
            <a:p>
              <a:endParaRPr lang="de-AT"/>
            </a:p>
          </p:txBody>
        </p:sp>
        <p:sp>
          <p:nvSpPr>
            <p:cNvPr id="167" name="Freihandform: Form 166">
              <a:extLst>
                <a:ext uri="{FF2B5EF4-FFF2-40B4-BE49-F238E27FC236}">
                  <a16:creationId xmlns:a16="http://schemas.microsoft.com/office/drawing/2014/main" id="{38BCFE0E-3167-4CF6-94B0-1415BC63E84D}"/>
                </a:ext>
              </a:extLst>
            </p:cNvPr>
            <p:cNvSpPr/>
            <p:nvPr/>
          </p:nvSpPr>
          <p:spPr>
            <a:xfrm>
              <a:off x="5102098" y="5916575"/>
              <a:ext cx="76659" cy="90567"/>
            </a:xfrm>
            <a:custGeom>
              <a:avLst/>
              <a:gdLst>
                <a:gd name="connsiteX0" fmla="*/ 76660 w 76659"/>
                <a:gd name="connsiteY0" fmla="*/ 0 h 90567"/>
                <a:gd name="connsiteX1" fmla="*/ 38937 w 76659"/>
                <a:gd name="connsiteY1" fmla="*/ 0 h 90567"/>
                <a:gd name="connsiteX2" fmla="*/ 19995 w 76659"/>
                <a:gd name="connsiteY2" fmla="*/ 12872 h 90567"/>
                <a:gd name="connsiteX3" fmla="*/ 0 w 76659"/>
                <a:gd name="connsiteY3" fmla="*/ 60503 h 90567"/>
                <a:gd name="connsiteX4" fmla="*/ 42740 w 76659"/>
                <a:gd name="connsiteY4" fmla="*/ 90567 h 90567"/>
                <a:gd name="connsiteX5" fmla="*/ 76660 w 76659"/>
                <a:gd name="connsiteY5" fmla="*/ 58057 h 90567"/>
                <a:gd name="connsiteX6" fmla="*/ 76660 w 76659"/>
                <a:gd name="connsiteY6" fmla="*/ 0 h 9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59" h="90567">
                  <a:moveTo>
                    <a:pt x="76660" y="0"/>
                  </a:moveTo>
                  <a:lnTo>
                    <a:pt x="38937" y="0"/>
                  </a:lnTo>
                  <a:lnTo>
                    <a:pt x="19995" y="12872"/>
                  </a:lnTo>
                  <a:lnTo>
                    <a:pt x="0" y="60503"/>
                  </a:lnTo>
                  <a:lnTo>
                    <a:pt x="42740" y="90567"/>
                  </a:lnTo>
                  <a:lnTo>
                    <a:pt x="76660" y="58057"/>
                  </a:lnTo>
                  <a:lnTo>
                    <a:pt x="76660" y="0"/>
                  </a:lnTo>
                  <a:close/>
                </a:path>
              </a:pathLst>
            </a:custGeom>
            <a:noFill/>
            <a:ln w="1785" cap="flat">
              <a:noFill/>
              <a:prstDash val="solid"/>
              <a:miter/>
            </a:ln>
          </p:spPr>
          <p:txBody>
            <a:bodyPr rtlCol="0" anchor="ctr"/>
            <a:lstStyle/>
            <a:p>
              <a:endParaRPr lang="de-AT"/>
            </a:p>
          </p:txBody>
        </p:sp>
        <p:sp>
          <p:nvSpPr>
            <p:cNvPr id="168" name="Freihandform: Form 167">
              <a:extLst>
                <a:ext uri="{FF2B5EF4-FFF2-40B4-BE49-F238E27FC236}">
                  <a16:creationId xmlns:a16="http://schemas.microsoft.com/office/drawing/2014/main" id="{CC6844CB-E1C0-4087-A8AA-7EE3197185CF}"/>
                </a:ext>
              </a:extLst>
            </p:cNvPr>
            <p:cNvSpPr/>
            <p:nvPr/>
          </p:nvSpPr>
          <p:spPr>
            <a:xfrm>
              <a:off x="6459752" y="5114769"/>
              <a:ext cx="190596" cy="379586"/>
            </a:xfrm>
            <a:custGeom>
              <a:avLst/>
              <a:gdLst>
                <a:gd name="connsiteX0" fmla="*/ 37705 w 190596"/>
                <a:gd name="connsiteY0" fmla="*/ 291769 h 379586"/>
                <a:gd name="connsiteX1" fmla="*/ 37705 w 190596"/>
                <a:gd name="connsiteY1" fmla="*/ 291983 h 379586"/>
                <a:gd name="connsiteX2" fmla="*/ 42579 w 190596"/>
                <a:gd name="connsiteY2" fmla="*/ 334615 h 379586"/>
                <a:gd name="connsiteX3" fmla="*/ 97423 w 190596"/>
                <a:gd name="connsiteY3" fmla="*/ 379587 h 379586"/>
                <a:gd name="connsiteX4" fmla="*/ 124506 w 190596"/>
                <a:gd name="connsiteY4" fmla="*/ 375891 h 379586"/>
                <a:gd name="connsiteX5" fmla="*/ 165389 w 190596"/>
                <a:gd name="connsiteY5" fmla="*/ 271291 h 379586"/>
                <a:gd name="connsiteX6" fmla="*/ 178778 w 190596"/>
                <a:gd name="connsiteY6" fmla="*/ 191257 h 379586"/>
                <a:gd name="connsiteX7" fmla="*/ 190597 w 190596"/>
                <a:gd name="connsiteY7" fmla="*/ 120738 h 379586"/>
                <a:gd name="connsiteX8" fmla="*/ 171744 w 190596"/>
                <a:gd name="connsiteY8" fmla="*/ 27368 h 379586"/>
                <a:gd name="connsiteX9" fmla="*/ 159569 w 190596"/>
                <a:gd name="connsiteY9" fmla="*/ 0 h 379586"/>
                <a:gd name="connsiteX10" fmla="*/ 140323 w 190596"/>
                <a:gd name="connsiteY10" fmla="*/ 2606 h 379586"/>
                <a:gd name="connsiteX11" fmla="*/ 137306 w 190596"/>
                <a:gd name="connsiteY11" fmla="*/ 70733 h 379586"/>
                <a:gd name="connsiteX12" fmla="*/ 34706 w 190596"/>
                <a:gd name="connsiteY12" fmla="*/ 103493 h 379586"/>
                <a:gd name="connsiteX13" fmla="*/ 0 w 190596"/>
                <a:gd name="connsiteY13" fmla="*/ 130826 h 379586"/>
                <a:gd name="connsiteX14" fmla="*/ 10587 w 190596"/>
                <a:gd name="connsiteY14" fmla="*/ 183830 h 379586"/>
                <a:gd name="connsiteX15" fmla="*/ 37705 w 190596"/>
                <a:gd name="connsiteY15" fmla="*/ 291769 h 37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96" h="379586">
                  <a:moveTo>
                    <a:pt x="37705" y="291769"/>
                  </a:moveTo>
                  <a:lnTo>
                    <a:pt x="37705" y="291983"/>
                  </a:lnTo>
                  <a:lnTo>
                    <a:pt x="42579" y="334615"/>
                  </a:lnTo>
                  <a:lnTo>
                    <a:pt x="97423" y="379587"/>
                  </a:lnTo>
                  <a:lnTo>
                    <a:pt x="124506" y="375891"/>
                  </a:lnTo>
                  <a:lnTo>
                    <a:pt x="165389" y="271291"/>
                  </a:lnTo>
                  <a:lnTo>
                    <a:pt x="178778" y="191257"/>
                  </a:lnTo>
                  <a:lnTo>
                    <a:pt x="190597" y="120738"/>
                  </a:lnTo>
                  <a:lnTo>
                    <a:pt x="171744" y="27368"/>
                  </a:lnTo>
                  <a:lnTo>
                    <a:pt x="159569" y="0"/>
                  </a:lnTo>
                  <a:lnTo>
                    <a:pt x="140323" y="2606"/>
                  </a:lnTo>
                  <a:lnTo>
                    <a:pt x="137306" y="70733"/>
                  </a:lnTo>
                  <a:lnTo>
                    <a:pt x="34706" y="103493"/>
                  </a:lnTo>
                  <a:lnTo>
                    <a:pt x="0" y="130826"/>
                  </a:lnTo>
                  <a:lnTo>
                    <a:pt x="10587" y="183830"/>
                  </a:lnTo>
                  <a:lnTo>
                    <a:pt x="37705" y="291769"/>
                  </a:lnTo>
                  <a:close/>
                </a:path>
              </a:pathLst>
            </a:custGeom>
            <a:noFill/>
            <a:ln w="1785" cap="flat">
              <a:noFill/>
              <a:prstDash val="solid"/>
              <a:miter/>
            </a:ln>
          </p:spPr>
          <p:txBody>
            <a:bodyPr rtlCol="0" anchor="ctr"/>
            <a:lstStyle/>
            <a:p>
              <a:endParaRPr lang="de-AT"/>
            </a:p>
          </p:txBody>
        </p:sp>
        <p:sp>
          <p:nvSpPr>
            <p:cNvPr id="169" name="Freihandform: Form 168">
              <a:extLst>
                <a:ext uri="{FF2B5EF4-FFF2-40B4-BE49-F238E27FC236}">
                  <a16:creationId xmlns:a16="http://schemas.microsoft.com/office/drawing/2014/main" id="{CAC4DFB9-16F8-4F66-99D2-2BCF9E0BE4E1}"/>
                </a:ext>
              </a:extLst>
            </p:cNvPr>
            <p:cNvSpPr/>
            <p:nvPr/>
          </p:nvSpPr>
          <p:spPr>
            <a:xfrm>
              <a:off x="9400041" y="6045704"/>
              <a:ext cx="76981" cy="50148"/>
            </a:xfrm>
            <a:custGeom>
              <a:avLst/>
              <a:gdLst>
                <a:gd name="connsiteX0" fmla="*/ 0 w 76981"/>
                <a:gd name="connsiteY0" fmla="*/ 14675 h 50148"/>
                <a:gd name="connsiteX1" fmla="*/ 11997 w 76981"/>
                <a:gd name="connsiteY1" fmla="*/ 50149 h 50148"/>
                <a:gd name="connsiteX2" fmla="*/ 76982 w 76981"/>
                <a:gd name="connsiteY2" fmla="*/ 49274 h 50148"/>
                <a:gd name="connsiteX3" fmla="*/ 50934 w 76981"/>
                <a:gd name="connsiteY3" fmla="*/ 12979 h 50148"/>
                <a:gd name="connsiteX4" fmla="*/ 26869 w 76981"/>
                <a:gd name="connsiteY4" fmla="*/ 0 h 50148"/>
                <a:gd name="connsiteX5" fmla="*/ 0 w 76981"/>
                <a:gd name="connsiteY5" fmla="*/ 14675 h 5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81" h="50148">
                  <a:moveTo>
                    <a:pt x="0" y="14675"/>
                  </a:moveTo>
                  <a:lnTo>
                    <a:pt x="11997" y="50149"/>
                  </a:lnTo>
                  <a:lnTo>
                    <a:pt x="76982" y="49274"/>
                  </a:lnTo>
                  <a:lnTo>
                    <a:pt x="50934" y="12979"/>
                  </a:lnTo>
                  <a:lnTo>
                    <a:pt x="26869" y="0"/>
                  </a:lnTo>
                  <a:cubicBezTo>
                    <a:pt x="23334" y="393"/>
                    <a:pt x="10801" y="7534"/>
                    <a:pt x="0" y="14675"/>
                  </a:cubicBezTo>
                  <a:close/>
                </a:path>
              </a:pathLst>
            </a:custGeom>
            <a:noFill/>
            <a:ln w="1785" cap="flat">
              <a:noFill/>
              <a:prstDash val="solid"/>
              <a:miter/>
            </a:ln>
          </p:spPr>
          <p:txBody>
            <a:bodyPr rtlCol="0" anchor="ctr"/>
            <a:lstStyle/>
            <a:p>
              <a:endParaRPr lang="de-AT"/>
            </a:p>
          </p:txBody>
        </p:sp>
        <p:sp>
          <p:nvSpPr>
            <p:cNvPr id="170" name="Freihandform: Form 169">
              <a:extLst>
                <a:ext uri="{FF2B5EF4-FFF2-40B4-BE49-F238E27FC236}">
                  <a16:creationId xmlns:a16="http://schemas.microsoft.com/office/drawing/2014/main" id="{73892E1B-1A59-4103-B16F-268EA37A71C4}"/>
                </a:ext>
              </a:extLst>
            </p:cNvPr>
            <p:cNvSpPr/>
            <p:nvPr/>
          </p:nvSpPr>
          <p:spPr>
            <a:xfrm>
              <a:off x="5307726" y="5775020"/>
              <a:ext cx="216715" cy="133503"/>
            </a:xfrm>
            <a:custGeom>
              <a:avLst/>
              <a:gdLst>
                <a:gd name="connsiteX0" fmla="*/ 86818 w 216715"/>
                <a:gd name="connsiteY0" fmla="*/ 98566 h 133503"/>
                <a:gd name="connsiteX1" fmla="*/ 91032 w 216715"/>
                <a:gd name="connsiteY1" fmla="*/ 119061 h 133503"/>
                <a:gd name="connsiteX2" fmla="*/ 157819 w 216715"/>
                <a:gd name="connsiteY2" fmla="*/ 133503 h 133503"/>
                <a:gd name="connsiteX3" fmla="*/ 216716 w 216715"/>
                <a:gd name="connsiteY3" fmla="*/ 91317 h 133503"/>
                <a:gd name="connsiteX4" fmla="*/ 216716 w 216715"/>
                <a:gd name="connsiteY4" fmla="*/ 0 h 133503"/>
                <a:gd name="connsiteX5" fmla="*/ 134218 w 216715"/>
                <a:gd name="connsiteY5" fmla="*/ 1250 h 133503"/>
                <a:gd name="connsiteX6" fmla="*/ 48006 w 216715"/>
                <a:gd name="connsiteY6" fmla="*/ 46578 h 133503"/>
                <a:gd name="connsiteX7" fmla="*/ 0 w 216715"/>
                <a:gd name="connsiteY7" fmla="*/ 67163 h 133503"/>
                <a:gd name="connsiteX8" fmla="*/ 45132 w 216715"/>
                <a:gd name="connsiteY8" fmla="*/ 98566 h 133503"/>
                <a:gd name="connsiteX9" fmla="*/ 86818 w 216715"/>
                <a:gd name="connsiteY9" fmla="*/ 98566 h 133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715" h="133503">
                  <a:moveTo>
                    <a:pt x="86818" y="98566"/>
                  </a:moveTo>
                  <a:lnTo>
                    <a:pt x="91032" y="119061"/>
                  </a:lnTo>
                  <a:lnTo>
                    <a:pt x="157819" y="133503"/>
                  </a:lnTo>
                  <a:lnTo>
                    <a:pt x="216716" y="91317"/>
                  </a:lnTo>
                  <a:lnTo>
                    <a:pt x="216716" y="0"/>
                  </a:lnTo>
                  <a:lnTo>
                    <a:pt x="134218" y="1250"/>
                  </a:lnTo>
                  <a:lnTo>
                    <a:pt x="48006" y="46578"/>
                  </a:lnTo>
                  <a:lnTo>
                    <a:pt x="0" y="67163"/>
                  </a:lnTo>
                  <a:lnTo>
                    <a:pt x="45132" y="98566"/>
                  </a:lnTo>
                  <a:lnTo>
                    <a:pt x="86818" y="98566"/>
                  </a:lnTo>
                  <a:close/>
                </a:path>
              </a:pathLst>
            </a:custGeom>
            <a:noFill/>
            <a:ln w="1785" cap="flat">
              <a:noFill/>
              <a:prstDash val="solid"/>
              <a:miter/>
            </a:ln>
          </p:spPr>
          <p:txBody>
            <a:bodyPr rtlCol="0" anchor="ctr"/>
            <a:lstStyle/>
            <a:p>
              <a:endParaRPr lang="de-AT"/>
            </a:p>
          </p:txBody>
        </p:sp>
        <p:sp>
          <p:nvSpPr>
            <p:cNvPr id="171" name="Freihandform: Form 170">
              <a:extLst>
                <a:ext uri="{FF2B5EF4-FFF2-40B4-BE49-F238E27FC236}">
                  <a16:creationId xmlns:a16="http://schemas.microsoft.com/office/drawing/2014/main" id="{B763ACAD-1CB6-4E59-A948-E984B0442C59}"/>
                </a:ext>
              </a:extLst>
            </p:cNvPr>
            <p:cNvSpPr/>
            <p:nvPr/>
          </p:nvSpPr>
          <p:spPr>
            <a:xfrm>
              <a:off x="4373113" y="1206857"/>
              <a:ext cx="1168128" cy="1976307"/>
            </a:xfrm>
            <a:custGeom>
              <a:avLst/>
              <a:gdLst>
                <a:gd name="connsiteX0" fmla="*/ 361466 w 1168128"/>
                <a:gd name="connsiteY0" fmla="*/ 672534 h 1976307"/>
                <a:gd name="connsiteX1" fmla="*/ 386728 w 1168128"/>
                <a:gd name="connsiteY1" fmla="*/ 601283 h 1976307"/>
                <a:gd name="connsiteX2" fmla="*/ 417560 w 1168128"/>
                <a:gd name="connsiteY2" fmla="*/ 666125 h 1976307"/>
                <a:gd name="connsiteX3" fmla="*/ 452587 w 1168128"/>
                <a:gd name="connsiteY3" fmla="*/ 693511 h 1976307"/>
                <a:gd name="connsiteX4" fmla="*/ 447142 w 1168128"/>
                <a:gd name="connsiteY4" fmla="*/ 737947 h 1976307"/>
                <a:gd name="connsiteX5" fmla="*/ 446785 w 1168128"/>
                <a:gd name="connsiteY5" fmla="*/ 738554 h 1976307"/>
                <a:gd name="connsiteX6" fmla="*/ 378337 w 1168128"/>
                <a:gd name="connsiteY6" fmla="*/ 849670 h 1976307"/>
                <a:gd name="connsiteX7" fmla="*/ 364858 w 1168128"/>
                <a:gd name="connsiteY7" fmla="*/ 900818 h 1976307"/>
                <a:gd name="connsiteX8" fmla="*/ 382425 w 1168128"/>
                <a:gd name="connsiteY8" fmla="*/ 921313 h 1976307"/>
                <a:gd name="connsiteX9" fmla="*/ 385085 w 1168128"/>
                <a:gd name="connsiteY9" fmla="*/ 859132 h 1976307"/>
                <a:gd name="connsiteX10" fmla="*/ 414043 w 1168128"/>
                <a:gd name="connsiteY10" fmla="*/ 892820 h 1976307"/>
                <a:gd name="connsiteX11" fmla="*/ 442268 w 1168128"/>
                <a:gd name="connsiteY11" fmla="*/ 907031 h 1976307"/>
                <a:gd name="connsiteX12" fmla="*/ 447410 w 1168128"/>
                <a:gd name="connsiteY12" fmla="*/ 865184 h 1976307"/>
                <a:gd name="connsiteX13" fmla="*/ 483597 w 1168128"/>
                <a:gd name="connsiteY13" fmla="*/ 883376 h 1976307"/>
                <a:gd name="connsiteX14" fmla="*/ 598980 w 1168128"/>
                <a:gd name="connsiteY14" fmla="*/ 869236 h 1976307"/>
                <a:gd name="connsiteX15" fmla="*/ 583145 w 1168128"/>
                <a:gd name="connsiteY15" fmla="*/ 929257 h 1976307"/>
                <a:gd name="connsiteX16" fmla="*/ 552152 w 1168128"/>
                <a:gd name="connsiteY16" fmla="*/ 933060 h 1976307"/>
                <a:gd name="connsiteX17" fmla="*/ 528230 w 1168128"/>
                <a:gd name="connsiteY17" fmla="*/ 974764 h 1976307"/>
                <a:gd name="connsiteX18" fmla="*/ 544261 w 1168128"/>
                <a:gd name="connsiteY18" fmla="*/ 1023253 h 1976307"/>
                <a:gd name="connsiteX19" fmla="*/ 544297 w 1168128"/>
                <a:gd name="connsiteY19" fmla="*/ 1023574 h 1976307"/>
                <a:gd name="connsiteX20" fmla="*/ 550206 w 1168128"/>
                <a:gd name="connsiteY20" fmla="*/ 1071652 h 1976307"/>
                <a:gd name="connsiteX21" fmla="*/ 613173 w 1168128"/>
                <a:gd name="connsiteY21" fmla="*/ 1074365 h 1976307"/>
                <a:gd name="connsiteX22" fmla="*/ 600712 w 1168128"/>
                <a:gd name="connsiteY22" fmla="*/ 1153971 h 1976307"/>
                <a:gd name="connsiteX23" fmla="*/ 559900 w 1168128"/>
                <a:gd name="connsiteY23" fmla="*/ 1158970 h 1976307"/>
                <a:gd name="connsiteX24" fmla="*/ 546636 w 1168128"/>
                <a:gd name="connsiteY24" fmla="*/ 1209225 h 1976307"/>
                <a:gd name="connsiteX25" fmla="*/ 563275 w 1168128"/>
                <a:gd name="connsiteY25" fmla="*/ 1259481 h 1976307"/>
                <a:gd name="connsiteX26" fmla="*/ 541208 w 1168128"/>
                <a:gd name="connsiteY26" fmla="*/ 1287796 h 1976307"/>
                <a:gd name="connsiteX27" fmla="*/ 526123 w 1168128"/>
                <a:gd name="connsiteY27" fmla="*/ 1256071 h 1976307"/>
                <a:gd name="connsiteX28" fmla="*/ 368018 w 1168128"/>
                <a:gd name="connsiteY28" fmla="*/ 1285564 h 1976307"/>
                <a:gd name="connsiteX29" fmla="*/ 273470 w 1168128"/>
                <a:gd name="connsiteY29" fmla="*/ 1337605 h 1976307"/>
                <a:gd name="connsiteX30" fmla="*/ 268953 w 1168128"/>
                <a:gd name="connsiteY30" fmla="*/ 1374471 h 1976307"/>
                <a:gd name="connsiteX31" fmla="*/ 316191 w 1168128"/>
                <a:gd name="connsiteY31" fmla="*/ 1378078 h 1976307"/>
                <a:gd name="connsiteX32" fmla="*/ 344310 w 1168128"/>
                <a:gd name="connsiteY32" fmla="*/ 1353869 h 1976307"/>
                <a:gd name="connsiteX33" fmla="*/ 381693 w 1168128"/>
                <a:gd name="connsiteY33" fmla="*/ 1361439 h 1976307"/>
                <a:gd name="connsiteX34" fmla="*/ 363948 w 1168128"/>
                <a:gd name="connsiteY34" fmla="*/ 1396805 h 1976307"/>
                <a:gd name="connsiteX35" fmla="*/ 378230 w 1168128"/>
                <a:gd name="connsiteY35" fmla="*/ 1426834 h 1976307"/>
                <a:gd name="connsiteX36" fmla="*/ 291894 w 1168128"/>
                <a:gd name="connsiteY36" fmla="*/ 1501155 h 1976307"/>
                <a:gd name="connsiteX37" fmla="*/ 132289 w 1168128"/>
                <a:gd name="connsiteY37" fmla="*/ 1530933 h 1976307"/>
                <a:gd name="connsiteX38" fmla="*/ 127612 w 1168128"/>
                <a:gd name="connsiteY38" fmla="*/ 1569031 h 1976307"/>
                <a:gd name="connsiteX39" fmla="*/ 173601 w 1168128"/>
                <a:gd name="connsiteY39" fmla="*/ 1622608 h 1976307"/>
                <a:gd name="connsiteX40" fmla="*/ 211842 w 1168128"/>
                <a:gd name="connsiteY40" fmla="*/ 1617930 h 1976307"/>
                <a:gd name="connsiteX41" fmla="*/ 261008 w 1168128"/>
                <a:gd name="connsiteY41" fmla="*/ 1590883 h 1976307"/>
                <a:gd name="connsiteX42" fmla="*/ 362484 w 1168128"/>
                <a:gd name="connsiteY42" fmla="*/ 1641996 h 1976307"/>
                <a:gd name="connsiteX43" fmla="*/ 377569 w 1168128"/>
                <a:gd name="connsiteY43" fmla="*/ 1681254 h 1976307"/>
                <a:gd name="connsiteX44" fmla="*/ 429539 w 1168128"/>
                <a:gd name="connsiteY44" fmla="*/ 1704409 h 1976307"/>
                <a:gd name="connsiteX45" fmla="*/ 586394 w 1168128"/>
                <a:gd name="connsiteY45" fmla="*/ 1637943 h 1976307"/>
                <a:gd name="connsiteX46" fmla="*/ 493648 w 1168128"/>
                <a:gd name="connsiteY46" fmla="*/ 1713121 h 1976307"/>
                <a:gd name="connsiteX47" fmla="*/ 467084 w 1168128"/>
                <a:gd name="connsiteY47" fmla="*/ 1735991 h 1976307"/>
                <a:gd name="connsiteX48" fmla="*/ 471065 w 1168128"/>
                <a:gd name="connsiteY48" fmla="*/ 1768430 h 1976307"/>
                <a:gd name="connsiteX49" fmla="*/ 394673 w 1168128"/>
                <a:gd name="connsiteY49" fmla="*/ 1766948 h 1976307"/>
                <a:gd name="connsiteX50" fmla="*/ 319726 w 1168128"/>
                <a:gd name="connsiteY50" fmla="*/ 1745149 h 1976307"/>
                <a:gd name="connsiteX51" fmla="*/ 285163 w 1168128"/>
                <a:gd name="connsiteY51" fmla="*/ 1740829 h 1976307"/>
                <a:gd name="connsiteX52" fmla="*/ 296785 w 1168128"/>
                <a:gd name="connsiteY52" fmla="*/ 1758396 h 1976307"/>
                <a:gd name="connsiteX53" fmla="*/ 241888 w 1168128"/>
                <a:gd name="connsiteY53" fmla="*/ 1765127 h 1976307"/>
                <a:gd name="connsiteX54" fmla="*/ 93727 w 1168128"/>
                <a:gd name="connsiteY54" fmla="*/ 1896452 h 1976307"/>
                <a:gd name="connsiteX55" fmla="*/ 63663 w 1168128"/>
                <a:gd name="connsiteY55" fmla="*/ 1910699 h 1976307"/>
                <a:gd name="connsiteX56" fmla="*/ 23851 w 1168128"/>
                <a:gd name="connsiteY56" fmla="*/ 1915590 h 1976307"/>
                <a:gd name="connsiteX57" fmla="*/ 0 w 1168128"/>
                <a:gd name="connsiteY57" fmla="*/ 1946208 h 1976307"/>
                <a:gd name="connsiteX58" fmla="*/ 18674 w 1168128"/>
                <a:gd name="connsiteY58" fmla="*/ 1960811 h 1976307"/>
                <a:gd name="connsiteX59" fmla="*/ 47846 w 1168128"/>
                <a:gd name="connsiteY59" fmla="*/ 1946940 h 1976307"/>
                <a:gd name="connsiteX60" fmla="*/ 61878 w 1168128"/>
                <a:gd name="connsiteY60" fmla="*/ 1957884 h 1976307"/>
                <a:gd name="connsiteX61" fmla="*/ 64163 w 1168128"/>
                <a:gd name="connsiteY61" fmla="*/ 1976308 h 1976307"/>
                <a:gd name="connsiteX62" fmla="*/ 70322 w 1168128"/>
                <a:gd name="connsiteY62" fmla="*/ 1975558 h 1976307"/>
                <a:gd name="connsiteX63" fmla="*/ 107974 w 1168128"/>
                <a:gd name="connsiteY63" fmla="*/ 1950564 h 1976307"/>
                <a:gd name="connsiteX64" fmla="*/ 156748 w 1168128"/>
                <a:gd name="connsiteY64" fmla="*/ 1923713 h 1976307"/>
                <a:gd name="connsiteX65" fmla="*/ 209699 w 1168128"/>
                <a:gd name="connsiteY65" fmla="*/ 1917233 h 1976307"/>
                <a:gd name="connsiteX66" fmla="*/ 245173 w 1168128"/>
                <a:gd name="connsiteY66" fmla="*/ 1954117 h 1976307"/>
                <a:gd name="connsiteX67" fmla="*/ 264347 w 1168128"/>
                <a:gd name="connsiteY67" fmla="*/ 1951760 h 1976307"/>
                <a:gd name="connsiteX68" fmla="*/ 325957 w 1168128"/>
                <a:gd name="connsiteY68" fmla="*/ 1964257 h 1976307"/>
                <a:gd name="connsiteX69" fmla="*/ 350183 w 1168128"/>
                <a:gd name="connsiteY69" fmla="*/ 1921999 h 1976307"/>
                <a:gd name="connsiteX70" fmla="*/ 367679 w 1168128"/>
                <a:gd name="connsiteY70" fmla="*/ 1887097 h 1976307"/>
                <a:gd name="connsiteX71" fmla="*/ 411418 w 1168128"/>
                <a:gd name="connsiteY71" fmla="*/ 1892507 h 1976307"/>
                <a:gd name="connsiteX72" fmla="*/ 473850 w 1168128"/>
                <a:gd name="connsiteY72" fmla="*/ 1884830 h 1976307"/>
                <a:gd name="connsiteX73" fmla="*/ 499112 w 1168128"/>
                <a:gd name="connsiteY73" fmla="*/ 1922981 h 1976307"/>
                <a:gd name="connsiteX74" fmla="*/ 527855 w 1168128"/>
                <a:gd name="connsiteY74" fmla="*/ 1919447 h 1976307"/>
                <a:gd name="connsiteX75" fmla="*/ 586448 w 1168128"/>
                <a:gd name="connsiteY75" fmla="*/ 1921999 h 1976307"/>
                <a:gd name="connsiteX76" fmla="*/ 585269 w 1168128"/>
                <a:gd name="connsiteY76" fmla="*/ 1912412 h 1976307"/>
                <a:gd name="connsiteX77" fmla="*/ 618511 w 1168128"/>
                <a:gd name="connsiteY77" fmla="*/ 1908324 h 1976307"/>
                <a:gd name="connsiteX78" fmla="*/ 658144 w 1168128"/>
                <a:gd name="connsiteY78" fmla="*/ 1893060 h 1976307"/>
                <a:gd name="connsiteX79" fmla="*/ 710507 w 1168128"/>
                <a:gd name="connsiteY79" fmla="*/ 1897059 h 1976307"/>
                <a:gd name="connsiteX80" fmla="*/ 784614 w 1168128"/>
                <a:gd name="connsiteY80" fmla="*/ 1887954 h 1976307"/>
                <a:gd name="connsiteX81" fmla="*/ 756924 w 1168128"/>
                <a:gd name="connsiteY81" fmla="*/ 1906414 h 1976307"/>
                <a:gd name="connsiteX82" fmla="*/ 766636 w 1168128"/>
                <a:gd name="connsiteY82" fmla="*/ 1921089 h 1976307"/>
                <a:gd name="connsiteX83" fmla="*/ 857293 w 1168128"/>
                <a:gd name="connsiteY83" fmla="*/ 1909967 h 1976307"/>
                <a:gd name="connsiteX84" fmla="*/ 880376 w 1168128"/>
                <a:gd name="connsiteY84" fmla="*/ 1928016 h 1976307"/>
                <a:gd name="connsiteX85" fmla="*/ 930704 w 1168128"/>
                <a:gd name="connsiteY85" fmla="*/ 1931872 h 1976307"/>
                <a:gd name="connsiteX86" fmla="*/ 979870 w 1168128"/>
                <a:gd name="connsiteY86" fmla="*/ 1915555 h 1976307"/>
                <a:gd name="connsiteX87" fmla="*/ 1009881 w 1168128"/>
                <a:gd name="connsiteY87" fmla="*/ 1911877 h 1976307"/>
                <a:gd name="connsiteX88" fmla="*/ 1047622 w 1168128"/>
                <a:gd name="connsiteY88" fmla="*/ 1886794 h 1976307"/>
                <a:gd name="connsiteX89" fmla="*/ 1085898 w 1168128"/>
                <a:gd name="connsiteY89" fmla="*/ 1872101 h 1976307"/>
                <a:gd name="connsiteX90" fmla="*/ 1092950 w 1168128"/>
                <a:gd name="connsiteY90" fmla="*/ 1852159 h 1976307"/>
                <a:gd name="connsiteX91" fmla="*/ 1098663 w 1168128"/>
                <a:gd name="connsiteY91" fmla="*/ 1823845 h 1976307"/>
                <a:gd name="connsiteX92" fmla="*/ 1070688 w 1168128"/>
                <a:gd name="connsiteY92" fmla="*/ 1818150 h 1976307"/>
                <a:gd name="connsiteX93" fmla="*/ 1039891 w 1168128"/>
                <a:gd name="connsiteY93" fmla="*/ 1821917 h 1976307"/>
                <a:gd name="connsiteX94" fmla="*/ 978174 w 1168128"/>
                <a:gd name="connsiteY94" fmla="*/ 1794441 h 1976307"/>
                <a:gd name="connsiteX95" fmla="*/ 1041659 w 1168128"/>
                <a:gd name="connsiteY95" fmla="*/ 1764216 h 1976307"/>
                <a:gd name="connsiteX96" fmla="*/ 1057173 w 1168128"/>
                <a:gd name="connsiteY96" fmla="*/ 1720512 h 1976307"/>
                <a:gd name="connsiteX97" fmla="*/ 1108375 w 1168128"/>
                <a:gd name="connsiteY97" fmla="*/ 1714228 h 1976307"/>
                <a:gd name="connsiteX98" fmla="*/ 1150401 w 1168128"/>
                <a:gd name="connsiteY98" fmla="*/ 1648869 h 1976307"/>
                <a:gd name="connsiteX99" fmla="*/ 1168128 w 1168128"/>
                <a:gd name="connsiteY99" fmla="*/ 1544984 h 1976307"/>
                <a:gd name="connsiteX100" fmla="*/ 1151079 w 1168128"/>
                <a:gd name="connsiteY100" fmla="*/ 1487176 h 1976307"/>
                <a:gd name="connsiteX101" fmla="*/ 1108643 w 1168128"/>
                <a:gd name="connsiteY101" fmla="*/ 1462771 h 1976307"/>
                <a:gd name="connsiteX102" fmla="*/ 1028305 w 1168128"/>
                <a:gd name="connsiteY102" fmla="*/ 1462557 h 1976307"/>
                <a:gd name="connsiteX103" fmla="*/ 999491 w 1168128"/>
                <a:gd name="connsiteY103" fmla="*/ 1487373 h 1976307"/>
                <a:gd name="connsiteX104" fmla="*/ 937988 w 1168128"/>
                <a:gd name="connsiteY104" fmla="*/ 1449382 h 1976307"/>
                <a:gd name="connsiteX105" fmla="*/ 969587 w 1168128"/>
                <a:gd name="connsiteY105" fmla="*/ 1422210 h 1976307"/>
                <a:gd name="connsiteX106" fmla="*/ 1005686 w 1168128"/>
                <a:gd name="connsiteY106" fmla="*/ 1398233 h 1976307"/>
                <a:gd name="connsiteX107" fmla="*/ 971390 w 1168128"/>
                <a:gd name="connsiteY107" fmla="*/ 1282101 h 1976307"/>
                <a:gd name="connsiteX108" fmla="*/ 927401 w 1168128"/>
                <a:gd name="connsiteY108" fmla="*/ 1247716 h 1976307"/>
                <a:gd name="connsiteX109" fmla="*/ 876413 w 1168128"/>
                <a:gd name="connsiteY109" fmla="*/ 1243824 h 1976307"/>
                <a:gd name="connsiteX110" fmla="*/ 876270 w 1168128"/>
                <a:gd name="connsiteY110" fmla="*/ 1237379 h 1976307"/>
                <a:gd name="connsiteX111" fmla="*/ 927508 w 1168128"/>
                <a:gd name="connsiteY111" fmla="*/ 1231095 h 1976307"/>
                <a:gd name="connsiteX112" fmla="*/ 960786 w 1168128"/>
                <a:gd name="connsiteY112" fmla="*/ 1237879 h 1976307"/>
                <a:gd name="connsiteX113" fmla="*/ 978549 w 1168128"/>
                <a:gd name="connsiteY113" fmla="*/ 1258553 h 1976307"/>
                <a:gd name="connsiteX114" fmla="*/ 966195 w 1168128"/>
                <a:gd name="connsiteY114" fmla="*/ 1157988 h 1976307"/>
                <a:gd name="connsiteX115" fmla="*/ 911208 w 1168128"/>
                <a:gd name="connsiteY115" fmla="*/ 1042194 h 1976307"/>
                <a:gd name="connsiteX116" fmla="*/ 878377 w 1168128"/>
                <a:gd name="connsiteY116" fmla="*/ 1016540 h 1976307"/>
                <a:gd name="connsiteX117" fmla="*/ 824283 w 1168128"/>
                <a:gd name="connsiteY117" fmla="*/ 1012434 h 1976307"/>
                <a:gd name="connsiteX118" fmla="*/ 827014 w 1168128"/>
                <a:gd name="connsiteY118" fmla="*/ 948003 h 1976307"/>
                <a:gd name="connsiteX119" fmla="*/ 800592 w 1168128"/>
                <a:gd name="connsiteY119" fmla="*/ 899979 h 1976307"/>
                <a:gd name="connsiteX120" fmla="*/ 797986 w 1168128"/>
                <a:gd name="connsiteY120" fmla="*/ 878645 h 1976307"/>
                <a:gd name="connsiteX121" fmla="*/ 798021 w 1168128"/>
                <a:gd name="connsiteY121" fmla="*/ 878252 h 1976307"/>
                <a:gd name="connsiteX122" fmla="*/ 808162 w 1168128"/>
                <a:gd name="connsiteY122" fmla="*/ 795915 h 1976307"/>
                <a:gd name="connsiteX123" fmla="*/ 712685 w 1168128"/>
                <a:gd name="connsiteY123" fmla="*/ 684727 h 1976307"/>
                <a:gd name="connsiteX124" fmla="*/ 699884 w 1168128"/>
                <a:gd name="connsiteY124" fmla="*/ 657805 h 1976307"/>
                <a:gd name="connsiteX125" fmla="*/ 662965 w 1168128"/>
                <a:gd name="connsiteY125" fmla="*/ 671998 h 1976307"/>
                <a:gd name="connsiteX126" fmla="*/ 626152 w 1168128"/>
                <a:gd name="connsiteY126" fmla="*/ 676497 h 1976307"/>
                <a:gd name="connsiteX127" fmla="*/ 646219 w 1168128"/>
                <a:gd name="connsiteY127" fmla="*/ 636596 h 1976307"/>
                <a:gd name="connsiteX128" fmla="*/ 734019 w 1168128"/>
                <a:gd name="connsiteY128" fmla="*/ 625831 h 1976307"/>
                <a:gd name="connsiteX129" fmla="*/ 724789 w 1168128"/>
                <a:gd name="connsiteY129" fmla="*/ 611923 h 1976307"/>
                <a:gd name="connsiteX130" fmla="*/ 664393 w 1168128"/>
                <a:gd name="connsiteY130" fmla="*/ 585037 h 1976307"/>
                <a:gd name="connsiteX131" fmla="*/ 738982 w 1168128"/>
                <a:gd name="connsiteY131" fmla="*/ 553384 h 1976307"/>
                <a:gd name="connsiteX132" fmla="*/ 906174 w 1168128"/>
                <a:gd name="connsiteY132" fmla="*/ 339097 h 1976307"/>
                <a:gd name="connsiteX133" fmla="*/ 881715 w 1168128"/>
                <a:gd name="connsiteY133" fmla="*/ 294554 h 1976307"/>
                <a:gd name="connsiteX134" fmla="*/ 831192 w 1168128"/>
                <a:gd name="connsiteY134" fmla="*/ 300749 h 1976307"/>
                <a:gd name="connsiteX135" fmla="*/ 818552 w 1168128"/>
                <a:gd name="connsiteY135" fmla="*/ 281664 h 1976307"/>
                <a:gd name="connsiteX136" fmla="*/ 768493 w 1168128"/>
                <a:gd name="connsiteY136" fmla="*/ 287805 h 1976307"/>
                <a:gd name="connsiteX137" fmla="*/ 757103 w 1168128"/>
                <a:gd name="connsiteY137" fmla="*/ 278897 h 1976307"/>
                <a:gd name="connsiteX138" fmla="*/ 736822 w 1168128"/>
                <a:gd name="connsiteY138" fmla="*/ 281396 h 1976307"/>
                <a:gd name="connsiteX139" fmla="*/ 725396 w 1168128"/>
                <a:gd name="connsiteY139" fmla="*/ 272452 h 1976307"/>
                <a:gd name="connsiteX140" fmla="*/ 705115 w 1168128"/>
                <a:gd name="connsiteY140" fmla="*/ 274934 h 1976307"/>
                <a:gd name="connsiteX141" fmla="*/ 694136 w 1168128"/>
                <a:gd name="connsiteY141" fmla="*/ 266346 h 1976307"/>
                <a:gd name="connsiteX142" fmla="*/ 585591 w 1168128"/>
                <a:gd name="connsiteY142" fmla="*/ 310836 h 1976307"/>
                <a:gd name="connsiteX143" fmla="*/ 569755 w 1168128"/>
                <a:gd name="connsiteY143" fmla="*/ 286966 h 1976307"/>
                <a:gd name="connsiteX144" fmla="*/ 651378 w 1168128"/>
                <a:gd name="connsiteY144" fmla="*/ 227445 h 1976307"/>
                <a:gd name="connsiteX145" fmla="*/ 626491 w 1168128"/>
                <a:gd name="connsiteY145" fmla="*/ 222411 h 1976307"/>
                <a:gd name="connsiteX146" fmla="*/ 583627 w 1168128"/>
                <a:gd name="connsiteY146" fmla="*/ 200844 h 1976307"/>
                <a:gd name="connsiteX147" fmla="*/ 622671 w 1168128"/>
                <a:gd name="connsiteY147" fmla="*/ 196060 h 1976307"/>
                <a:gd name="connsiteX148" fmla="*/ 630294 w 1168128"/>
                <a:gd name="connsiteY148" fmla="*/ 174494 h 1976307"/>
                <a:gd name="connsiteX149" fmla="*/ 671570 w 1168128"/>
                <a:gd name="connsiteY149" fmla="*/ 169423 h 1976307"/>
                <a:gd name="connsiteX150" fmla="*/ 680425 w 1168128"/>
                <a:gd name="connsiteY150" fmla="*/ 158015 h 1976307"/>
                <a:gd name="connsiteX151" fmla="*/ 691154 w 1168128"/>
                <a:gd name="connsiteY151" fmla="*/ 156694 h 1976307"/>
                <a:gd name="connsiteX152" fmla="*/ 709114 w 1168128"/>
                <a:gd name="connsiteY152" fmla="*/ 144733 h 1976307"/>
                <a:gd name="connsiteX153" fmla="*/ 718558 w 1168128"/>
                <a:gd name="connsiteY153" fmla="*/ 132718 h 1976307"/>
                <a:gd name="connsiteX154" fmla="*/ 728020 w 1168128"/>
                <a:gd name="connsiteY154" fmla="*/ 131540 h 1976307"/>
                <a:gd name="connsiteX155" fmla="*/ 735679 w 1168128"/>
                <a:gd name="connsiteY155" fmla="*/ 109991 h 1976307"/>
                <a:gd name="connsiteX156" fmla="*/ 776259 w 1168128"/>
                <a:gd name="connsiteY156" fmla="*/ 105010 h 1976307"/>
                <a:gd name="connsiteX157" fmla="*/ 782972 w 1168128"/>
                <a:gd name="connsiteY157" fmla="*/ 86069 h 1976307"/>
                <a:gd name="connsiteX158" fmla="*/ 779294 w 1168128"/>
                <a:gd name="connsiteY158" fmla="*/ 55861 h 1976307"/>
                <a:gd name="connsiteX159" fmla="*/ 785042 w 1168128"/>
                <a:gd name="connsiteY159" fmla="*/ 27243 h 1976307"/>
                <a:gd name="connsiteX160" fmla="*/ 570380 w 1168128"/>
                <a:gd name="connsiteY160" fmla="*/ 12979 h 1976307"/>
                <a:gd name="connsiteX161" fmla="*/ 570077 w 1168128"/>
                <a:gd name="connsiteY161" fmla="*/ 12872 h 1976307"/>
                <a:gd name="connsiteX162" fmla="*/ 521499 w 1168128"/>
                <a:gd name="connsiteY162" fmla="*/ 0 h 1976307"/>
                <a:gd name="connsiteX163" fmla="*/ 526016 w 1168128"/>
                <a:gd name="connsiteY163" fmla="*/ 36866 h 1976307"/>
                <a:gd name="connsiteX164" fmla="*/ 508234 w 1168128"/>
                <a:gd name="connsiteY164" fmla="*/ 72268 h 1976307"/>
                <a:gd name="connsiteX165" fmla="*/ 479295 w 1168128"/>
                <a:gd name="connsiteY165" fmla="*/ 75821 h 1976307"/>
                <a:gd name="connsiteX166" fmla="*/ 487954 w 1168128"/>
                <a:gd name="connsiteY166" fmla="*/ 146143 h 1976307"/>
                <a:gd name="connsiteX167" fmla="*/ 418667 w 1168128"/>
                <a:gd name="connsiteY167" fmla="*/ 175458 h 1976307"/>
                <a:gd name="connsiteX168" fmla="*/ 398725 w 1168128"/>
                <a:gd name="connsiteY168" fmla="*/ 258295 h 1976307"/>
                <a:gd name="connsiteX169" fmla="*/ 406277 w 1168128"/>
                <a:gd name="connsiteY169" fmla="*/ 319637 h 1976307"/>
                <a:gd name="connsiteX170" fmla="*/ 349201 w 1168128"/>
                <a:gd name="connsiteY170" fmla="*/ 439662 h 1976307"/>
                <a:gd name="connsiteX171" fmla="*/ 362752 w 1168128"/>
                <a:gd name="connsiteY171" fmla="*/ 474867 h 1976307"/>
                <a:gd name="connsiteX172" fmla="*/ 481669 w 1168128"/>
                <a:gd name="connsiteY172" fmla="*/ 435484 h 1976307"/>
                <a:gd name="connsiteX173" fmla="*/ 386514 w 1168128"/>
                <a:gd name="connsiteY173" fmla="*/ 498701 h 1976307"/>
                <a:gd name="connsiteX174" fmla="*/ 373785 w 1168128"/>
                <a:gd name="connsiteY174" fmla="*/ 561900 h 1976307"/>
                <a:gd name="connsiteX175" fmla="*/ 346273 w 1168128"/>
                <a:gd name="connsiteY175" fmla="*/ 585573 h 1976307"/>
                <a:gd name="connsiteX176" fmla="*/ 352379 w 1168128"/>
                <a:gd name="connsiteY176" fmla="*/ 635168 h 1976307"/>
                <a:gd name="connsiteX177" fmla="*/ 341346 w 1168128"/>
                <a:gd name="connsiteY177" fmla="*/ 689869 h 1976307"/>
                <a:gd name="connsiteX178" fmla="*/ 361466 w 1168128"/>
                <a:gd name="connsiteY178" fmla="*/ 672534 h 197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168128" h="1976307">
                  <a:moveTo>
                    <a:pt x="361466" y="672534"/>
                  </a:moveTo>
                  <a:lnTo>
                    <a:pt x="386728" y="601283"/>
                  </a:lnTo>
                  <a:lnTo>
                    <a:pt x="417560" y="666125"/>
                  </a:lnTo>
                  <a:lnTo>
                    <a:pt x="452587" y="693511"/>
                  </a:lnTo>
                  <a:lnTo>
                    <a:pt x="447142" y="737947"/>
                  </a:lnTo>
                  <a:lnTo>
                    <a:pt x="446785" y="738554"/>
                  </a:lnTo>
                  <a:lnTo>
                    <a:pt x="378337" y="849670"/>
                  </a:lnTo>
                  <a:lnTo>
                    <a:pt x="364858" y="900818"/>
                  </a:lnTo>
                  <a:lnTo>
                    <a:pt x="382425" y="921313"/>
                  </a:lnTo>
                  <a:lnTo>
                    <a:pt x="385085" y="859132"/>
                  </a:lnTo>
                  <a:lnTo>
                    <a:pt x="414043" y="892820"/>
                  </a:lnTo>
                  <a:lnTo>
                    <a:pt x="442268" y="907031"/>
                  </a:lnTo>
                  <a:lnTo>
                    <a:pt x="447410" y="865184"/>
                  </a:lnTo>
                  <a:lnTo>
                    <a:pt x="483597" y="883376"/>
                  </a:lnTo>
                  <a:lnTo>
                    <a:pt x="598980" y="869236"/>
                  </a:lnTo>
                  <a:lnTo>
                    <a:pt x="583145" y="929257"/>
                  </a:lnTo>
                  <a:lnTo>
                    <a:pt x="552152" y="933060"/>
                  </a:lnTo>
                  <a:lnTo>
                    <a:pt x="528230" y="974764"/>
                  </a:lnTo>
                  <a:lnTo>
                    <a:pt x="544261" y="1023253"/>
                  </a:lnTo>
                  <a:lnTo>
                    <a:pt x="544297" y="1023574"/>
                  </a:lnTo>
                  <a:lnTo>
                    <a:pt x="550206" y="1071652"/>
                  </a:lnTo>
                  <a:lnTo>
                    <a:pt x="613173" y="1074365"/>
                  </a:lnTo>
                  <a:lnTo>
                    <a:pt x="600712" y="1153971"/>
                  </a:lnTo>
                  <a:lnTo>
                    <a:pt x="559900" y="1158970"/>
                  </a:lnTo>
                  <a:lnTo>
                    <a:pt x="546636" y="1209225"/>
                  </a:lnTo>
                  <a:lnTo>
                    <a:pt x="563275" y="1259481"/>
                  </a:lnTo>
                  <a:lnTo>
                    <a:pt x="541208" y="1287796"/>
                  </a:lnTo>
                  <a:lnTo>
                    <a:pt x="526123" y="1256071"/>
                  </a:lnTo>
                  <a:lnTo>
                    <a:pt x="368018" y="1285564"/>
                  </a:lnTo>
                  <a:lnTo>
                    <a:pt x="273470" y="1337605"/>
                  </a:lnTo>
                  <a:lnTo>
                    <a:pt x="268953" y="1374471"/>
                  </a:lnTo>
                  <a:lnTo>
                    <a:pt x="316191" y="1378078"/>
                  </a:lnTo>
                  <a:lnTo>
                    <a:pt x="344310" y="1353869"/>
                  </a:lnTo>
                  <a:lnTo>
                    <a:pt x="381693" y="1361439"/>
                  </a:lnTo>
                  <a:lnTo>
                    <a:pt x="363948" y="1396805"/>
                  </a:lnTo>
                  <a:lnTo>
                    <a:pt x="378230" y="1426834"/>
                  </a:lnTo>
                  <a:lnTo>
                    <a:pt x="291894" y="1501155"/>
                  </a:lnTo>
                  <a:lnTo>
                    <a:pt x="132289" y="1530933"/>
                  </a:lnTo>
                  <a:lnTo>
                    <a:pt x="127612" y="1569031"/>
                  </a:lnTo>
                  <a:lnTo>
                    <a:pt x="173601" y="1622608"/>
                  </a:lnTo>
                  <a:lnTo>
                    <a:pt x="211842" y="1617930"/>
                  </a:lnTo>
                  <a:lnTo>
                    <a:pt x="261008" y="1590883"/>
                  </a:lnTo>
                  <a:lnTo>
                    <a:pt x="362484" y="1641996"/>
                  </a:lnTo>
                  <a:lnTo>
                    <a:pt x="377569" y="1681254"/>
                  </a:lnTo>
                  <a:lnTo>
                    <a:pt x="429539" y="1704409"/>
                  </a:lnTo>
                  <a:lnTo>
                    <a:pt x="586394" y="1637943"/>
                  </a:lnTo>
                  <a:lnTo>
                    <a:pt x="493648" y="1713121"/>
                  </a:lnTo>
                  <a:lnTo>
                    <a:pt x="467084" y="1735991"/>
                  </a:lnTo>
                  <a:lnTo>
                    <a:pt x="471065" y="1768430"/>
                  </a:lnTo>
                  <a:lnTo>
                    <a:pt x="394673" y="1766948"/>
                  </a:lnTo>
                  <a:lnTo>
                    <a:pt x="319726" y="1745149"/>
                  </a:lnTo>
                  <a:lnTo>
                    <a:pt x="285163" y="1740829"/>
                  </a:lnTo>
                  <a:lnTo>
                    <a:pt x="296785" y="1758396"/>
                  </a:lnTo>
                  <a:lnTo>
                    <a:pt x="241888" y="1765127"/>
                  </a:lnTo>
                  <a:lnTo>
                    <a:pt x="93727" y="1896452"/>
                  </a:lnTo>
                  <a:lnTo>
                    <a:pt x="63663" y="1910699"/>
                  </a:lnTo>
                  <a:lnTo>
                    <a:pt x="23851" y="1915590"/>
                  </a:lnTo>
                  <a:lnTo>
                    <a:pt x="0" y="1946208"/>
                  </a:lnTo>
                  <a:lnTo>
                    <a:pt x="18674" y="1960811"/>
                  </a:lnTo>
                  <a:lnTo>
                    <a:pt x="47846" y="1946940"/>
                  </a:lnTo>
                  <a:lnTo>
                    <a:pt x="61878" y="1957884"/>
                  </a:lnTo>
                  <a:lnTo>
                    <a:pt x="64163" y="1976308"/>
                  </a:lnTo>
                  <a:lnTo>
                    <a:pt x="70322" y="1975558"/>
                  </a:lnTo>
                  <a:lnTo>
                    <a:pt x="107974" y="1950564"/>
                  </a:lnTo>
                  <a:lnTo>
                    <a:pt x="156748" y="1923713"/>
                  </a:lnTo>
                  <a:lnTo>
                    <a:pt x="209699" y="1917233"/>
                  </a:lnTo>
                  <a:lnTo>
                    <a:pt x="245173" y="1954117"/>
                  </a:lnTo>
                  <a:lnTo>
                    <a:pt x="264347" y="1951760"/>
                  </a:lnTo>
                  <a:lnTo>
                    <a:pt x="325957" y="1964257"/>
                  </a:lnTo>
                  <a:lnTo>
                    <a:pt x="350183" y="1921999"/>
                  </a:lnTo>
                  <a:lnTo>
                    <a:pt x="367679" y="1887097"/>
                  </a:lnTo>
                  <a:lnTo>
                    <a:pt x="411418" y="1892507"/>
                  </a:lnTo>
                  <a:lnTo>
                    <a:pt x="473850" y="1884830"/>
                  </a:lnTo>
                  <a:lnTo>
                    <a:pt x="499112" y="1922981"/>
                  </a:lnTo>
                  <a:lnTo>
                    <a:pt x="527855" y="1919447"/>
                  </a:lnTo>
                  <a:lnTo>
                    <a:pt x="586448" y="1921999"/>
                  </a:lnTo>
                  <a:lnTo>
                    <a:pt x="585269" y="1912412"/>
                  </a:lnTo>
                  <a:lnTo>
                    <a:pt x="618511" y="1908324"/>
                  </a:lnTo>
                  <a:lnTo>
                    <a:pt x="658144" y="1893060"/>
                  </a:lnTo>
                  <a:lnTo>
                    <a:pt x="710507" y="1897059"/>
                  </a:lnTo>
                  <a:lnTo>
                    <a:pt x="784614" y="1887954"/>
                  </a:lnTo>
                  <a:lnTo>
                    <a:pt x="756924" y="1906414"/>
                  </a:lnTo>
                  <a:lnTo>
                    <a:pt x="766636" y="1921089"/>
                  </a:lnTo>
                  <a:lnTo>
                    <a:pt x="857293" y="1909967"/>
                  </a:lnTo>
                  <a:lnTo>
                    <a:pt x="880376" y="1928016"/>
                  </a:lnTo>
                  <a:lnTo>
                    <a:pt x="930704" y="1931872"/>
                  </a:lnTo>
                  <a:lnTo>
                    <a:pt x="979870" y="1915555"/>
                  </a:lnTo>
                  <a:lnTo>
                    <a:pt x="1009881" y="1911877"/>
                  </a:lnTo>
                  <a:lnTo>
                    <a:pt x="1047622" y="1886794"/>
                  </a:lnTo>
                  <a:lnTo>
                    <a:pt x="1085898" y="1872101"/>
                  </a:lnTo>
                  <a:lnTo>
                    <a:pt x="1092950" y="1852159"/>
                  </a:lnTo>
                  <a:lnTo>
                    <a:pt x="1098663" y="1823845"/>
                  </a:lnTo>
                  <a:lnTo>
                    <a:pt x="1070688" y="1818150"/>
                  </a:lnTo>
                  <a:lnTo>
                    <a:pt x="1039891" y="1821917"/>
                  </a:lnTo>
                  <a:lnTo>
                    <a:pt x="978174" y="1794441"/>
                  </a:lnTo>
                  <a:lnTo>
                    <a:pt x="1041659" y="1764216"/>
                  </a:lnTo>
                  <a:lnTo>
                    <a:pt x="1057173" y="1720512"/>
                  </a:lnTo>
                  <a:lnTo>
                    <a:pt x="1108375" y="1714228"/>
                  </a:lnTo>
                  <a:lnTo>
                    <a:pt x="1150401" y="1648869"/>
                  </a:lnTo>
                  <a:lnTo>
                    <a:pt x="1168128" y="1544984"/>
                  </a:lnTo>
                  <a:lnTo>
                    <a:pt x="1151079" y="1487176"/>
                  </a:lnTo>
                  <a:lnTo>
                    <a:pt x="1108643" y="1462771"/>
                  </a:lnTo>
                  <a:lnTo>
                    <a:pt x="1028305" y="1462557"/>
                  </a:lnTo>
                  <a:lnTo>
                    <a:pt x="999491" y="1487373"/>
                  </a:lnTo>
                  <a:lnTo>
                    <a:pt x="937988" y="1449382"/>
                  </a:lnTo>
                  <a:lnTo>
                    <a:pt x="969587" y="1422210"/>
                  </a:lnTo>
                  <a:lnTo>
                    <a:pt x="1005686" y="1398233"/>
                  </a:lnTo>
                  <a:lnTo>
                    <a:pt x="971390" y="1282101"/>
                  </a:lnTo>
                  <a:lnTo>
                    <a:pt x="927401" y="1247716"/>
                  </a:lnTo>
                  <a:lnTo>
                    <a:pt x="876413" y="1243824"/>
                  </a:lnTo>
                  <a:lnTo>
                    <a:pt x="876270" y="1237379"/>
                  </a:lnTo>
                  <a:lnTo>
                    <a:pt x="927508" y="1231095"/>
                  </a:lnTo>
                  <a:lnTo>
                    <a:pt x="960786" y="1237879"/>
                  </a:lnTo>
                  <a:lnTo>
                    <a:pt x="978549" y="1258553"/>
                  </a:lnTo>
                  <a:lnTo>
                    <a:pt x="966195" y="1157988"/>
                  </a:lnTo>
                  <a:lnTo>
                    <a:pt x="911208" y="1042194"/>
                  </a:lnTo>
                  <a:lnTo>
                    <a:pt x="878377" y="1016540"/>
                  </a:lnTo>
                  <a:lnTo>
                    <a:pt x="824283" y="1012434"/>
                  </a:lnTo>
                  <a:lnTo>
                    <a:pt x="827014" y="948003"/>
                  </a:lnTo>
                  <a:lnTo>
                    <a:pt x="800592" y="899979"/>
                  </a:lnTo>
                  <a:lnTo>
                    <a:pt x="797986" y="878645"/>
                  </a:lnTo>
                  <a:lnTo>
                    <a:pt x="798021" y="878252"/>
                  </a:lnTo>
                  <a:lnTo>
                    <a:pt x="808162" y="795915"/>
                  </a:lnTo>
                  <a:lnTo>
                    <a:pt x="712685" y="684727"/>
                  </a:lnTo>
                  <a:lnTo>
                    <a:pt x="699884" y="657805"/>
                  </a:lnTo>
                  <a:lnTo>
                    <a:pt x="662965" y="671998"/>
                  </a:lnTo>
                  <a:lnTo>
                    <a:pt x="626152" y="676497"/>
                  </a:lnTo>
                  <a:lnTo>
                    <a:pt x="646219" y="636596"/>
                  </a:lnTo>
                  <a:lnTo>
                    <a:pt x="734019" y="625831"/>
                  </a:lnTo>
                  <a:lnTo>
                    <a:pt x="724789" y="611923"/>
                  </a:lnTo>
                  <a:lnTo>
                    <a:pt x="664393" y="585037"/>
                  </a:lnTo>
                  <a:lnTo>
                    <a:pt x="738982" y="553384"/>
                  </a:lnTo>
                  <a:lnTo>
                    <a:pt x="906174" y="339097"/>
                  </a:lnTo>
                  <a:lnTo>
                    <a:pt x="881715" y="294554"/>
                  </a:lnTo>
                  <a:lnTo>
                    <a:pt x="831192" y="300749"/>
                  </a:lnTo>
                  <a:lnTo>
                    <a:pt x="818552" y="281664"/>
                  </a:lnTo>
                  <a:lnTo>
                    <a:pt x="768493" y="287805"/>
                  </a:lnTo>
                  <a:lnTo>
                    <a:pt x="757103" y="278897"/>
                  </a:lnTo>
                  <a:lnTo>
                    <a:pt x="736822" y="281396"/>
                  </a:lnTo>
                  <a:lnTo>
                    <a:pt x="725396" y="272452"/>
                  </a:lnTo>
                  <a:lnTo>
                    <a:pt x="705115" y="274934"/>
                  </a:lnTo>
                  <a:lnTo>
                    <a:pt x="694136" y="266346"/>
                  </a:lnTo>
                  <a:lnTo>
                    <a:pt x="585591" y="310836"/>
                  </a:lnTo>
                  <a:lnTo>
                    <a:pt x="569755" y="286966"/>
                  </a:lnTo>
                  <a:lnTo>
                    <a:pt x="651378" y="227445"/>
                  </a:lnTo>
                  <a:lnTo>
                    <a:pt x="626491" y="222411"/>
                  </a:lnTo>
                  <a:lnTo>
                    <a:pt x="583627" y="200844"/>
                  </a:lnTo>
                  <a:lnTo>
                    <a:pt x="622671" y="196060"/>
                  </a:lnTo>
                  <a:lnTo>
                    <a:pt x="630294" y="174494"/>
                  </a:lnTo>
                  <a:lnTo>
                    <a:pt x="671570" y="169423"/>
                  </a:lnTo>
                  <a:lnTo>
                    <a:pt x="680425" y="158015"/>
                  </a:lnTo>
                  <a:lnTo>
                    <a:pt x="691154" y="156694"/>
                  </a:lnTo>
                  <a:lnTo>
                    <a:pt x="709114" y="144733"/>
                  </a:lnTo>
                  <a:lnTo>
                    <a:pt x="718558" y="132718"/>
                  </a:lnTo>
                  <a:lnTo>
                    <a:pt x="728020" y="131540"/>
                  </a:lnTo>
                  <a:lnTo>
                    <a:pt x="735679" y="109991"/>
                  </a:lnTo>
                  <a:lnTo>
                    <a:pt x="776259" y="105010"/>
                  </a:lnTo>
                  <a:lnTo>
                    <a:pt x="782972" y="86069"/>
                  </a:lnTo>
                  <a:lnTo>
                    <a:pt x="779294" y="55861"/>
                  </a:lnTo>
                  <a:lnTo>
                    <a:pt x="785042" y="27243"/>
                  </a:lnTo>
                  <a:lnTo>
                    <a:pt x="570380" y="12979"/>
                  </a:lnTo>
                  <a:lnTo>
                    <a:pt x="570077" y="12872"/>
                  </a:lnTo>
                  <a:lnTo>
                    <a:pt x="521499" y="0"/>
                  </a:lnTo>
                  <a:lnTo>
                    <a:pt x="526016" y="36866"/>
                  </a:lnTo>
                  <a:lnTo>
                    <a:pt x="508234" y="72268"/>
                  </a:lnTo>
                  <a:lnTo>
                    <a:pt x="479295" y="75821"/>
                  </a:lnTo>
                  <a:lnTo>
                    <a:pt x="487954" y="146143"/>
                  </a:lnTo>
                  <a:lnTo>
                    <a:pt x="418667" y="175458"/>
                  </a:lnTo>
                  <a:lnTo>
                    <a:pt x="398725" y="258295"/>
                  </a:lnTo>
                  <a:lnTo>
                    <a:pt x="406277" y="319637"/>
                  </a:lnTo>
                  <a:lnTo>
                    <a:pt x="349201" y="439662"/>
                  </a:lnTo>
                  <a:lnTo>
                    <a:pt x="362752" y="474867"/>
                  </a:lnTo>
                  <a:lnTo>
                    <a:pt x="481669" y="435484"/>
                  </a:lnTo>
                  <a:lnTo>
                    <a:pt x="386514" y="498701"/>
                  </a:lnTo>
                  <a:lnTo>
                    <a:pt x="373785" y="561900"/>
                  </a:lnTo>
                  <a:lnTo>
                    <a:pt x="346273" y="585573"/>
                  </a:lnTo>
                  <a:lnTo>
                    <a:pt x="352379" y="635168"/>
                  </a:lnTo>
                  <a:lnTo>
                    <a:pt x="341346" y="689869"/>
                  </a:lnTo>
                  <a:lnTo>
                    <a:pt x="361466" y="672534"/>
                  </a:lnTo>
                  <a:close/>
                </a:path>
              </a:pathLst>
            </a:custGeom>
            <a:noFill/>
            <a:ln w="1785" cap="flat">
              <a:noFill/>
              <a:prstDash val="solid"/>
              <a:miter/>
            </a:ln>
          </p:spPr>
          <p:txBody>
            <a:bodyPr rtlCol="0" anchor="ctr"/>
            <a:lstStyle/>
            <a:p>
              <a:endParaRPr lang="de-AT"/>
            </a:p>
          </p:txBody>
        </p:sp>
        <p:sp>
          <p:nvSpPr>
            <p:cNvPr id="172" name="Freihandform: Form 171">
              <a:extLst>
                <a:ext uri="{FF2B5EF4-FFF2-40B4-BE49-F238E27FC236}">
                  <a16:creationId xmlns:a16="http://schemas.microsoft.com/office/drawing/2014/main" id="{25F8230D-CCCA-4DEA-B251-AB1EFD3482C7}"/>
                </a:ext>
              </a:extLst>
            </p:cNvPr>
            <p:cNvSpPr/>
            <p:nvPr/>
          </p:nvSpPr>
          <p:spPr>
            <a:xfrm>
              <a:off x="3141786" y="-16722"/>
              <a:ext cx="8879175" cy="6886870"/>
            </a:xfrm>
            <a:custGeom>
              <a:avLst/>
              <a:gdLst>
                <a:gd name="connsiteX0" fmla="*/ 468833 w 8879175"/>
                <a:gd name="connsiteY0" fmla="*/ 6667209 h 6886870"/>
                <a:gd name="connsiteX1" fmla="*/ 520749 w 8879175"/>
                <a:gd name="connsiteY1" fmla="*/ 6598654 h 6886870"/>
                <a:gd name="connsiteX2" fmla="*/ 556098 w 8879175"/>
                <a:gd name="connsiteY2" fmla="*/ 6547667 h 6886870"/>
                <a:gd name="connsiteX3" fmla="*/ 596642 w 8879175"/>
                <a:gd name="connsiteY3" fmla="*/ 6494858 h 6886870"/>
                <a:gd name="connsiteX4" fmla="*/ 650486 w 8879175"/>
                <a:gd name="connsiteY4" fmla="*/ 6468382 h 6886870"/>
                <a:gd name="connsiteX5" fmla="*/ 710543 w 8879175"/>
                <a:gd name="connsiteY5" fmla="*/ 6477005 h 6886870"/>
                <a:gd name="connsiteX6" fmla="*/ 714113 w 8879175"/>
                <a:gd name="connsiteY6" fmla="*/ 6591871 h 6886870"/>
                <a:gd name="connsiteX7" fmla="*/ 790880 w 8879175"/>
                <a:gd name="connsiteY7" fmla="*/ 6642412 h 6886870"/>
                <a:gd name="connsiteX8" fmla="*/ 821069 w 8879175"/>
                <a:gd name="connsiteY8" fmla="*/ 6661782 h 6886870"/>
                <a:gd name="connsiteX9" fmla="*/ 958840 w 8879175"/>
                <a:gd name="connsiteY9" fmla="*/ 6672708 h 6886870"/>
                <a:gd name="connsiteX10" fmla="*/ 1077097 w 8879175"/>
                <a:gd name="connsiteY10" fmla="*/ 6650410 h 6886870"/>
                <a:gd name="connsiteX11" fmla="*/ 1154739 w 8879175"/>
                <a:gd name="connsiteY11" fmla="*/ 6733283 h 6886870"/>
                <a:gd name="connsiteX12" fmla="*/ 1358083 w 8879175"/>
                <a:gd name="connsiteY12" fmla="*/ 6756741 h 6886870"/>
                <a:gd name="connsiteX13" fmla="*/ 1588902 w 8879175"/>
                <a:gd name="connsiteY13" fmla="*/ 6685883 h 6886870"/>
                <a:gd name="connsiteX14" fmla="*/ 1703713 w 8879175"/>
                <a:gd name="connsiteY14" fmla="*/ 6631450 h 6886870"/>
                <a:gd name="connsiteX15" fmla="*/ 1884759 w 8879175"/>
                <a:gd name="connsiteY15" fmla="*/ 6560914 h 6886870"/>
                <a:gd name="connsiteX16" fmla="*/ 1884973 w 8879175"/>
                <a:gd name="connsiteY16" fmla="*/ 6560914 h 6886870"/>
                <a:gd name="connsiteX17" fmla="*/ 2016173 w 8879175"/>
                <a:gd name="connsiteY17" fmla="*/ 6528975 h 6886870"/>
                <a:gd name="connsiteX18" fmla="*/ 2016441 w 8879175"/>
                <a:gd name="connsiteY18" fmla="*/ 6528975 h 6886870"/>
                <a:gd name="connsiteX19" fmla="*/ 2201004 w 8879175"/>
                <a:gd name="connsiteY19" fmla="*/ 6514996 h 6886870"/>
                <a:gd name="connsiteX20" fmla="*/ 2385317 w 8879175"/>
                <a:gd name="connsiteY20" fmla="*/ 6505498 h 6886870"/>
                <a:gd name="connsiteX21" fmla="*/ 2385906 w 8879175"/>
                <a:gd name="connsiteY21" fmla="*/ 6505695 h 6886870"/>
                <a:gd name="connsiteX22" fmla="*/ 2545439 w 8879175"/>
                <a:gd name="connsiteY22" fmla="*/ 6560646 h 6886870"/>
                <a:gd name="connsiteX23" fmla="*/ 2674943 w 8879175"/>
                <a:gd name="connsiteY23" fmla="*/ 6515032 h 6886870"/>
                <a:gd name="connsiteX24" fmla="*/ 2675336 w 8879175"/>
                <a:gd name="connsiteY24" fmla="*/ 6515032 h 6886870"/>
                <a:gd name="connsiteX25" fmla="*/ 2938576 w 8879175"/>
                <a:gd name="connsiteY25" fmla="*/ 6489770 h 6886870"/>
                <a:gd name="connsiteX26" fmla="*/ 2939165 w 8879175"/>
                <a:gd name="connsiteY26" fmla="*/ 6489931 h 6886870"/>
                <a:gd name="connsiteX27" fmla="*/ 3130547 w 8879175"/>
                <a:gd name="connsiteY27" fmla="*/ 6544578 h 6886870"/>
                <a:gd name="connsiteX28" fmla="*/ 3288188 w 8879175"/>
                <a:gd name="connsiteY28" fmla="*/ 6529492 h 6886870"/>
                <a:gd name="connsiteX29" fmla="*/ 3422762 w 8879175"/>
                <a:gd name="connsiteY29" fmla="*/ 6467008 h 6886870"/>
                <a:gd name="connsiteX30" fmla="*/ 3423566 w 8879175"/>
                <a:gd name="connsiteY30" fmla="*/ 6467008 h 6886870"/>
                <a:gd name="connsiteX31" fmla="*/ 3552909 w 8879175"/>
                <a:gd name="connsiteY31" fmla="*/ 6474363 h 6886870"/>
                <a:gd name="connsiteX32" fmla="*/ 3641031 w 8879175"/>
                <a:gd name="connsiteY32" fmla="*/ 6546328 h 6886870"/>
                <a:gd name="connsiteX33" fmla="*/ 3634390 w 8879175"/>
                <a:gd name="connsiteY33" fmla="*/ 6722392 h 6886870"/>
                <a:gd name="connsiteX34" fmla="*/ 3673827 w 8879175"/>
                <a:gd name="connsiteY34" fmla="*/ 6827564 h 6886870"/>
                <a:gd name="connsiteX35" fmla="*/ 3673827 w 8879175"/>
                <a:gd name="connsiteY35" fmla="*/ 6828277 h 6886870"/>
                <a:gd name="connsiteX36" fmla="*/ 3669149 w 8879175"/>
                <a:gd name="connsiteY36" fmla="*/ 6886799 h 6886870"/>
                <a:gd name="connsiteX37" fmla="*/ 8391329 w 8879175"/>
                <a:gd name="connsiteY37" fmla="*/ 6886799 h 6886870"/>
                <a:gd name="connsiteX38" fmla="*/ 8398006 w 8879175"/>
                <a:gd name="connsiteY38" fmla="*/ 6773755 h 6886870"/>
                <a:gd name="connsiteX39" fmla="*/ 8387884 w 8879175"/>
                <a:gd name="connsiteY39" fmla="*/ 6703540 h 6886870"/>
                <a:gd name="connsiteX40" fmla="*/ 8389348 w 8879175"/>
                <a:gd name="connsiteY40" fmla="*/ 6638324 h 6886870"/>
                <a:gd name="connsiteX41" fmla="*/ 8389348 w 8879175"/>
                <a:gd name="connsiteY41" fmla="*/ 6638020 h 6886870"/>
                <a:gd name="connsiteX42" fmla="*/ 8404754 w 8879175"/>
                <a:gd name="connsiteY42" fmla="*/ 6524690 h 6886870"/>
                <a:gd name="connsiteX43" fmla="*/ 8395828 w 8879175"/>
                <a:gd name="connsiteY43" fmla="*/ 6419751 h 6886870"/>
                <a:gd name="connsiteX44" fmla="*/ 8396150 w 8879175"/>
                <a:gd name="connsiteY44" fmla="*/ 6419019 h 6886870"/>
                <a:gd name="connsiteX45" fmla="*/ 8452529 w 8879175"/>
                <a:gd name="connsiteY45" fmla="*/ 6286141 h 6886870"/>
                <a:gd name="connsiteX46" fmla="*/ 8457617 w 8879175"/>
                <a:gd name="connsiteY46" fmla="*/ 6099150 h 6886870"/>
                <a:gd name="connsiteX47" fmla="*/ 8373352 w 8879175"/>
                <a:gd name="connsiteY47" fmla="*/ 5994051 h 6886870"/>
                <a:gd name="connsiteX48" fmla="*/ 8373245 w 8879175"/>
                <a:gd name="connsiteY48" fmla="*/ 5993104 h 6886870"/>
                <a:gd name="connsiteX49" fmla="*/ 8367175 w 8879175"/>
                <a:gd name="connsiteY49" fmla="*/ 5939546 h 6886870"/>
                <a:gd name="connsiteX50" fmla="*/ 8367175 w 8879175"/>
                <a:gd name="connsiteY50" fmla="*/ 5939189 h 6886870"/>
                <a:gd name="connsiteX51" fmla="*/ 8380350 w 8879175"/>
                <a:gd name="connsiteY51" fmla="*/ 5817004 h 6886870"/>
                <a:gd name="connsiteX52" fmla="*/ 8349518 w 8879175"/>
                <a:gd name="connsiteY52" fmla="*/ 5704210 h 6886870"/>
                <a:gd name="connsiteX53" fmla="*/ 8297745 w 8879175"/>
                <a:gd name="connsiteY53" fmla="*/ 5745039 h 6886870"/>
                <a:gd name="connsiteX54" fmla="*/ 8252756 w 8879175"/>
                <a:gd name="connsiteY54" fmla="*/ 5805739 h 6886870"/>
                <a:gd name="connsiteX55" fmla="*/ 8139855 w 8879175"/>
                <a:gd name="connsiteY55" fmla="*/ 5791867 h 6886870"/>
                <a:gd name="connsiteX56" fmla="*/ 8083833 w 8879175"/>
                <a:gd name="connsiteY56" fmla="*/ 5843641 h 6886870"/>
                <a:gd name="connsiteX57" fmla="*/ 8043931 w 8879175"/>
                <a:gd name="connsiteY57" fmla="*/ 5895414 h 6886870"/>
                <a:gd name="connsiteX58" fmla="*/ 7989088 w 8879175"/>
                <a:gd name="connsiteY58" fmla="*/ 5957185 h 6886870"/>
                <a:gd name="connsiteX59" fmla="*/ 7917962 w 8879175"/>
                <a:gd name="connsiteY59" fmla="*/ 6062409 h 6886870"/>
                <a:gd name="connsiteX60" fmla="*/ 7916890 w 8879175"/>
                <a:gd name="connsiteY60" fmla="*/ 6062748 h 6886870"/>
                <a:gd name="connsiteX61" fmla="*/ 7804560 w 8879175"/>
                <a:gd name="connsiteY61" fmla="*/ 6098633 h 6886870"/>
                <a:gd name="connsiteX62" fmla="*/ 7803650 w 8879175"/>
                <a:gd name="connsiteY62" fmla="*/ 6098400 h 6886870"/>
                <a:gd name="connsiteX63" fmla="*/ 7694195 w 8879175"/>
                <a:gd name="connsiteY63" fmla="*/ 6070514 h 6886870"/>
                <a:gd name="connsiteX64" fmla="*/ 7693963 w 8879175"/>
                <a:gd name="connsiteY64" fmla="*/ 6070407 h 6886870"/>
                <a:gd name="connsiteX65" fmla="*/ 7608518 w 8879175"/>
                <a:gd name="connsiteY65" fmla="*/ 6032916 h 6886870"/>
                <a:gd name="connsiteX66" fmla="*/ 7512506 w 8879175"/>
                <a:gd name="connsiteY66" fmla="*/ 6009957 h 6886870"/>
                <a:gd name="connsiteX67" fmla="*/ 7392446 w 8879175"/>
                <a:gd name="connsiteY67" fmla="*/ 6035630 h 6886870"/>
                <a:gd name="connsiteX68" fmla="*/ 7411762 w 8879175"/>
                <a:gd name="connsiteY68" fmla="*/ 6135284 h 6886870"/>
                <a:gd name="connsiteX69" fmla="*/ 7393571 w 8879175"/>
                <a:gd name="connsiteY69" fmla="*/ 6185486 h 6886870"/>
                <a:gd name="connsiteX70" fmla="*/ 7357597 w 8879175"/>
                <a:gd name="connsiteY70" fmla="*/ 6246543 h 6886870"/>
                <a:gd name="connsiteX71" fmla="*/ 7252034 w 8879175"/>
                <a:gd name="connsiteY71" fmla="*/ 6274876 h 6886870"/>
                <a:gd name="connsiteX72" fmla="*/ 7251444 w 8879175"/>
                <a:gd name="connsiteY72" fmla="*/ 6274876 h 6886870"/>
                <a:gd name="connsiteX73" fmla="*/ 7033533 w 8879175"/>
                <a:gd name="connsiteY73" fmla="*/ 6251988 h 6886870"/>
                <a:gd name="connsiteX74" fmla="*/ 6856218 w 8879175"/>
                <a:gd name="connsiteY74" fmla="*/ 6292211 h 6886870"/>
                <a:gd name="connsiteX75" fmla="*/ 6856218 w 8879175"/>
                <a:gd name="connsiteY75" fmla="*/ 6200679 h 6886870"/>
                <a:gd name="connsiteX76" fmla="*/ 6752369 w 8879175"/>
                <a:gd name="connsiteY76" fmla="*/ 6182826 h 6886870"/>
                <a:gd name="connsiteX77" fmla="*/ 6679511 w 8879175"/>
                <a:gd name="connsiteY77" fmla="*/ 6117699 h 6886870"/>
                <a:gd name="connsiteX78" fmla="*/ 6679315 w 8879175"/>
                <a:gd name="connsiteY78" fmla="*/ 6116575 h 6886870"/>
                <a:gd name="connsiteX79" fmla="*/ 6654732 w 8879175"/>
                <a:gd name="connsiteY79" fmla="*/ 5970503 h 6886870"/>
                <a:gd name="connsiteX80" fmla="*/ 6494145 w 8879175"/>
                <a:gd name="connsiteY80" fmla="*/ 5938100 h 6886870"/>
                <a:gd name="connsiteX81" fmla="*/ 6531440 w 8879175"/>
                <a:gd name="connsiteY81" fmla="*/ 5900002 h 6886870"/>
                <a:gd name="connsiteX82" fmla="*/ 6570448 w 8879175"/>
                <a:gd name="connsiteY82" fmla="*/ 5784387 h 6886870"/>
                <a:gd name="connsiteX83" fmla="*/ 6430589 w 8879175"/>
                <a:gd name="connsiteY83" fmla="*/ 5714797 h 6886870"/>
                <a:gd name="connsiteX84" fmla="*/ 6431964 w 8879175"/>
                <a:gd name="connsiteY84" fmla="*/ 5673860 h 6886870"/>
                <a:gd name="connsiteX85" fmla="*/ 6411451 w 8879175"/>
                <a:gd name="connsiteY85" fmla="*/ 5572099 h 6886870"/>
                <a:gd name="connsiteX86" fmla="*/ 6411451 w 8879175"/>
                <a:gd name="connsiteY86" fmla="*/ 5571670 h 6886870"/>
                <a:gd name="connsiteX87" fmla="*/ 6416968 w 8879175"/>
                <a:gd name="connsiteY87" fmla="*/ 5485620 h 6886870"/>
                <a:gd name="connsiteX88" fmla="*/ 6460225 w 8879175"/>
                <a:gd name="connsiteY88" fmla="*/ 5427366 h 6886870"/>
                <a:gd name="connsiteX89" fmla="*/ 6564021 w 8879175"/>
                <a:gd name="connsiteY89" fmla="*/ 5383645 h 6886870"/>
                <a:gd name="connsiteX90" fmla="*/ 6688331 w 8879175"/>
                <a:gd name="connsiteY90" fmla="*/ 5354812 h 6886870"/>
                <a:gd name="connsiteX91" fmla="*/ 6794269 w 8879175"/>
                <a:gd name="connsiteY91" fmla="*/ 5316161 h 6886870"/>
                <a:gd name="connsiteX92" fmla="*/ 6841472 w 8879175"/>
                <a:gd name="connsiteY92" fmla="*/ 5283865 h 6886870"/>
                <a:gd name="connsiteX93" fmla="*/ 6876124 w 8879175"/>
                <a:gd name="connsiteY93" fmla="*/ 5228914 h 6886870"/>
                <a:gd name="connsiteX94" fmla="*/ 6876124 w 8879175"/>
                <a:gd name="connsiteY94" fmla="*/ 5169857 h 6886870"/>
                <a:gd name="connsiteX95" fmla="*/ 6876446 w 8879175"/>
                <a:gd name="connsiteY95" fmla="*/ 5169196 h 6886870"/>
                <a:gd name="connsiteX96" fmla="*/ 6904743 w 8879175"/>
                <a:gd name="connsiteY96" fmla="*/ 5108907 h 6886870"/>
                <a:gd name="connsiteX97" fmla="*/ 6939395 w 8879175"/>
                <a:gd name="connsiteY97" fmla="*/ 5084842 h 6886870"/>
                <a:gd name="connsiteX98" fmla="*/ 7045905 w 8879175"/>
                <a:gd name="connsiteY98" fmla="*/ 5035675 h 6886870"/>
                <a:gd name="connsiteX99" fmla="*/ 7046547 w 8879175"/>
                <a:gd name="connsiteY99" fmla="*/ 5035675 h 6886870"/>
                <a:gd name="connsiteX100" fmla="*/ 7217453 w 8879175"/>
                <a:gd name="connsiteY100" fmla="*/ 5030462 h 6886870"/>
                <a:gd name="connsiteX101" fmla="*/ 7282723 w 8879175"/>
                <a:gd name="connsiteY101" fmla="*/ 4961069 h 6886870"/>
                <a:gd name="connsiteX102" fmla="*/ 7282883 w 8879175"/>
                <a:gd name="connsiteY102" fmla="*/ 4960943 h 6886870"/>
                <a:gd name="connsiteX103" fmla="*/ 7348938 w 8879175"/>
                <a:gd name="connsiteY103" fmla="*/ 4905992 h 6886870"/>
                <a:gd name="connsiteX104" fmla="*/ 7470213 w 8879175"/>
                <a:gd name="connsiteY104" fmla="*/ 4775577 h 6886870"/>
                <a:gd name="connsiteX105" fmla="*/ 7470856 w 8879175"/>
                <a:gd name="connsiteY105" fmla="*/ 4775310 h 6886870"/>
                <a:gd name="connsiteX106" fmla="*/ 7563690 w 8879175"/>
                <a:gd name="connsiteY106" fmla="*/ 4735730 h 6886870"/>
                <a:gd name="connsiteX107" fmla="*/ 7695801 w 8879175"/>
                <a:gd name="connsiteY107" fmla="*/ 4657481 h 6886870"/>
                <a:gd name="connsiteX108" fmla="*/ 7790689 w 8879175"/>
                <a:gd name="connsiteY108" fmla="*/ 4588408 h 6886870"/>
                <a:gd name="connsiteX109" fmla="*/ 7951972 w 8879175"/>
                <a:gd name="connsiteY109" fmla="*/ 4620847 h 6886870"/>
                <a:gd name="connsiteX110" fmla="*/ 8123698 w 8879175"/>
                <a:gd name="connsiteY110" fmla="*/ 4651643 h 6886870"/>
                <a:gd name="connsiteX111" fmla="*/ 8280481 w 8879175"/>
                <a:gd name="connsiteY111" fmla="*/ 4648412 h 6886870"/>
                <a:gd name="connsiteX112" fmla="*/ 8424982 w 8879175"/>
                <a:gd name="connsiteY112" fmla="*/ 4651643 h 6886870"/>
                <a:gd name="connsiteX113" fmla="*/ 8567680 w 8879175"/>
                <a:gd name="connsiteY113" fmla="*/ 4579250 h 6886870"/>
                <a:gd name="connsiteX114" fmla="*/ 8731926 w 8879175"/>
                <a:gd name="connsiteY114" fmla="*/ 4497502 h 6886870"/>
                <a:gd name="connsiteX115" fmla="*/ 8780325 w 8879175"/>
                <a:gd name="connsiteY115" fmla="*/ 4377674 h 6886870"/>
                <a:gd name="connsiteX116" fmla="*/ 8780628 w 8879175"/>
                <a:gd name="connsiteY116" fmla="*/ 4377281 h 6886870"/>
                <a:gd name="connsiteX117" fmla="*/ 8878265 w 8879175"/>
                <a:gd name="connsiteY117" fmla="*/ 4260274 h 6886870"/>
                <a:gd name="connsiteX118" fmla="*/ 8879176 w 8879175"/>
                <a:gd name="connsiteY118" fmla="*/ 4146890 h 6886870"/>
                <a:gd name="connsiteX119" fmla="*/ 8807497 w 8879175"/>
                <a:gd name="connsiteY119" fmla="*/ 4061054 h 6886870"/>
                <a:gd name="connsiteX120" fmla="*/ 8700612 w 8879175"/>
                <a:gd name="connsiteY120" fmla="*/ 3996891 h 6886870"/>
                <a:gd name="connsiteX121" fmla="*/ 8518995 w 8879175"/>
                <a:gd name="connsiteY121" fmla="*/ 3999497 h 6886870"/>
                <a:gd name="connsiteX122" fmla="*/ 8518263 w 8879175"/>
                <a:gd name="connsiteY122" fmla="*/ 3999122 h 6886870"/>
                <a:gd name="connsiteX123" fmla="*/ 8263700 w 8879175"/>
                <a:gd name="connsiteY123" fmla="*/ 3866779 h 6886870"/>
                <a:gd name="connsiteX124" fmla="*/ 8075852 w 8879175"/>
                <a:gd name="connsiteY124" fmla="*/ 3853015 h 6886870"/>
                <a:gd name="connsiteX125" fmla="*/ 7894824 w 8879175"/>
                <a:gd name="connsiteY125" fmla="*/ 3825986 h 6886870"/>
                <a:gd name="connsiteX126" fmla="*/ 7835072 w 8879175"/>
                <a:gd name="connsiteY126" fmla="*/ 3780318 h 6886870"/>
                <a:gd name="connsiteX127" fmla="*/ 7855674 w 8879175"/>
                <a:gd name="connsiteY127" fmla="*/ 3703390 h 6886870"/>
                <a:gd name="connsiteX128" fmla="*/ 7856120 w 8879175"/>
                <a:gd name="connsiteY128" fmla="*/ 3702855 h 6886870"/>
                <a:gd name="connsiteX129" fmla="*/ 7919640 w 8879175"/>
                <a:gd name="connsiteY129" fmla="*/ 3624963 h 6886870"/>
                <a:gd name="connsiteX130" fmla="*/ 7960469 w 8879175"/>
                <a:gd name="connsiteY130" fmla="*/ 3537787 h 6886870"/>
                <a:gd name="connsiteX131" fmla="*/ 7924031 w 8879175"/>
                <a:gd name="connsiteY131" fmla="*/ 3485782 h 6886870"/>
                <a:gd name="connsiteX132" fmla="*/ 7923889 w 8879175"/>
                <a:gd name="connsiteY132" fmla="*/ 3485139 h 6886870"/>
                <a:gd name="connsiteX133" fmla="*/ 7905858 w 8879175"/>
                <a:gd name="connsiteY133" fmla="*/ 3401785 h 6886870"/>
                <a:gd name="connsiteX134" fmla="*/ 8023401 w 8879175"/>
                <a:gd name="connsiteY134" fmla="*/ 3293239 h 6886870"/>
                <a:gd name="connsiteX135" fmla="*/ 8046859 w 8879175"/>
                <a:gd name="connsiteY135" fmla="*/ 3182463 h 6886870"/>
                <a:gd name="connsiteX136" fmla="*/ 8015278 w 8879175"/>
                <a:gd name="connsiteY136" fmla="*/ 3171858 h 6886870"/>
                <a:gd name="connsiteX137" fmla="*/ 7900323 w 8879175"/>
                <a:gd name="connsiteY137" fmla="*/ 3235825 h 6886870"/>
                <a:gd name="connsiteX138" fmla="*/ 7768998 w 8879175"/>
                <a:gd name="connsiteY138" fmla="*/ 3365061 h 6886870"/>
                <a:gd name="connsiteX139" fmla="*/ 7768819 w 8879175"/>
                <a:gd name="connsiteY139" fmla="*/ 3365168 h 6886870"/>
                <a:gd name="connsiteX140" fmla="*/ 7651116 w 8879175"/>
                <a:gd name="connsiteY140" fmla="*/ 3455111 h 6886870"/>
                <a:gd name="connsiteX141" fmla="*/ 7530377 w 8879175"/>
                <a:gd name="connsiteY141" fmla="*/ 3565459 h 6886870"/>
                <a:gd name="connsiteX142" fmla="*/ 7481478 w 8879175"/>
                <a:gd name="connsiteY142" fmla="*/ 3679896 h 6886870"/>
                <a:gd name="connsiteX143" fmla="*/ 7584596 w 8879175"/>
                <a:gd name="connsiteY143" fmla="*/ 3763804 h 6886870"/>
                <a:gd name="connsiteX144" fmla="*/ 7704942 w 8879175"/>
                <a:gd name="connsiteY144" fmla="*/ 3821665 h 6886870"/>
                <a:gd name="connsiteX145" fmla="*/ 7618606 w 8879175"/>
                <a:gd name="connsiteY145" fmla="*/ 3924854 h 6886870"/>
                <a:gd name="connsiteX146" fmla="*/ 7537696 w 8879175"/>
                <a:gd name="connsiteY146" fmla="*/ 4058554 h 6886870"/>
                <a:gd name="connsiteX147" fmla="*/ 7462554 w 8879175"/>
                <a:gd name="connsiteY147" fmla="*/ 4173616 h 6886870"/>
                <a:gd name="connsiteX148" fmla="*/ 7373932 w 8879175"/>
                <a:gd name="connsiteY148" fmla="*/ 4124056 h 6886870"/>
                <a:gd name="connsiteX149" fmla="*/ 7373486 w 8879175"/>
                <a:gd name="connsiteY149" fmla="*/ 4123110 h 6886870"/>
                <a:gd name="connsiteX150" fmla="*/ 7333407 w 8879175"/>
                <a:gd name="connsiteY150" fmla="*/ 4035846 h 6886870"/>
                <a:gd name="connsiteX151" fmla="*/ 7191941 w 8879175"/>
                <a:gd name="connsiteY151" fmla="*/ 3992910 h 6886870"/>
                <a:gd name="connsiteX152" fmla="*/ 7273296 w 8879175"/>
                <a:gd name="connsiteY152" fmla="*/ 3893398 h 6886870"/>
                <a:gd name="connsiteX153" fmla="*/ 7297237 w 8879175"/>
                <a:gd name="connsiteY153" fmla="*/ 3825557 h 6886870"/>
                <a:gd name="connsiteX154" fmla="*/ 7210419 w 8879175"/>
                <a:gd name="connsiteY154" fmla="*/ 3816220 h 6886870"/>
                <a:gd name="connsiteX155" fmla="*/ 7069988 w 8879175"/>
                <a:gd name="connsiteY155" fmla="*/ 3870046 h 6886870"/>
                <a:gd name="connsiteX156" fmla="*/ 7048440 w 8879175"/>
                <a:gd name="connsiteY156" fmla="*/ 3775658 h 6886870"/>
                <a:gd name="connsiteX157" fmla="*/ 6949124 w 8879175"/>
                <a:gd name="connsiteY157" fmla="*/ 3761216 h 6886870"/>
                <a:gd name="connsiteX158" fmla="*/ 6882069 w 8879175"/>
                <a:gd name="connsiteY158" fmla="*/ 3880704 h 6886870"/>
                <a:gd name="connsiteX159" fmla="*/ 6881909 w 8879175"/>
                <a:gd name="connsiteY159" fmla="*/ 3880901 h 6886870"/>
                <a:gd name="connsiteX160" fmla="*/ 6791912 w 8879175"/>
                <a:gd name="connsiteY160" fmla="*/ 3995462 h 6886870"/>
                <a:gd name="connsiteX161" fmla="*/ 6809605 w 8879175"/>
                <a:gd name="connsiteY161" fmla="*/ 4133250 h 6886870"/>
                <a:gd name="connsiteX162" fmla="*/ 6808926 w 8879175"/>
                <a:gd name="connsiteY162" fmla="*/ 4134250 h 6886870"/>
                <a:gd name="connsiteX163" fmla="*/ 6711432 w 8879175"/>
                <a:gd name="connsiteY163" fmla="*/ 4280518 h 6886870"/>
                <a:gd name="connsiteX164" fmla="*/ 6688223 w 8879175"/>
                <a:gd name="connsiteY164" fmla="*/ 4361981 h 6886870"/>
                <a:gd name="connsiteX165" fmla="*/ 6703702 w 8879175"/>
                <a:gd name="connsiteY165" fmla="*/ 4544669 h 6886870"/>
                <a:gd name="connsiteX166" fmla="*/ 6703166 w 8879175"/>
                <a:gd name="connsiteY166" fmla="*/ 4545579 h 6886870"/>
                <a:gd name="connsiteX167" fmla="*/ 6607332 w 8879175"/>
                <a:gd name="connsiteY167" fmla="*/ 4704666 h 6886870"/>
                <a:gd name="connsiteX168" fmla="*/ 6599263 w 8879175"/>
                <a:gd name="connsiteY168" fmla="*/ 4880070 h 6886870"/>
                <a:gd name="connsiteX169" fmla="*/ 6750565 w 8879175"/>
                <a:gd name="connsiteY169" fmla="*/ 5051011 h 6886870"/>
                <a:gd name="connsiteX170" fmla="*/ 6873196 w 8879175"/>
                <a:gd name="connsiteY170" fmla="*/ 5069239 h 6886870"/>
                <a:gd name="connsiteX171" fmla="*/ 6862485 w 8879175"/>
                <a:gd name="connsiteY171" fmla="*/ 5148594 h 6886870"/>
                <a:gd name="connsiteX172" fmla="*/ 6861164 w 8879175"/>
                <a:gd name="connsiteY172" fmla="*/ 5149398 h 6886870"/>
                <a:gd name="connsiteX173" fmla="*/ 6755279 w 8879175"/>
                <a:gd name="connsiteY173" fmla="*/ 5213240 h 6886870"/>
                <a:gd name="connsiteX174" fmla="*/ 6659462 w 8879175"/>
                <a:gd name="connsiteY174" fmla="*/ 5238715 h 6886870"/>
                <a:gd name="connsiteX175" fmla="*/ 6559826 w 8879175"/>
                <a:gd name="connsiteY175" fmla="*/ 5349814 h 6886870"/>
                <a:gd name="connsiteX176" fmla="*/ 6559219 w 8879175"/>
                <a:gd name="connsiteY176" fmla="*/ 5350099 h 6886870"/>
                <a:gd name="connsiteX177" fmla="*/ 6398847 w 8879175"/>
                <a:gd name="connsiteY177" fmla="*/ 5424046 h 6886870"/>
                <a:gd name="connsiteX178" fmla="*/ 6358232 w 8879175"/>
                <a:gd name="connsiteY178" fmla="*/ 5406639 h 6886870"/>
                <a:gd name="connsiteX179" fmla="*/ 6254775 w 8879175"/>
                <a:gd name="connsiteY179" fmla="*/ 5381520 h 6886870"/>
                <a:gd name="connsiteX180" fmla="*/ 6110167 w 8879175"/>
                <a:gd name="connsiteY180" fmla="*/ 5438399 h 6886870"/>
                <a:gd name="connsiteX181" fmla="*/ 6030686 w 8879175"/>
                <a:gd name="connsiteY181" fmla="*/ 5511471 h 6886870"/>
                <a:gd name="connsiteX182" fmla="*/ 6018938 w 8879175"/>
                <a:gd name="connsiteY182" fmla="*/ 5576937 h 6886870"/>
                <a:gd name="connsiteX183" fmla="*/ 5998551 w 8879175"/>
                <a:gd name="connsiteY183" fmla="*/ 5643439 h 6886870"/>
                <a:gd name="connsiteX184" fmla="*/ 5898378 w 8879175"/>
                <a:gd name="connsiteY184" fmla="*/ 5608626 h 6886870"/>
                <a:gd name="connsiteX185" fmla="*/ 5845409 w 8879175"/>
                <a:gd name="connsiteY185" fmla="*/ 5589523 h 6886870"/>
                <a:gd name="connsiteX186" fmla="*/ 5847069 w 8879175"/>
                <a:gd name="connsiteY186" fmla="*/ 5697016 h 6886870"/>
                <a:gd name="connsiteX187" fmla="*/ 5922051 w 8879175"/>
                <a:gd name="connsiteY187" fmla="*/ 5786547 h 6886870"/>
                <a:gd name="connsiteX188" fmla="*/ 5974735 w 8879175"/>
                <a:gd name="connsiteY188" fmla="*/ 5889755 h 6886870"/>
                <a:gd name="connsiteX189" fmla="*/ 6110756 w 8879175"/>
                <a:gd name="connsiteY189" fmla="*/ 5970092 h 6886870"/>
                <a:gd name="connsiteX190" fmla="*/ 6169974 w 8879175"/>
                <a:gd name="connsiteY190" fmla="*/ 6048752 h 6886870"/>
                <a:gd name="connsiteX191" fmla="*/ 6169974 w 8879175"/>
                <a:gd name="connsiteY191" fmla="*/ 6140711 h 6886870"/>
                <a:gd name="connsiteX192" fmla="*/ 6091136 w 8879175"/>
                <a:gd name="connsiteY192" fmla="*/ 6094187 h 6886870"/>
                <a:gd name="connsiteX193" fmla="*/ 6016832 w 8879175"/>
                <a:gd name="connsiteY193" fmla="*/ 6117556 h 6886870"/>
                <a:gd name="connsiteX194" fmla="*/ 6070390 w 8879175"/>
                <a:gd name="connsiteY194" fmla="*/ 6185397 h 6886870"/>
                <a:gd name="connsiteX195" fmla="*/ 6059679 w 8879175"/>
                <a:gd name="connsiteY195" fmla="*/ 6274661 h 6886870"/>
                <a:gd name="connsiteX196" fmla="*/ 6007406 w 8879175"/>
                <a:gd name="connsiteY196" fmla="*/ 6280017 h 6886870"/>
                <a:gd name="connsiteX197" fmla="*/ 6051466 w 8879175"/>
                <a:gd name="connsiteY197" fmla="*/ 6419823 h 6886870"/>
                <a:gd name="connsiteX198" fmla="*/ 6051466 w 8879175"/>
                <a:gd name="connsiteY198" fmla="*/ 6420233 h 6886870"/>
                <a:gd name="connsiteX199" fmla="*/ 6055715 w 8879175"/>
                <a:gd name="connsiteY199" fmla="*/ 6528511 h 6886870"/>
                <a:gd name="connsiteX200" fmla="*/ 5994177 w 8879175"/>
                <a:gd name="connsiteY200" fmla="*/ 6545774 h 6886870"/>
                <a:gd name="connsiteX201" fmla="*/ 5982590 w 8879175"/>
                <a:gd name="connsiteY201" fmla="*/ 6464026 h 6886870"/>
                <a:gd name="connsiteX202" fmla="*/ 5930496 w 8879175"/>
                <a:gd name="connsiteY202" fmla="*/ 6414235 h 6886870"/>
                <a:gd name="connsiteX203" fmla="*/ 5902913 w 8879175"/>
                <a:gd name="connsiteY203" fmla="*/ 6488770 h 6886870"/>
                <a:gd name="connsiteX204" fmla="*/ 5858531 w 8879175"/>
                <a:gd name="connsiteY204" fmla="*/ 6488002 h 6886870"/>
                <a:gd name="connsiteX205" fmla="*/ 5835322 w 8879175"/>
                <a:gd name="connsiteY205" fmla="*/ 6408700 h 6886870"/>
                <a:gd name="connsiteX206" fmla="*/ 5799135 w 8879175"/>
                <a:gd name="connsiteY206" fmla="*/ 6376208 h 6886870"/>
                <a:gd name="connsiteX207" fmla="*/ 5800384 w 8879175"/>
                <a:gd name="connsiteY207" fmla="*/ 6300262 h 6886870"/>
                <a:gd name="connsiteX208" fmla="*/ 5675897 w 8879175"/>
                <a:gd name="connsiteY208" fmla="*/ 6259397 h 6886870"/>
                <a:gd name="connsiteX209" fmla="*/ 5625909 w 8879175"/>
                <a:gd name="connsiteY209" fmla="*/ 6190378 h 6886870"/>
                <a:gd name="connsiteX210" fmla="*/ 5537358 w 8879175"/>
                <a:gd name="connsiteY210" fmla="*/ 6132731 h 6886870"/>
                <a:gd name="connsiteX211" fmla="*/ 5579420 w 8879175"/>
                <a:gd name="connsiteY211" fmla="*/ 5936886 h 6886870"/>
                <a:gd name="connsiteX212" fmla="*/ 5313413 w 8879175"/>
                <a:gd name="connsiteY212" fmla="*/ 5692159 h 6886870"/>
                <a:gd name="connsiteX213" fmla="*/ 5313199 w 8879175"/>
                <a:gd name="connsiteY213" fmla="*/ 5691838 h 6886870"/>
                <a:gd name="connsiteX214" fmla="*/ 5274958 w 8879175"/>
                <a:gd name="connsiteY214" fmla="*/ 5634173 h 6886870"/>
                <a:gd name="connsiteX215" fmla="*/ 5274815 w 8879175"/>
                <a:gd name="connsiteY215" fmla="*/ 5633620 h 6886870"/>
                <a:gd name="connsiteX216" fmla="*/ 5253249 w 8879175"/>
                <a:gd name="connsiteY216" fmla="*/ 5542677 h 6886870"/>
                <a:gd name="connsiteX217" fmla="*/ 5279796 w 8879175"/>
                <a:gd name="connsiteY217" fmla="*/ 5427223 h 6886870"/>
                <a:gd name="connsiteX218" fmla="*/ 5256927 w 8879175"/>
                <a:gd name="connsiteY218" fmla="*/ 5409371 h 6886870"/>
                <a:gd name="connsiteX219" fmla="*/ 5284991 w 8879175"/>
                <a:gd name="connsiteY219" fmla="*/ 5302985 h 6886870"/>
                <a:gd name="connsiteX220" fmla="*/ 4773632 w 8879175"/>
                <a:gd name="connsiteY220" fmla="*/ 4975975 h 6886870"/>
                <a:gd name="connsiteX221" fmla="*/ 4638451 w 8879175"/>
                <a:gd name="connsiteY221" fmla="*/ 4971816 h 6886870"/>
                <a:gd name="connsiteX222" fmla="*/ 4612636 w 8879175"/>
                <a:gd name="connsiteY222" fmla="*/ 4932950 h 6886870"/>
                <a:gd name="connsiteX223" fmla="*/ 4479686 w 8879175"/>
                <a:gd name="connsiteY223" fmla="*/ 4856415 h 6886870"/>
                <a:gd name="connsiteX224" fmla="*/ 4453299 w 8879175"/>
                <a:gd name="connsiteY224" fmla="*/ 4816550 h 6886870"/>
                <a:gd name="connsiteX225" fmla="*/ 4453496 w 8879175"/>
                <a:gd name="connsiteY225" fmla="*/ 4815300 h 6886870"/>
                <a:gd name="connsiteX226" fmla="*/ 4464868 w 8879175"/>
                <a:gd name="connsiteY226" fmla="*/ 4742675 h 6886870"/>
                <a:gd name="connsiteX227" fmla="*/ 4408774 w 8879175"/>
                <a:gd name="connsiteY227" fmla="*/ 4617223 h 6886870"/>
                <a:gd name="connsiteX228" fmla="*/ 4344058 w 8879175"/>
                <a:gd name="connsiteY228" fmla="*/ 4566556 h 6886870"/>
                <a:gd name="connsiteX229" fmla="*/ 4303960 w 8879175"/>
                <a:gd name="connsiteY229" fmla="*/ 4640432 h 6886870"/>
                <a:gd name="connsiteX230" fmla="*/ 4278484 w 8879175"/>
                <a:gd name="connsiteY230" fmla="*/ 4697918 h 6886870"/>
                <a:gd name="connsiteX231" fmla="*/ 4208573 w 8879175"/>
                <a:gd name="connsiteY231" fmla="*/ 4662908 h 6886870"/>
                <a:gd name="connsiteX232" fmla="*/ 4181347 w 8879175"/>
                <a:gd name="connsiteY232" fmla="*/ 4613349 h 6886870"/>
                <a:gd name="connsiteX233" fmla="*/ 4181240 w 8879175"/>
                <a:gd name="connsiteY233" fmla="*/ 4612974 h 6886870"/>
                <a:gd name="connsiteX234" fmla="*/ 4161602 w 8879175"/>
                <a:gd name="connsiteY234" fmla="*/ 4540384 h 6886870"/>
                <a:gd name="connsiteX235" fmla="*/ 4228211 w 8879175"/>
                <a:gd name="connsiteY235" fmla="*/ 4512159 h 6886870"/>
                <a:gd name="connsiteX236" fmla="*/ 4186578 w 8879175"/>
                <a:gd name="connsiteY236" fmla="*/ 4471437 h 6886870"/>
                <a:gd name="connsiteX237" fmla="*/ 3970005 w 8879175"/>
                <a:gd name="connsiteY237" fmla="*/ 4588480 h 6886870"/>
                <a:gd name="connsiteX238" fmla="*/ 4028919 w 8879175"/>
                <a:gd name="connsiteY238" fmla="*/ 4661266 h 6886870"/>
                <a:gd name="connsiteX239" fmla="*/ 4032990 w 8879175"/>
                <a:gd name="connsiteY239" fmla="*/ 4694347 h 6886870"/>
                <a:gd name="connsiteX240" fmla="*/ 3978324 w 8879175"/>
                <a:gd name="connsiteY240" fmla="*/ 4741443 h 6886870"/>
                <a:gd name="connsiteX241" fmla="*/ 4143642 w 8879175"/>
                <a:gd name="connsiteY241" fmla="*/ 4925166 h 6886870"/>
                <a:gd name="connsiteX242" fmla="*/ 4143856 w 8879175"/>
                <a:gd name="connsiteY242" fmla="*/ 4925720 h 6886870"/>
                <a:gd name="connsiteX243" fmla="*/ 4158370 w 8879175"/>
                <a:gd name="connsiteY243" fmla="*/ 4963407 h 6886870"/>
                <a:gd name="connsiteX244" fmla="*/ 4232031 w 8879175"/>
                <a:gd name="connsiteY244" fmla="*/ 4975047 h 6886870"/>
                <a:gd name="connsiteX245" fmla="*/ 4232585 w 8879175"/>
                <a:gd name="connsiteY245" fmla="*/ 4977029 h 6886870"/>
                <a:gd name="connsiteX246" fmla="*/ 4286357 w 8879175"/>
                <a:gd name="connsiteY246" fmla="*/ 5165019 h 6886870"/>
                <a:gd name="connsiteX247" fmla="*/ 4593533 w 8879175"/>
                <a:gd name="connsiteY247" fmla="*/ 5332318 h 6886870"/>
                <a:gd name="connsiteX248" fmla="*/ 4709576 w 8879175"/>
                <a:gd name="connsiteY248" fmla="*/ 5339066 h 6886870"/>
                <a:gd name="connsiteX249" fmla="*/ 4711362 w 8879175"/>
                <a:gd name="connsiteY249" fmla="*/ 5352991 h 6886870"/>
                <a:gd name="connsiteX250" fmla="*/ 4685725 w 8879175"/>
                <a:gd name="connsiteY250" fmla="*/ 5397730 h 6886870"/>
                <a:gd name="connsiteX251" fmla="*/ 4680887 w 8879175"/>
                <a:gd name="connsiteY251" fmla="*/ 5436632 h 6886870"/>
                <a:gd name="connsiteX252" fmla="*/ 4995097 w 8879175"/>
                <a:gd name="connsiteY252" fmla="*/ 5582186 h 6886870"/>
                <a:gd name="connsiteX253" fmla="*/ 5069454 w 8879175"/>
                <a:gd name="connsiteY253" fmla="*/ 5593915 h 6886870"/>
                <a:gd name="connsiteX254" fmla="*/ 5144114 w 8879175"/>
                <a:gd name="connsiteY254" fmla="*/ 5689749 h 6886870"/>
                <a:gd name="connsiteX255" fmla="*/ 5144221 w 8879175"/>
                <a:gd name="connsiteY255" fmla="*/ 5690624 h 6886870"/>
                <a:gd name="connsiteX256" fmla="*/ 5155861 w 8879175"/>
                <a:gd name="connsiteY256" fmla="*/ 5785244 h 6886870"/>
                <a:gd name="connsiteX257" fmla="*/ 5099643 w 8879175"/>
                <a:gd name="connsiteY257" fmla="*/ 5792135 h 6886870"/>
                <a:gd name="connsiteX258" fmla="*/ 5057582 w 8879175"/>
                <a:gd name="connsiteY258" fmla="*/ 5703746 h 6886870"/>
                <a:gd name="connsiteX259" fmla="*/ 4881892 w 8879175"/>
                <a:gd name="connsiteY259" fmla="*/ 5664898 h 6886870"/>
                <a:gd name="connsiteX260" fmla="*/ 4821442 w 8879175"/>
                <a:gd name="connsiteY260" fmla="*/ 5822146 h 6886870"/>
                <a:gd name="connsiteX261" fmla="*/ 4955214 w 8879175"/>
                <a:gd name="connsiteY261" fmla="*/ 5908571 h 6886870"/>
                <a:gd name="connsiteX262" fmla="*/ 4936415 w 8879175"/>
                <a:gd name="connsiteY262" fmla="*/ 6019080 h 6886870"/>
                <a:gd name="connsiteX263" fmla="*/ 4892693 w 8879175"/>
                <a:gd name="connsiteY263" fmla="*/ 6013635 h 6886870"/>
                <a:gd name="connsiteX264" fmla="*/ 4856470 w 8879175"/>
                <a:gd name="connsiteY264" fmla="*/ 6037665 h 6886870"/>
                <a:gd name="connsiteX265" fmla="*/ 4778649 w 8879175"/>
                <a:gd name="connsiteY265" fmla="*/ 6243258 h 6886870"/>
                <a:gd name="connsiteX266" fmla="*/ 4727911 w 8879175"/>
                <a:gd name="connsiteY266" fmla="*/ 6271198 h 6886870"/>
                <a:gd name="connsiteX267" fmla="*/ 4691724 w 8879175"/>
                <a:gd name="connsiteY267" fmla="*/ 6253077 h 6886870"/>
                <a:gd name="connsiteX268" fmla="*/ 4683886 w 8879175"/>
                <a:gd name="connsiteY268" fmla="*/ 6189325 h 6886870"/>
                <a:gd name="connsiteX269" fmla="*/ 4717575 w 8879175"/>
                <a:gd name="connsiteY269" fmla="*/ 6134588 h 6886870"/>
                <a:gd name="connsiteX270" fmla="*/ 4692455 w 8879175"/>
                <a:gd name="connsiteY270" fmla="*/ 6105345 h 6886870"/>
                <a:gd name="connsiteX271" fmla="*/ 4789932 w 8879175"/>
                <a:gd name="connsiteY271" fmla="*/ 6051787 h 6886870"/>
                <a:gd name="connsiteX272" fmla="*/ 4775846 w 8879175"/>
                <a:gd name="connsiteY272" fmla="*/ 6015206 h 6886870"/>
                <a:gd name="connsiteX273" fmla="*/ 4695294 w 8879175"/>
                <a:gd name="connsiteY273" fmla="*/ 5860387 h 6886870"/>
                <a:gd name="connsiteX274" fmla="*/ 4646467 w 8879175"/>
                <a:gd name="connsiteY274" fmla="*/ 5786672 h 6886870"/>
                <a:gd name="connsiteX275" fmla="*/ 4567914 w 8879175"/>
                <a:gd name="connsiteY275" fmla="*/ 5827644 h 6886870"/>
                <a:gd name="connsiteX276" fmla="*/ 4547473 w 8879175"/>
                <a:gd name="connsiteY276" fmla="*/ 5746450 h 6886870"/>
                <a:gd name="connsiteX277" fmla="*/ 4496646 w 8879175"/>
                <a:gd name="connsiteY277" fmla="*/ 5752663 h 6886870"/>
                <a:gd name="connsiteX278" fmla="*/ 4473026 w 8879175"/>
                <a:gd name="connsiteY278" fmla="*/ 5643278 h 6886870"/>
                <a:gd name="connsiteX279" fmla="*/ 4379763 w 8879175"/>
                <a:gd name="connsiteY279" fmla="*/ 5687625 h 6886870"/>
                <a:gd name="connsiteX280" fmla="*/ 4408810 w 8879175"/>
                <a:gd name="connsiteY280" fmla="*/ 5637066 h 6886870"/>
                <a:gd name="connsiteX281" fmla="*/ 4191844 w 8879175"/>
                <a:gd name="connsiteY281" fmla="*/ 5512275 h 6886870"/>
                <a:gd name="connsiteX282" fmla="*/ 4144177 w 8879175"/>
                <a:gd name="connsiteY282" fmla="*/ 5549533 h 6886870"/>
                <a:gd name="connsiteX283" fmla="*/ 4045987 w 8879175"/>
                <a:gd name="connsiteY283" fmla="*/ 5435275 h 6886870"/>
                <a:gd name="connsiteX284" fmla="*/ 3893059 w 8879175"/>
                <a:gd name="connsiteY284" fmla="*/ 5278920 h 6886870"/>
                <a:gd name="connsiteX285" fmla="*/ 3697749 w 8879175"/>
                <a:gd name="connsiteY285" fmla="*/ 5116941 h 6886870"/>
                <a:gd name="connsiteX286" fmla="*/ 3697446 w 8879175"/>
                <a:gd name="connsiteY286" fmla="*/ 5116334 h 6886870"/>
                <a:gd name="connsiteX287" fmla="*/ 3575458 w 8879175"/>
                <a:gd name="connsiteY287" fmla="*/ 4874625 h 6886870"/>
                <a:gd name="connsiteX288" fmla="*/ 3362366 w 8879175"/>
                <a:gd name="connsiteY288" fmla="*/ 4789181 h 6886870"/>
                <a:gd name="connsiteX289" fmla="*/ 3293454 w 8879175"/>
                <a:gd name="connsiteY289" fmla="*/ 4889157 h 6886870"/>
                <a:gd name="connsiteX290" fmla="*/ 3292758 w 8879175"/>
                <a:gd name="connsiteY290" fmla="*/ 4889514 h 6886870"/>
                <a:gd name="connsiteX291" fmla="*/ 2933916 w 8879175"/>
                <a:gd name="connsiteY291" fmla="*/ 5078290 h 6886870"/>
                <a:gd name="connsiteX292" fmla="*/ 2932827 w 8879175"/>
                <a:gd name="connsiteY292" fmla="*/ 5078093 h 6886870"/>
                <a:gd name="connsiteX293" fmla="*/ 2794628 w 8879175"/>
                <a:gd name="connsiteY293" fmla="*/ 5053368 h 6886870"/>
                <a:gd name="connsiteX294" fmla="*/ 2769134 w 8879175"/>
                <a:gd name="connsiteY294" fmla="*/ 5014859 h 6886870"/>
                <a:gd name="connsiteX295" fmla="*/ 2596712 w 8879175"/>
                <a:gd name="connsiteY295" fmla="*/ 4934254 h 6886870"/>
                <a:gd name="connsiteX296" fmla="*/ 2427253 w 8879175"/>
                <a:gd name="connsiteY296" fmla="*/ 5036015 h 6886870"/>
                <a:gd name="connsiteX297" fmla="*/ 2439518 w 8879175"/>
                <a:gd name="connsiteY297" fmla="*/ 5218810 h 6886870"/>
                <a:gd name="connsiteX298" fmla="*/ 2439286 w 8879175"/>
                <a:gd name="connsiteY298" fmla="*/ 5219435 h 6886870"/>
                <a:gd name="connsiteX299" fmla="*/ 2408204 w 8879175"/>
                <a:gd name="connsiteY299" fmla="*/ 5307038 h 6886870"/>
                <a:gd name="connsiteX300" fmla="*/ 2406883 w 8879175"/>
                <a:gd name="connsiteY300" fmla="*/ 5307592 h 6886870"/>
                <a:gd name="connsiteX301" fmla="*/ 2270648 w 8879175"/>
                <a:gd name="connsiteY301" fmla="*/ 5365310 h 6886870"/>
                <a:gd name="connsiteX302" fmla="*/ 2226016 w 8879175"/>
                <a:gd name="connsiteY302" fmla="*/ 5422617 h 6886870"/>
                <a:gd name="connsiteX303" fmla="*/ 2224855 w 8879175"/>
                <a:gd name="connsiteY303" fmla="*/ 5422867 h 6886870"/>
                <a:gd name="connsiteX304" fmla="*/ 1995875 w 8879175"/>
                <a:gd name="connsiteY304" fmla="*/ 5471373 h 6886870"/>
                <a:gd name="connsiteX305" fmla="*/ 1966561 w 8879175"/>
                <a:gd name="connsiteY305" fmla="*/ 5567779 h 6886870"/>
                <a:gd name="connsiteX306" fmla="*/ 1886044 w 8879175"/>
                <a:gd name="connsiteY306" fmla="*/ 5587935 h 6886870"/>
                <a:gd name="connsiteX307" fmla="*/ 1731171 w 8879175"/>
                <a:gd name="connsiteY307" fmla="*/ 5821360 h 6886870"/>
                <a:gd name="connsiteX308" fmla="*/ 1765627 w 8879175"/>
                <a:gd name="connsiteY308" fmla="*/ 5937975 h 6886870"/>
                <a:gd name="connsiteX309" fmla="*/ 1833468 w 8879175"/>
                <a:gd name="connsiteY309" fmla="*/ 5972092 h 6886870"/>
                <a:gd name="connsiteX310" fmla="*/ 1787586 w 8879175"/>
                <a:gd name="connsiteY310" fmla="*/ 6043503 h 6886870"/>
                <a:gd name="connsiteX311" fmla="*/ 1786283 w 8879175"/>
                <a:gd name="connsiteY311" fmla="*/ 6043789 h 6886870"/>
                <a:gd name="connsiteX312" fmla="*/ 1677238 w 8879175"/>
                <a:gd name="connsiteY312" fmla="*/ 6067372 h 6886870"/>
                <a:gd name="connsiteX313" fmla="*/ 1602256 w 8879175"/>
                <a:gd name="connsiteY313" fmla="*/ 6186129 h 6886870"/>
                <a:gd name="connsiteX314" fmla="*/ 1639747 w 8879175"/>
                <a:gd name="connsiteY314" fmla="*/ 6205053 h 6886870"/>
                <a:gd name="connsiteX315" fmla="*/ 1550965 w 8879175"/>
                <a:gd name="connsiteY315" fmla="*/ 6227333 h 6886870"/>
                <a:gd name="connsiteX316" fmla="*/ 1550536 w 8879175"/>
                <a:gd name="connsiteY316" fmla="*/ 6227333 h 6886870"/>
                <a:gd name="connsiteX317" fmla="*/ 1479642 w 8879175"/>
                <a:gd name="connsiteY317" fmla="*/ 6225959 h 6886870"/>
                <a:gd name="connsiteX318" fmla="*/ 1323573 w 8879175"/>
                <a:gd name="connsiteY318" fmla="*/ 6378976 h 6886870"/>
                <a:gd name="connsiteX319" fmla="*/ 1301471 w 8879175"/>
                <a:gd name="connsiteY319" fmla="*/ 6381671 h 6886870"/>
                <a:gd name="connsiteX320" fmla="*/ 1258714 w 8879175"/>
                <a:gd name="connsiteY320" fmla="*/ 6366479 h 6886870"/>
                <a:gd name="connsiteX321" fmla="*/ 1209636 w 8879175"/>
                <a:gd name="connsiteY321" fmla="*/ 6382724 h 6886870"/>
                <a:gd name="connsiteX322" fmla="*/ 1208958 w 8879175"/>
                <a:gd name="connsiteY322" fmla="*/ 6382724 h 6886870"/>
                <a:gd name="connsiteX323" fmla="*/ 1115177 w 8879175"/>
                <a:gd name="connsiteY323" fmla="*/ 6373459 h 6886870"/>
                <a:gd name="connsiteX324" fmla="*/ 823855 w 8879175"/>
                <a:gd name="connsiteY324" fmla="*/ 6337396 h 6886870"/>
                <a:gd name="connsiteX325" fmla="*/ 750533 w 8879175"/>
                <a:gd name="connsiteY325" fmla="*/ 6408004 h 6886870"/>
                <a:gd name="connsiteX326" fmla="*/ 656538 w 8879175"/>
                <a:gd name="connsiteY326" fmla="*/ 6419537 h 6886870"/>
                <a:gd name="connsiteX327" fmla="*/ 620832 w 8879175"/>
                <a:gd name="connsiteY327" fmla="*/ 6382332 h 6886870"/>
                <a:gd name="connsiteX328" fmla="*/ 567720 w 8879175"/>
                <a:gd name="connsiteY328" fmla="*/ 6378368 h 6886870"/>
                <a:gd name="connsiteX329" fmla="*/ 520946 w 8879175"/>
                <a:gd name="connsiteY329" fmla="*/ 6166455 h 6886870"/>
                <a:gd name="connsiteX330" fmla="*/ 365983 w 8879175"/>
                <a:gd name="connsiteY330" fmla="*/ 6063355 h 6886870"/>
                <a:gd name="connsiteX331" fmla="*/ 307069 w 8879175"/>
                <a:gd name="connsiteY331" fmla="*/ 6070497 h 6886870"/>
                <a:gd name="connsiteX332" fmla="*/ 249083 w 8879175"/>
                <a:gd name="connsiteY332" fmla="*/ 6108987 h 6886870"/>
                <a:gd name="connsiteX333" fmla="*/ 247440 w 8879175"/>
                <a:gd name="connsiteY333" fmla="*/ 6108237 h 6886870"/>
                <a:gd name="connsiteX334" fmla="*/ 107117 w 8879175"/>
                <a:gd name="connsiteY334" fmla="*/ 6043931 h 6886870"/>
                <a:gd name="connsiteX335" fmla="*/ 59753 w 8879175"/>
                <a:gd name="connsiteY335" fmla="*/ 6069961 h 6886870"/>
                <a:gd name="connsiteX336" fmla="*/ 24441 w 8879175"/>
                <a:gd name="connsiteY336" fmla="*/ 6074281 h 6886870"/>
                <a:gd name="connsiteX337" fmla="*/ 36777 w 8879175"/>
                <a:gd name="connsiteY337" fmla="*/ 5995889 h 6886870"/>
                <a:gd name="connsiteX338" fmla="*/ 139538 w 8879175"/>
                <a:gd name="connsiteY338" fmla="*/ 5692856 h 6886870"/>
                <a:gd name="connsiteX339" fmla="*/ 106885 w 8879175"/>
                <a:gd name="connsiteY339" fmla="*/ 5714690 h 6886870"/>
                <a:gd name="connsiteX340" fmla="*/ 66770 w 8879175"/>
                <a:gd name="connsiteY340" fmla="*/ 5663184 h 6886870"/>
                <a:gd name="connsiteX341" fmla="*/ 99119 w 8879175"/>
                <a:gd name="connsiteY341" fmla="*/ 5621730 h 6886870"/>
                <a:gd name="connsiteX342" fmla="*/ 52148 w 8879175"/>
                <a:gd name="connsiteY342" fmla="*/ 5627496 h 6886870"/>
                <a:gd name="connsiteX343" fmla="*/ 61664 w 8879175"/>
                <a:gd name="connsiteY343" fmla="*/ 5528610 h 6886870"/>
                <a:gd name="connsiteX344" fmla="*/ 98030 w 8879175"/>
                <a:gd name="connsiteY344" fmla="*/ 5482067 h 6886870"/>
                <a:gd name="connsiteX345" fmla="*/ 152410 w 8879175"/>
                <a:gd name="connsiteY345" fmla="*/ 5424063 h 6886870"/>
                <a:gd name="connsiteX346" fmla="*/ 202987 w 8879175"/>
                <a:gd name="connsiteY346" fmla="*/ 5335835 h 6886870"/>
                <a:gd name="connsiteX347" fmla="*/ 249940 w 8879175"/>
                <a:gd name="connsiteY347" fmla="*/ 5216989 h 6886870"/>
                <a:gd name="connsiteX348" fmla="*/ 373981 w 8879175"/>
                <a:gd name="connsiteY348" fmla="*/ 4813122 h 6886870"/>
                <a:gd name="connsiteX349" fmla="*/ 321565 w 8879175"/>
                <a:gd name="connsiteY349" fmla="*/ 4799268 h 6886870"/>
                <a:gd name="connsiteX350" fmla="*/ 322993 w 8879175"/>
                <a:gd name="connsiteY350" fmla="*/ 4725697 h 6886870"/>
                <a:gd name="connsiteX351" fmla="*/ 286966 w 8879175"/>
                <a:gd name="connsiteY351" fmla="*/ 4688206 h 6886870"/>
                <a:gd name="connsiteX352" fmla="*/ 312853 w 8879175"/>
                <a:gd name="connsiteY352" fmla="*/ 4629845 h 6886870"/>
                <a:gd name="connsiteX353" fmla="*/ 459121 w 8879175"/>
                <a:gd name="connsiteY353" fmla="*/ 4622418 h 6886870"/>
                <a:gd name="connsiteX354" fmla="*/ 509966 w 8879175"/>
                <a:gd name="connsiteY354" fmla="*/ 4653839 h 6886870"/>
                <a:gd name="connsiteX355" fmla="*/ 501772 w 8879175"/>
                <a:gd name="connsiteY355" fmla="*/ 4587230 h 6886870"/>
                <a:gd name="connsiteX356" fmla="*/ 552724 w 8879175"/>
                <a:gd name="connsiteY356" fmla="*/ 4559183 h 6886870"/>
                <a:gd name="connsiteX357" fmla="*/ 553670 w 8879175"/>
                <a:gd name="connsiteY357" fmla="*/ 4559183 h 6886870"/>
                <a:gd name="connsiteX358" fmla="*/ 720862 w 8879175"/>
                <a:gd name="connsiteY358" fmla="*/ 4569788 h 6886870"/>
                <a:gd name="connsiteX359" fmla="*/ 813411 w 8879175"/>
                <a:gd name="connsiteY359" fmla="*/ 4651429 h 6886870"/>
                <a:gd name="connsiteX360" fmla="*/ 1321788 w 8879175"/>
                <a:gd name="connsiteY360" fmla="*/ 4754529 h 6886870"/>
                <a:gd name="connsiteX361" fmla="*/ 1324430 w 8879175"/>
                <a:gd name="connsiteY361" fmla="*/ 4776149 h 6886870"/>
                <a:gd name="connsiteX362" fmla="*/ 1357743 w 8879175"/>
                <a:gd name="connsiteY362" fmla="*/ 4810855 h 6886870"/>
                <a:gd name="connsiteX363" fmla="*/ 1416086 w 8879175"/>
                <a:gd name="connsiteY363" fmla="*/ 4793591 h 6886870"/>
                <a:gd name="connsiteX364" fmla="*/ 1663741 w 8879175"/>
                <a:gd name="connsiteY364" fmla="*/ 4814318 h 6886870"/>
                <a:gd name="connsiteX365" fmla="*/ 1684700 w 8879175"/>
                <a:gd name="connsiteY365" fmla="*/ 4742014 h 6886870"/>
                <a:gd name="connsiteX366" fmla="*/ 1800565 w 8879175"/>
                <a:gd name="connsiteY366" fmla="*/ 4347288 h 6886870"/>
                <a:gd name="connsiteX367" fmla="*/ 1674292 w 8879175"/>
                <a:gd name="connsiteY367" fmla="*/ 3991071 h 6886870"/>
                <a:gd name="connsiteX368" fmla="*/ 1697251 w 8879175"/>
                <a:gd name="connsiteY368" fmla="*/ 3951080 h 6886870"/>
                <a:gd name="connsiteX369" fmla="*/ 1619609 w 8879175"/>
                <a:gd name="connsiteY369" fmla="*/ 3960596 h 6886870"/>
                <a:gd name="connsiteX370" fmla="*/ 1596632 w 8879175"/>
                <a:gd name="connsiteY370" fmla="*/ 3858692 h 6886870"/>
                <a:gd name="connsiteX371" fmla="*/ 1375257 w 8879175"/>
                <a:gd name="connsiteY371" fmla="*/ 3722047 h 6886870"/>
                <a:gd name="connsiteX372" fmla="*/ 1319770 w 8879175"/>
                <a:gd name="connsiteY372" fmla="*/ 3707300 h 6886870"/>
                <a:gd name="connsiteX373" fmla="*/ 1341087 w 8879175"/>
                <a:gd name="connsiteY373" fmla="*/ 3533913 h 6886870"/>
                <a:gd name="connsiteX374" fmla="*/ 1395181 w 8879175"/>
                <a:gd name="connsiteY374" fmla="*/ 3538002 h 6886870"/>
                <a:gd name="connsiteX375" fmla="*/ 1445794 w 8879175"/>
                <a:gd name="connsiteY375" fmla="*/ 3510169 h 6886870"/>
                <a:gd name="connsiteX376" fmla="*/ 1460701 w 8879175"/>
                <a:gd name="connsiteY376" fmla="*/ 3548910 h 6886870"/>
                <a:gd name="connsiteX377" fmla="*/ 1504994 w 8879175"/>
                <a:gd name="connsiteY377" fmla="*/ 3514454 h 6886870"/>
                <a:gd name="connsiteX378" fmla="*/ 1556767 w 8879175"/>
                <a:gd name="connsiteY378" fmla="*/ 3508098 h 6886870"/>
                <a:gd name="connsiteX379" fmla="*/ 1557052 w 8879175"/>
                <a:gd name="connsiteY379" fmla="*/ 3508098 h 6886870"/>
                <a:gd name="connsiteX380" fmla="*/ 1621912 w 8879175"/>
                <a:gd name="connsiteY380" fmla="*/ 3510901 h 6886870"/>
                <a:gd name="connsiteX381" fmla="*/ 1633998 w 8879175"/>
                <a:gd name="connsiteY381" fmla="*/ 3609199 h 6886870"/>
                <a:gd name="connsiteX382" fmla="*/ 1688306 w 8879175"/>
                <a:gd name="connsiteY382" fmla="*/ 3562442 h 6886870"/>
                <a:gd name="connsiteX383" fmla="*/ 1715407 w 8879175"/>
                <a:gd name="connsiteY383" fmla="*/ 3611627 h 6886870"/>
                <a:gd name="connsiteX384" fmla="*/ 1775053 w 8879175"/>
                <a:gd name="connsiteY384" fmla="*/ 3583187 h 6886870"/>
                <a:gd name="connsiteX385" fmla="*/ 1780266 w 8879175"/>
                <a:gd name="connsiteY385" fmla="*/ 3625570 h 6886870"/>
                <a:gd name="connsiteX386" fmla="*/ 1835378 w 8879175"/>
                <a:gd name="connsiteY386" fmla="*/ 3627962 h 6886870"/>
                <a:gd name="connsiteX387" fmla="*/ 1771251 w 8879175"/>
                <a:gd name="connsiteY387" fmla="*/ 3357527 h 6886870"/>
                <a:gd name="connsiteX388" fmla="*/ 1847464 w 8879175"/>
                <a:gd name="connsiteY388" fmla="*/ 3359009 h 6886870"/>
                <a:gd name="connsiteX389" fmla="*/ 1891811 w 8879175"/>
                <a:gd name="connsiteY389" fmla="*/ 3353653 h 6886870"/>
                <a:gd name="connsiteX390" fmla="*/ 1882599 w 8879175"/>
                <a:gd name="connsiteY390" fmla="*/ 3448880 h 6886870"/>
                <a:gd name="connsiteX391" fmla="*/ 2092352 w 8879175"/>
                <a:gd name="connsiteY391" fmla="*/ 3504313 h 6886870"/>
                <a:gd name="connsiteX392" fmla="*/ 2162906 w 8879175"/>
                <a:gd name="connsiteY392" fmla="*/ 3495655 h 6886870"/>
                <a:gd name="connsiteX393" fmla="*/ 2091495 w 8879175"/>
                <a:gd name="connsiteY393" fmla="*/ 3456807 h 6886870"/>
                <a:gd name="connsiteX394" fmla="*/ 2119059 w 8879175"/>
                <a:gd name="connsiteY394" fmla="*/ 3408801 h 6886870"/>
                <a:gd name="connsiteX395" fmla="*/ 2119881 w 8879175"/>
                <a:gd name="connsiteY395" fmla="*/ 3408372 h 6886870"/>
                <a:gd name="connsiteX396" fmla="*/ 2321618 w 8879175"/>
                <a:gd name="connsiteY396" fmla="*/ 3301594 h 6886870"/>
                <a:gd name="connsiteX397" fmla="*/ 2348397 w 8879175"/>
                <a:gd name="connsiteY397" fmla="*/ 3185266 h 6886870"/>
                <a:gd name="connsiteX398" fmla="*/ 2396725 w 8879175"/>
                <a:gd name="connsiteY398" fmla="*/ 3147471 h 6886870"/>
                <a:gd name="connsiteX399" fmla="*/ 2397278 w 8879175"/>
                <a:gd name="connsiteY399" fmla="*/ 3147293 h 6886870"/>
                <a:gd name="connsiteX400" fmla="*/ 2605835 w 8879175"/>
                <a:gd name="connsiteY400" fmla="*/ 3080362 h 6886870"/>
                <a:gd name="connsiteX401" fmla="*/ 2606370 w 8879175"/>
                <a:gd name="connsiteY401" fmla="*/ 3080362 h 6886870"/>
                <a:gd name="connsiteX402" fmla="*/ 2723931 w 8879175"/>
                <a:gd name="connsiteY402" fmla="*/ 3082737 h 6886870"/>
                <a:gd name="connsiteX403" fmla="*/ 2641487 w 8879175"/>
                <a:gd name="connsiteY403" fmla="*/ 3060885 h 6886870"/>
                <a:gd name="connsiteX404" fmla="*/ 2637149 w 8879175"/>
                <a:gd name="connsiteY404" fmla="*/ 3025715 h 6886870"/>
                <a:gd name="connsiteX405" fmla="*/ 2717111 w 8879175"/>
                <a:gd name="connsiteY405" fmla="*/ 2994972 h 6886870"/>
                <a:gd name="connsiteX406" fmla="*/ 2767706 w 8879175"/>
                <a:gd name="connsiteY406" fmla="*/ 2906672 h 6886870"/>
                <a:gd name="connsiteX407" fmla="*/ 2814266 w 8879175"/>
                <a:gd name="connsiteY407" fmla="*/ 2870288 h 6886870"/>
                <a:gd name="connsiteX408" fmla="*/ 2854543 w 8879175"/>
                <a:gd name="connsiteY408" fmla="*/ 2687225 h 6886870"/>
                <a:gd name="connsiteX409" fmla="*/ 2892212 w 8879175"/>
                <a:gd name="connsiteY409" fmla="*/ 2706167 h 6886870"/>
                <a:gd name="connsiteX410" fmla="*/ 2892676 w 8879175"/>
                <a:gd name="connsiteY410" fmla="*/ 2707167 h 6886870"/>
                <a:gd name="connsiteX411" fmla="*/ 2920116 w 8879175"/>
                <a:gd name="connsiteY411" fmla="*/ 2764903 h 6886870"/>
                <a:gd name="connsiteX412" fmla="*/ 2955393 w 8879175"/>
                <a:gd name="connsiteY412" fmla="*/ 2792539 h 6886870"/>
                <a:gd name="connsiteX413" fmla="*/ 2941575 w 8879175"/>
                <a:gd name="connsiteY413" fmla="*/ 2845026 h 6886870"/>
                <a:gd name="connsiteX414" fmla="*/ 2978780 w 8879175"/>
                <a:gd name="connsiteY414" fmla="*/ 2858291 h 6886870"/>
                <a:gd name="connsiteX415" fmla="*/ 3000204 w 8879175"/>
                <a:gd name="connsiteY415" fmla="*/ 2797895 h 6886870"/>
                <a:gd name="connsiteX416" fmla="*/ 2972746 w 8879175"/>
                <a:gd name="connsiteY416" fmla="*/ 2740177 h 6886870"/>
                <a:gd name="connsiteX417" fmla="*/ 2972746 w 8879175"/>
                <a:gd name="connsiteY417" fmla="*/ 2739659 h 6886870"/>
                <a:gd name="connsiteX418" fmla="*/ 2964927 w 8879175"/>
                <a:gd name="connsiteY418" fmla="*/ 2676121 h 6886870"/>
                <a:gd name="connsiteX419" fmla="*/ 3059172 w 8879175"/>
                <a:gd name="connsiteY419" fmla="*/ 2642682 h 6886870"/>
                <a:gd name="connsiteX420" fmla="*/ 3074561 w 8879175"/>
                <a:gd name="connsiteY420" fmla="*/ 2682655 h 6886870"/>
                <a:gd name="connsiteX421" fmla="*/ 3201780 w 8879175"/>
                <a:gd name="connsiteY421" fmla="*/ 2667052 h 6886870"/>
                <a:gd name="connsiteX422" fmla="*/ 3223507 w 8879175"/>
                <a:gd name="connsiteY422" fmla="*/ 2592212 h 6886870"/>
                <a:gd name="connsiteX423" fmla="*/ 3339836 w 8879175"/>
                <a:gd name="connsiteY423" fmla="*/ 2577930 h 6886870"/>
                <a:gd name="connsiteX424" fmla="*/ 3356225 w 8879175"/>
                <a:gd name="connsiteY424" fmla="*/ 2627472 h 6886870"/>
                <a:gd name="connsiteX425" fmla="*/ 3402464 w 8879175"/>
                <a:gd name="connsiteY425" fmla="*/ 2621777 h 6886870"/>
                <a:gd name="connsiteX426" fmla="*/ 3457504 w 8879175"/>
                <a:gd name="connsiteY426" fmla="*/ 2493433 h 6886870"/>
                <a:gd name="connsiteX427" fmla="*/ 3460146 w 8879175"/>
                <a:gd name="connsiteY427" fmla="*/ 2430770 h 6886870"/>
                <a:gd name="connsiteX428" fmla="*/ 3477571 w 8879175"/>
                <a:gd name="connsiteY428" fmla="*/ 2408471 h 6886870"/>
                <a:gd name="connsiteX429" fmla="*/ 3460325 w 8879175"/>
                <a:gd name="connsiteY429" fmla="*/ 2350110 h 6886870"/>
                <a:gd name="connsiteX430" fmla="*/ 3460325 w 8879175"/>
                <a:gd name="connsiteY430" fmla="*/ 2349843 h 6886870"/>
                <a:gd name="connsiteX431" fmla="*/ 3452862 w 8879175"/>
                <a:gd name="connsiteY431" fmla="*/ 2289143 h 6886870"/>
                <a:gd name="connsiteX432" fmla="*/ 3435206 w 8879175"/>
                <a:gd name="connsiteY432" fmla="*/ 2229443 h 6886870"/>
                <a:gd name="connsiteX433" fmla="*/ 3429154 w 8879175"/>
                <a:gd name="connsiteY433" fmla="*/ 2180134 h 6886870"/>
                <a:gd name="connsiteX434" fmla="*/ 3341389 w 8879175"/>
                <a:gd name="connsiteY434" fmla="*/ 2139072 h 6886870"/>
                <a:gd name="connsiteX435" fmla="*/ 3341550 w 8879175"/>
                <a:gd name="connsiteY435" fmla="*/ 2136858 h 6886870"/>
                <a:gd name="connsiteX436" fmla="*/ 3353279 w 8879175"/>
                <a:gd name="connsiteY436" fmla="*/ 1980378 h 6886870"/>
                <a:gd name="connsiteX437" fmla="*/ 3353386 w 8879175"/>
                <a:gd name="connsiteY437" fmla="*/ 1980039 h 6886870"/>
                <a:gd name="connsiteX438" fmla="*/ 3384093 w 8879175"/>
                <a:gd name="connsiteY438" fmla="*/ 1879135 h 6886870"/>
                <a:gd name="connsiteX439" fmla="*/ 3451684 w 8879175"/>
                <a:gd name="connsiteY439" fmla="*/ 1931997 h 6886870"/>
                <a:gd name="connsiteX440" fmla="*/ 3455790 w 8879175"/>
                <a:gd name="connsiteY440" fmla="*/ 1898398 h 6886870"/>
                <a:gd name="connsiteX441" fmla="*/ 3414354 w 8879175"/>
                <a:gd name="connsiteY441" fmla="*/ 1883652 h 6886870"/>
                <a:gd name="connsiteX442" fmla="*/ 3413800 w 8879175"/>
                <a:gd name="connsiteY442" fmla="*/ 1882991 h 6886870"/>
                <a:gd name="connsiteX443" fmla="*/ 3387806 w 8879175"/>
                <a:gd name="connsiteY443" fmla="*/ 1852641 h 6886870"/>
                <a:gd name="connsiteX444" fmla="*/ 3436438 w 8879175"/>
                <a:gd name="connsiteY444" fmla="*/ 1802850 h 6886870"/>
                <a:gd name="connsiteX445" fmla="*/ 3437562 w 8879175"/>
                <a:gd name="connsiteY445" fmla="*/ 1802707 h 6886870"/>
                <a:gd name="connsiteX446" fmla="*/ 3517900 w 8879175"/>
                <a:gd name="connsiteY446" fmla="*/ 1792852 h 6886870"/>
                <a:gd name="connsiteX447" fmla="*/ 3563657 w 8879175"/>
                <a:gd name="connsiteY447" fmla="*/ 1757147 h 6886870"/>
                <a:gd name="connsiteX448" fmla="*/ 3614573 w 8879175"/>
                <a:gd name="connsiteY448" fmla="*/ 1668275 h 6886870"/>
                <a:gd name="connsiteX449" fmla="*/ 3615216 w 8879175"/>
                <a:gd name="connsiteY449" fmla="*/ 1667847 h 6886870"/>
                <a:gd name="connsiteX450" fmla="*/ 3697571 w 8879175"/>
                <a:gd name="connsiteY450" fmla="*/ 1613181 h 6886870"/>
                <a:gd name="connsiteX451" fmla="*/ 3655474 w 8879175"/>
                <a:gd name="connsiteY451" fmla="*/ 1872047 h 6886870"/>
                <a:gd name="connsiteX452" fmla="*/ 3668239 w 8879175"/>
                <a:gd name="connsiteY452" fmla="*/ 1898827 h 6886870"/>
                <a:gd name="connsiteX453" fmla="*/ 3731884 w 8879175"/>
                <a:gd name="connsiteY453" fmla="*/ 1911716 h 6886870"/>
                <a:gd name="connsiteX454" fmla="*/ 3749523 w 8879175"/>
                <a:gd name="connsiteY454" fmla="*/ 1965025 h 6886870"/>
                <a:gd name="connsiteX455" fmla="*/ 3680146 w 8879175"/>
                <a:gd name="connsiteY455" fmla="*/ 2028759 h 6886870"/>
                <a:gd name="connsiteX456" fmla="*/ 3655403 w 8879175"/>
                <a:gd name="connsiteY456" fmla="*/ 1983681 h 6886870"/>
                <a:gd name="connsiteX457" fmla="*/ 3635764 w 8879175"/>
                <a:gd name="connsiteY457" fmla="*/ 2051522 h 6886870"/>
                <a:gd name="connsiteX458" fmla="*/ 3635372 w 8879175"/>
                <a:gd name="connsiteY458" fmla="*/ 2052022 h 6886870"/>
                <a:gd name="connsiteX459" fmla="*/ 3600219 w 8879175"/>
                <a:gd name="connsiteY459" fmla="*/ 2097082 h 6886870"/>
                <a:gd name="connsiteX460" fmla="*/ 3566299 w 8879175"/>
                <a:gd name="connsiteY460" fmla="*/ 2233299 h 6886870"/>
                <a:gd name="connsiteX461" fmla="*/ 3578582 w 8879175"/>
                <a:gd name="connsiteY461" fmla="*/ 2251795 h 6886870"/>
                <a:gd name="connsiteX462" fmla="*/ 3581010 w 8879175"/>
                <a:gd name="connsiteY462" fmla="*/ 2271594 h 6886870"/>
                <a:gd name="connsiteX463" fmla="*/ 3592418 w 8879175"/>
                <a:gd name="connsiteY463" fmla="*/ 2280520 h 6886870"/>
                <a:gd name="connsiteX464" fmla="*/ 3594685 w 8879175"/>
                <a:gd name="connsiteY464" fmla="*/ 2298962 h 6886870"/>
                <a:gd name="connsiteX465" fmla="*/ 3603897 w 8879175"/>
                <a:gd name="connsiteY465" fmla="*/ 2297819 h 6886870"/>
                <a:gd name="connsiteX466" fmla="*/ 3619018 w 8879175"/>
                <a:gd name="connsiteY466" fmla="*/ 2329669 h 6886870"/>
                <a:gd name="connsiteX467" fmla="*/ 3620161 w 8879175"/>
                <a:gd name="connsiteY467" fmla="*/ 2338952 h 6886870"/>
                <a:gd name="connsiteX468" fmla="*/ 3632354 w 8879175"/>
                <a:gd name="connsiteY468" fmla="*/ 2348521 h 6886870"/>
                <a:gd name="connsiteX469" fmla="*/ 3609878 w 8879175"/>
                <a:gd name="connsiteY469" fmla="*/ 2411863 h 6886870"/>
                <a:gd name="connsiteX470" fmla="*/ 3638175 w 8879175"/>
                <a:gd name="connsiteY470" fmla="*/ 2417683 h 6886870"/>
                <a:gd name="connsiteX471" fmla="*/ 3712067 w 8879175"/>
                <a:gd name="connsiteY471" fmla="*/ 2439107 h 6886870"/>
                <a:gd name="connsiteX472" fmla="*/ 3784496 w 8879175"/>
                <a:gd name="connsiteY472" fmla="*/ 2419469 h 6886870"/>
                <a:gd name="connsiteX473" fmla="*/ 3791477 w 8879175"/>
                <a:gd name="connsiteY473" fmla="*/ 2476348 h 6886870"/>
                <a:gd name="connsiteX474" fmla="*/ 3726742 w 8879175"/>
                <a:gd name="connsiteY474" fmla="*/ 2503823 h 6886870"/>
                <a:gd name="connsiteX475" fmla="*/ 3764484 w 8879175"/>
                <a:gd name="connsiteY475" fmla="*/ 2525532 h 6886870"/>
                <a:gd name="connsiteX476" fmla="*/ 3813668 w 8879175"/>
                <a:gd name="connsiteY476" fmla="*/ 2519498 h 6886870"/>
                <a:gd name="connsiteX477" fmla="*/ 4029419 w 8879175"/>
                <a:gd name="connsiteY477" fmla="*/ 2420397 h 6886870"/>
                <a:gd name="connsiteX478" fmla="*/ 4072070 w 8879175"/>
                <a:gd name="connsiteY478" fmla="*/ 2453728 h 6886870"/>
                <a:gd name="connsiteX479" fmla="*/ 4076444 w 8879175"/>
                <a:gd name="connsiteY479" fmla="*/ 2418023 h 6886870"/>
                <a:gd name="connsiteX480" fmla="*/ 4069552 w 8879175"/>
                <a:gd name="connsiteY480" fmla="*/ 2361947 h 6886870"/>
                <a:gd name="connsiteX481" fmla="*/ 4130109 w 8879175"/>
                <a:gd name="connsiteY481" fmla="*/ 2388905 h 6886870"/>
                <a:gd name="connsiteX482" fmla="*/ 4130627 w 8879175"/>
                <a:gd name="connsiteY482" fmla="*/ 2389690 h 6886870"/>
                <a:gd name="connsiteX483" fmla="*/ 4157210 w 8879175"/>
                <a:gd name="connsiteY483" fmla="*/ 2429752 h 6886870"/>
                <a:gd name="connsiteX484" fmla="*/ 4131145 w 8879175"/>
                <a:gd name="connsiteY484" fmla="*/ 2463083 h 6886870"/>
                <a:gd name="connsiteX485" fmla="*/ 4215250 w 8879175"/>
                <a:gd name="connsiteY485" fmla="*/ 2511464 h 6886870"/>
                <a:gd name="connsiteX486" fmla="*/ 4459083 w 8879175"/>
                <a:gd name="connsiteY486" fmla="*/ 2420272 h 6886870"/>
                <a:gd name="connsiteX487" fmla="*/ 4503376 w 8879175"/>
                <a:gd name="connsiteY487" fmla="*/ 2363464 h 6886870"/>
                <a:gd name="connsiteX488" fmla="*/ 4503966 w 8879175"/>
                <a:gd name="connsiteY488" fmla="*/ 2363143 h 6886870"/>
                <a:gd name="connsiteX489" fmla="*/ 4551776 w 8879175"/>
                <a:gd name="connsiteY489" fmla="*/ 2336828 h 6886870"/>
                <a:gd name="connsiteX490" fmla="*/ 4597961 w 8879175"/>
                <a:gd name="connsiteY490" fmla="*/ 2289464 h 6886870"/>
                <a:gd name="connsiteX491" fmla="*/ 4599086 w 8879175"/>
                <a:gd name="connsiteY491" fmla="*/ 2289339 h 6886870"/>
                <a:gd name="connsiteX492" fmla="*/ 4753030 w 8879175"/>
                <a:gd name="connsiteY492" fmla="*/ 2270451 h 6886870"/>
                <a:gd name="connsiteX493" fmla="*/ 4754155 w 8879175"/>
                <a:gd name="connsiteY493" fmla="*/ 2271861 h 6886870"/>
                <a:gd name="connsiteX494" fmla="*/ 4813730 w 8879175"/>
                <a:gd name="connsiteY494" fmla="*/ 2345504 h 6886870"/>
                <a:gd name="connsiteX495" fmla="*/ 4930469 w 8879175"/>
                <a:gd name="connsiteY495" fmla="*/ 2331222 h 6886870"/>
                <a:gd name="connsiteX496" fmla="*/ 4928274 w 8879175"/>
                <a:gd name="connsiteY496" fmla="*/ 2313369 h 6886870"/>
                <a:gd name="connsiteX497" fmla="*/ 4928523 w 8879175"/>
                <a:gd name="connsiteY497" fmla="*/ 2312655 h 6886870"/>
                <a:gd name="connsiteX498" fmla="*/ 4959248 w 8879175"/>
                <a:gd name="connsiteY498" fmla="*/ 2226123 h 6886870"/>
                <a:gd name="connsiteX499" fmla="*/ 4984813 w 8879175"/>
                <a:gd name="connsiteY499" fmla="*/ 2181491 h 6886870"/>
                <a:gd name="connsiteX500" fmla="*/ 5092288 w 8879175"/>
                <a:gd name="connsiteY500" fmla="*/ 1973612 h 6886870"/>
                <a:gd name="connsiteX501" fmla="*/ 5043424 w 8879175"/>
                <a:gd name="connsiteY501" fmla="*/ 1825969 h 6886870"/>
                <a:gd name="connsiteX502" fmla="*/ 5043424 w 8879175"/>
                <a:gd name="connsiteY502" fmla="*/ 1825648 h 6886870"/>
                <a:gd name="connsiteX503" fmla="*/ 5033356 w 8879175"/>
                <a:gd name="connsiteY503" fmla="*/ 1743650 h 6886870"/>
                <a:gd name="connsiteX504" fmla="*/ 5101589 w 8879175"/>
                <a:gd name="connsiteY504" fmla="*/ 1537610 h 6886870"/>
                <a:gd name="connsiteX505" fmla="*/ 5190621 w 8879175"/>
                <a:gd name="connsiteY505" fmla="*/ 1484052 h 6886870"/>
                <a:gd name="connsiteX506" fmla="*/ 5259908 w 8879175"/>
                <a:gd name="connsiteY506" fmla="*/ 1528791 h 6886870"/>
                <a:gd name="connsiteX507" fmla="*/ 5333658 w 8879175"/>
                <a:gd name="connsiteY507" fmla="*/ 1631820 h 6886870"/>
                <a:gd name="connsiteX508" fmla="*/ 5429545 w 8879175"/>
                <a:gd name="connsiteY508" fmla="*/ 1610325 h 6886870"/>
                <a:gd name="connsiteX509" fmla="*/ 5445809 w 8879175"/>
                <a:gd name="connsiteY509" fmla="*/ 1497745 h 6886870"/>
                <a:gd name="connsiteX510" fmla="*/ 5428260 w 8879175"/>
                <a:gd name="connsiteY510" fmla="*/ 1438331 h 6886870"/>
                <a:gd name="connsiteX511" fmla="*/ 5424689 w 8879175"/>
                <a:gd name="connsiteY511" fmla="*/ 1328857 h 6886870"/>
                <a:gd name="connsiteX512" fmla="*/ 5338175 w 8879175"/>
                <a:gd name="connsiteY512" fmla="*/ 1349388 h 6886870"/>
                <a:gd name="connsiteX513" fmla="*/ 5294488 w 8879175"/>
                <a:gd name="connsiteY513" fmla="*/ 1354744 h 6886870"/>
                <a:gd name="connsiteX514" fmla="*/ 5293953 w 8879175"/>
                <a:gd name="connsiteY514" fmla="*/ 1351709 h 6886870"/>
                <a:gd name="connsiteX515" fmla="*/ 5258587 w 8879175"/>
                <a:gd name="connsiteY515" fmla="*/ 1148383 h 6886870"/>
                <a:gd name="connsiteX516" fmla="*/ 5295578 w 8879175"/>
                <a:gd name="connsiteY516" fmla="*/ 1100984 h 6886870"/>
                <a:gd name="connsiteX517" fmla="*/ 5296327 w 8879175"/>
                <a:gd name="connsiteY517" fmla="*/ 1100662 h 6886870"/>
                <a:gd name="connsiteX518" fmla="*/ 5531699 w 8879175"/>
                <a:gd name="connsiteY518" fmla="*/ 999401 h 6886870"/>
                <a:gd name="connsiteX519" fmla="*/ 5532395 w 8879175"/>
                <a:gd name="connsiteY519" fmla="*/ 999401 h 6886870"/>
                <a:gd name="connsiteX520" fmla="*/ 5683341 w 8879175"/>
                <a:gd name="connsiteY520" fmla="*/ 1001026 h 6886870"/>
                <a:gd name="connsiteX521" fmla="*/ 5650742 w 8879175"/>
                <a:gd name="connsiteY521" fmla="*/ 735679 h 6886870"/>
                <a:gd name="connsiteX522" fmla="*/ 5203885 w 8879175"/>
                <a:gd name="connsiteY522" fmla="*/ 1037981 h 6886870"/>
                <a:gd name="connsiteX523" fmla="*/ 5198280 w 8879175"/>
                <a:gd name="connsiteY523" fmla="*/ 992332 h 6886870"/>
                <a:gd name="connsiteX524" fmla="*/ 5181337 w 8879175"/>
                <a:gd name="connsiteY524" fmla="*/ 929704 h 6886870"/>
                <a:gd name="connsiteX525" fmla="*/ 5141436 w 8879175"/>
                <a:gd name="connsiteY525" fmla="*/ 991724 h 6886870"/>
                <a:gd name="connsiteX526" fmla="*/ 5078094 w 8879175"/>
                <a:gd name="connsiteY526" fmla="*/ 1010470 h 6886870"/>
                <a:gd name="connsiteX527" fmla="*/ 5062152 w 8879175"/>
                <a:gd name="connsiteY527" fmla="*/ 976907 h 6886870"/>
                <a:gd name="connsiteX528" fmla="*/ 5105195 w 8879175"/>
                <a:gd name="connsiteY528" fmla="*/ 921724 h 6886870"/>
                <a:gd name="connsiteX529" fmla="*/ 5011379 w 8879175"/>
                <a:gd name="connsiteY529" fmla="*/ 883626 h 6886870"/>
                <a:gd name="connsiteX530" fmla="*/ 4944341 w 8879175"/>
                <a:gd name="connsiteY530" fmla="*/ 849795 h 6886870"/>
                <a:gd name="connsiteX531" fmla="*/ 4943913 w 8879175"/>
                <a:gd name="connsiteY531" fmla="*/ 848563 h 6886870"/>
                <a:gd name="connsiteX532" fmla="*/ 4894674 w 8879175"/>
                <a:gd name="connsiteY532" fmla="*/ 706258 h 6886870"/>
                <a:gd name="connsiteX533" fmla="*/ 4925899 w 8879175"/>
                <a:gd name="connsiteY533" fmla="*/ 702419 h 6886870"/>
                <a:gd name="connsiteX534" fmla="*/ 4916366 w 8879175"/>
                <a:gd name="connsiteY534" fmla="*/ 624849 h 6886870"/>
                <a:gd name="connsiteX535" fmla="*/ 4858273 w 8879175"/>
                <a:gd name="connsiteY535" fmla="*/ 487596 h 6886870"/>
                <a:gd name="connsiteX536" fmla="*/ 4858273 w 8879175"/>
                <a:gd name="connsiteY536" fmla="*/ 487132 h 6886870"/>
                <a:gd name="connsiteX537" fmla="*/ 4848346 w 8879175"/>
                <a:gd name="connsiteY537" fmla="*/ 406277 h 6886870"/>
                <a:gd name="connsiteX538" fmla="*/ 4833011 w 8879175"/>
                <a:gd name="connsiteY538" fmla="*/ 366447 h 6886870"/>
                <a:gd name="connsiteX539" fmla="*/ 4851471 w 8879175"/>
                <a:gd name="connsiteY539" fmla="*/ 258366 h 6886870"/>
                <a:gd name="connsiteX540" fmla="*/ 4936557 w 8879175"/>
                <a:gd name="connsiteY540" fmla="*/ 228195 h 6886870"/>
                <a:gd name="connsiteX541" fmla="*/ 4904868 w 8879175"/>
                <a:gd name="connsiteY541" fmla="*/ 203522 h 6886870"/>
                <a:gd name="connsiteX542" fmla="*/ 4906065 w 8879175"/>
                <a:gd name="connsiteY542" fmla="*/ 201166 h 6886870"/>
                <a:gd name="connsiteX543" fmla="*/ 5007112 w 8879175"/>
                <a:gd name="connsiteY543" fmla="*/ 0 h 6886870"/>
                <a:gd name="connsiteX544" fmla="*/ 4818586 w 8879175"/>
                <a:gd name="connsiteY544" fmla="*/ 0 h 6886870"/>
                <a:gd name="connsiteX545" fmla="*/ 4753101 w 8879175"/>
                <a:gd name="connsiteY545" fmla="*/ 173172 h 6886870"/>
                <a:gd name="connsiteX546" fmla="*/ 4703114 w 8879175"/>
                <a:gd name="connsiteY546" fmla="*/ 189722 h 6886870"/>
                <a:gd name="connsiteX547" fmla="*/ 4533851 w 8879175"/>
                <a:gd name="connsiteY547" fmla="*/ 406652 h 6886870"/>
                <a:gd name="connsiteX548" fmla="*/ 4504554 w 8879175"/>
                <a:gd name="connsiteY548" fmla="*/ 410222 h 6886870"/>
                <a:gd name="connsiteX549" fmla="*/ 4444783 w 8879175"/>
                <a:gd name="connsiteY549" fmla="*/ 835851 h 6886870"/>
                <a:gd name="connsiteX550" fmla="*/ 4611475 w 8879175"/>
                <a:gd name="connsiteY550" fmla="*/ 938809 h 6886870"/>
                <a:gd name="connsiteX551" fmla="*/ 4614082 w 8879175"/>
                <a:gd name="connsiteY551" fmla="*/ 960125 h 6886870"/>
                <a:gd name="connsiteX552" fmla="*/ 4627632 w 8879175"/>
                <a:gd name="connsiteY552" fmla="*/ 988689 h 6886870"/>
                <a:gd name="connsiteX553" fmla="*/ 4665873 w 8879175"/>
                <a:gd name="connsiteY553" fmla="*/ 1046354 h 6886870"/>
                <a:gd name="connsiteX554" fmla="*/ 4667122 w 8879175"/>
                <a:gd name="connsiteY554" fmla="*/ 1056530 h 6886870"/>
                <a:gd name="connsiteX555" fmla="*/ 4679619 w 8879175"/>
                <a:gd name="connsiteY555" fmla="*/ 1075329 h 6886870"/>
                <a:gd name="connsiteX556" fmla="*/ 4694098 w 8879175"/>
                <a:gd name="connsiteY556" fmla="*/ 1105786 h 6886870"/>
                <a:gd name="connsiteX557" fmla="*/ 4670300 w 8879175"/>
                <a:gd name="connsiteY557" fmla="*/ 1172824 h 6886870"/>
                <a:gd name="connsiteX558" fmla="*/ 4669283 w 8879175"/>
                <a:gd name="connsiteY558" fmla="*/ 1173413 h 6886870"/>
                <a:gd name="connsiteX559" fmla="*/ 4604298 w 8879175"/>
                <a:gd name="connsiteY559" fmla="*/ 1211261 h 6886870"/>
                <a:gd name="connsiteX560" fmla="*/ 4620366 w 8879175"/>
                <a:gd name="connsiteY560" fmla="*/ 1259660 h 6886870"/>
                <a:gd name="connsiteX561" fmla="*/ 4577126 w 8879175"/>
                <a:gd name="connsiteY561" fmla="*/ 1339337 h 6886870"/>
                <a:gd name="connsiteX562" fmla="*/ 4439660 w 8879175"/>
                <a:gd name="connsiteY562" fmla="*/ 1386932 h 6886870"/>
                <a:gd name="connsiteX563" fmla="*/ 4436089 w 8879175"/>
                <a:gd name="connsiteY563" fmla="*/ 1434010 h 6886870"/>
                <a:gd name="connsiteX564" fmla="*/ 4499324 w 8879175"/>
                <a:gd name="connsiteY564" fmla="*/ 1446829 h 6886870"/>
                <a:gd name="connsiteX565" fmla="*/ 4497842 w 8879175"/>
                <a:gd name="connsiteY565" fmla="*/ 1523346 h 6886870"/>
                <a:gd name="connsiteX566" fmla="*/ 4443837 w 8879175"/>
                <a:gd name="connsiteY566" fmla="*/ 1569763 h 6886870"/>
                <a:gd name="connsiteX567" fmla="*/ 4475972 w 8879175"/>
                <a:gd name="connsiteY567" fmla="*/ 1594918 h 6886870"/>
                <a:gd name="connsiteX568" fmla="*/ 4476133 w 8879175"/>
                <a:gd name="connsiteY568" fmla="*/ 1596239 h 6886870"/>
                <a:gd name="connsiteX569" fmla="*/ 4485059 w 8879175"/>
                <a:gd name="connsiteY569" fmla="*/ 1668668 h 6886870"/>
                <a:gd name="connsiteX570" fmla="*/ 4458083 w 8879175"/>
                <a:gd name="connsiteY570" fmla="*/ 1703231 h 6886870"/>
                <a:gd name="connsiteX571" fmla="*/ 4421717 w 8879175"/>
                <a:gd name="connsiteY571" fmla="*/ 1999034 h 6886870"/>
                <a:gd name="connsiteX572" fmla="*/ 4273628 w 8879175"/>
                <a:gd name="connsiteY572" fmla="*/ 1965685 h 6886870"/>
                <a:gd name="connsiteX573" fmla="*/ 4269861 w 8879175"/>
                <a:gd name="connsiteY573" fmla="*/ 2016138 h 6886870"/>
                <a:gd name="connsiteX574" fmla="*/ 4219998 w 8879175"/>
                <a:gd name="connsiteY574" fmla="*/ 2032651 h 6886870"/>
                <a:gd name="connsiteX575" fmla="*/ 4206734 w 8879175"/>
                <a:gd name="connsiteY575" fmla="*/ 2082836 h 6886870"/>
                <a:gd name="connsiteX576" fmla="*/ 4245367 w 8879175"/>
                <a:gd name="connsiteY576" fmla="*/ 2141090 h 6886870"/>
                <a:gd name="connsiteX577" fmla="*/ 4205449 w 8879175"/>
                <a:gd name="connsiteY577" fmla="*/ 2179527 h 6886870"/>
                <a:gd name="connsiteX578" fmla="*/ 4130788 w 8879175"/>
                <a:gd name="connsiteY578" fmla="*/ 2167744 h 6886870"/>
                <a:gd name="connsiteX579" fmla="*/ 4080264 w 8879175"/>
                <a:gd name="connsiteY579" fmla="*/ 2173921 h 6886870"/>
                <a:gd name="connsiteX580" fmla="*/ 4079997 w 8879175"/>
                <a:gd name="connsiteY580" fmla="*/ 2173921 h 6886870"/>
                <a:gd name="connsiteX581" fmla="*/ 4014619 w 8879175"/>
                <a:gd name="connsiteY581" fmla="*/ 2171100 h 6886870"/>
                <a:gd name="connsiteX582" fmla="*/ 4017369 w 8879175"/>
                <a:gd name="connsiteY582" fmla="*/ 2106562 h 6886870"/>
                <a:gd name="connsiteX583" fmla="*/ 3937263 w 8879175"/>
                <a:gd name="connsiteY583" fmla="*/ 1960722 h 6886870"/>
                <a:gd name="connsiteX584" fmla="*/ 3989036 w 8879175"/>
                <a:gd name="connsiteY584" fmla="*/ 1882580 h 6886870"/>
                <a:gd name="connsiteX585" fmla="*/ 3966345 w 8879175"/>
                <a:gd name="connsiteY585" fmla="*/ 1856105 h 6886870"/>
                <a:gd name="connsiteX586" fmla="*/ 3928497 w 8879175"/>
                <a:gd name="connsiteY586" fmla="*/ 1798976 h 6886870"/>
                <a:gd name="connsiteX587" fmla="*/ 3904199 w 8879175"/>
                <a:gd name="connsiteY587" fmla="*/ 1770697 h 6886870"/>
                <a:gd name="connsiteX588" fmla="*/ 3887954 w 8879175"/>
                <a:gd name="connsiteY588" fmla="*/ 1721441 h 6886870"/>
                <a:gd name="connsiteX589" fmla="*/ 3865316 w 8879175"/>
                <a:gd name="connsiteY589" fmla="*/ 1703713 h 6886870"/>
                <a:gd name="connsiteX590" fmla="*/ 3851284 w 8879175"/>
                <a:gd name="connsiteY590" fmla="*/ 1674202 h 6886870"/>
                <a:gd name="connsiteX591" fmla="*/ 3826897 w 8879175"/>
                <a:gd name="connsiteY591" fmla="*/ 1645781 h 6886870"/>
                <a:gd name="connsiteX592" fmla="*/ 3815560 w 8879175"/>
                <a:gd name="connsiteY592" fmla="*/ 1553571 h 6886870"/>
                <a:gd name="connsiteX593" fmla="*/ 3771339 w 8879175"/>
                <a:gd name="connsiteY593" fmla="*/ 1362171 h 6886870"/>
                <a:gd name="connsiteX594" fmla="*/ 3794780 w 8879175"/>
                <a:gd name="connsiteY594" fmla="*/ 1309326 h 6886870"/>
                <a:gd name="connsiteX595" fmla="*/ 3751790 w 8879175"/>
                <a:gd name="connsiteY595" fmla="*/ 1284582 h 6886870"/>
                <a:gd name="connsiteX596" fmla="*/ 3751469 w 8879175"/>
                <a:gd name="connsiteY596" fmla="*/ 1283225 h 6886870"/>
                <a:gd name="connsiteX597" fmla="*/ 3730510 w 8879175"/>
                <a:gd name="connsiteY597" fmla="*/ 1194943 h 6886870"/>
                <a:gd name="connsiteX598" fmla="*/ 3682610 w 8879175"/>
                <a:gd name="connsiteY598" fmla="*/ 1182268 h 6886870"/>
                <a:gd name="connsiteX599" fmla="*/ 3665061 w 8879175"/>
                <a:gd name="connsiteY599" fmla="*/ 1285403 h 6886870"/>
                <a:gd name="connsiteX600" fmla="*/ 3608949 w 8879175"/>
                <a:gd name="connsiteY600" fmla="*/ 1333606 h 6886870"/>
                <a:gd name="connsiteX601" fmla="*/ 3600898 w 8879175"/>
                <a:gd name="connsiteY601" fmla="*/ 1356279 h 6886870"/>
                <a:gd name="connsiteX602" fmla="*/ 3579474 w 8879175"/>
                <a:gd name="connsiteY602" fmla="*/ 1358921 h 6886870"/>
                <a:gd name="connsiteX603" fmla="*/ 3560408 w 8879175"/>
                <a:gd name="connsiteY603" fmla="*/ 1371561 h 6886870"/>
                <a:gd name="connsiteX604" fmla="*/ 3550874 w 8879175"/>
                <a:gd name="connsiteY604" fmla="*/ 1372739 h 6886870"/>
                <a:gd name="connsiteX605" fmla="*/ 3533021 w 8879175"/>
                <a:gd name="connsiteY605" fmla="*/ 1395538 h 6886870"/>
                <a:gd name="connsiteX606" fmla="*/ 3522917 w 8879175"/>
                <a:gd name="connsiteY606" fmla="*/ 1396769 h 6886870"/>
                <a:gd name="connsiteX607" fmla="*/ 3496691 w 8879175"/>
                <a:gd name="connsiteY607" fmla="*/ 1430368 h 6886870"/>
                <a:gd name="connsiteX608" fmla="*/ 3477678 w 8879175"/>
                <a:gd name="connsiteY608" fmla="*/ 1443008 h 6886870"/>
                <a:gd name="connsiteX609" fmla="*/ 3450506 w 8879175"/>
                <a:gd name="connsiteY609" fmla="*/ 1477875 h 6886870"/>
                <a:gd name="connsiteX610" fmla="*/ 3440347 w 8879175"/>
                <a:gd name="connsiteY610" fmla="*/ 1479125 h 6886870"/>
                <a:gd name="connsiteX611" fmla="*/ 3413568 w 8879175"/>
                <a:gd name="connsiteY611" fmla="*/ 1513313 h 6886870"/>
                <a:gd name="connsiteX612" fmla="*/ 3393930 w 8879175"/>
                <a:gd name="connsiteY612" fmla="*/ 1515723 h 6886870"/>
                <a:gd name="connsiteX613" fmla="*/ 3386235 w 8879175"/>
                <a:gd name="connsiteY613" fmla="*/ 1537343 h 6886870"/>
                <a:gd name="connsiteX614" fmla="*/ 3251072 w 8879175"/>
                <a:gd name="connsiteY614" fmla="*/ 1553910 h 6886870"/>
                <a:gd name="connsiteX615" fmla="*/ 3215366 w 8879175"/>
                <a:gd name="connsiteY615" fmla="*/ 1526006 h 6886870"/>
                <a:gd name="connsiteX616" fmla="*/ 3190086 w 8879175"/>
                <a:gd name="connsiteY616" fmla="*/ 1487872 h 6886870"/>
                <a:gd name="connsiteX617" fmla="*/ 3167217 w 8879175"/>
                <a:gd name="connsiteY617" fmla="*/ 1470020 h 6886870"/>
                <a:gd name="connsiteX618" fmla="*/ 3143401 w 8879175"/>
                <a:gd name="connsiteY618" fmla="*/ 1442241 h 6886870"/>
                <a:gd name="connsiteX619" fmla="*/ 3120300 w 8879175"/>
                <a:gd name="connsiteY619" fmla="*/ 1424138 h 6886870"/>
                <a:gd name="connsiteX620" fmla="*/ 3119978 w 8879175"/>
                <a:gd name="connsiteY620" fmla="*/ 1423459 h 6886870"/>
                <a:gd name="connsiteX621" fmla="*/ 3106267 w 8879175"/>
                <a:gd name="connsiteY621" fmla="*/ 1394306 h 6886870"/>
                <a:gd name="connsiteX622" fmla="*/ 3080881 w 8879175"/>
                <a:gd name="connsiteY622" fmla="*/ 1356029 h 6886870"/>
                <a:gd name="connsiteX623" fmla="*/ 3080738 w 8879175"/>
                <a:gd name="connsiteY623" fmla="*/ 1355619 h 6886870"/>
                <a:gd name="connsiteX624" fmla="*/ 3064242 w 8879175"/>
                <a:gd name="connsiteY624" fmla="*/ 1305738 h 6886870"/>
                <a:gd name="connsiteX625" fmla="*/ 3064242 w 8879175"/>
                <a:gd name="connsiteY625" fmla="*/ 1305417 h 6886870"/>
                <a:gd name="connsiteX626" fmla="*/ 3051745 w 8879175"/>
                <a:gd name="connsiteY626" fmla="*/ 1203191 h 6886870"/>
                <a:gd name="connsiteX627" fmla="*/ 3051905 w 8879175"/>
                <a:gd name="connsiteY627" fmla="*/ 1202584 h 6886870"/>
                <a:gd name="connsiteX628" fmla="*/ 3087486 w 8879175"/>
                <a:gd name="connsiteY628" fmla="*/ 1075026 h 6886870"/>
                <a:gd name="connsiteX629" fmla="*/ 3067723 w 8879175"/>
                <a:gd name="connsiteY629" fmla="*/ 830817 h 6886870"/>
                <a:gd name="connsiteX630" fmla="*/ 3048496 w 8879175"/>
                <a:gd name="connsiteY630" fmla="*/ 759691 h 6886870"/>
                <a:gd name="connsiteX631" fmla="*/ 3093253 w 8879175"/>
                <a:gd name="connsiteY631" fmla="*/ 702312 h 6886870"/>
                <a:gd name="connsiteX632" fmla="*/ 3090914 w 8879175"/>
                <a:gd name="connsiteY632" fmla="*/ 599230 h 6886870"/>
                <a:gd name="connsiteX633" fmla="*/ 3174822 w 8879175"/>
                <a:gd name="connsiteY633" fmla="*/ 515500 h 6886870"/>
                <a:gd name="connsiteX634" fmla="*/ 3175394 w 8879175"/>
                <a:gd name="connsiteY634" fmla="*/ 515250 h 6886870"/>
                <a:gd name="connsiteX635" fmla="*/ 3243681 w 8879175"/>
                <a:gd name="connsiteY635" fmla="*/ 486329 h 6886870"/>
                <a:gd name="connsiteX636" fmla="*/ 3348334 w 8879175"/>
                <a:gd name="connsiteY636" fmla="*/ 422291 h 6886870"/>
                <a:gd name="connsiteX637" fmla="*/ 3410676 w 8879175"/>
                <a:gd name="connsiteY637" fmla="*/ 342364 h 6886870"/>
                <a:gd name="connsiteX638" fmla="*/ 3411301 w 8879175"/>
                <a:gd name="connsiteY638" fmla="*/ 342042 h 6886870"/>
                <a:gd name="connsiteX639" fmla="*/ 3488443 w 8879175"/>
                <a:gd name="connsiteY639" fmla="*/ 301713 h 6886870"/>
                <a:gd name="connsiteX640" fmla="*/ 3572940 w 8879175"/>
                <a:gd name="connsiteY640" fmla="*/ 240138 h 6886870"/>
                <a:gd name="connsiteX641" fmla="*/ 3704783 w 8879175"/>
                <a:gd name="connsiteY641" fmla="*/ 59343 h 6886870"/>
                <a:gd name="connsiteX642" fmla="*/ 3747862 w 8879175"/>
                <a:gd name="connsiteY642" fmla="*/ 0 h 6886870"/>
                <a:gd name="connsiteX643" fmla="*/ 0 w 8879175"/>
                <a:gd name="connsiteY643" fmla="*/ 0 h 6886870"/>
                <a:gd name="connsiteX644" fmla="*/ 0 w 8879175"/>
                <a:gd name="connsiteY644" fmla="*/ 6886871 h 6886870"/>
                <a:gd name="connsiteX645" fmla="*/ 295268 w 8879175"/>
                <a:gd name="connsiteY645" fmla="*/ 6886871 h 6886870"/>
                <a:gd name="connsiteX646" fmla="*/ 7810613 w 8879175"/>
                <a:gd name="connsiteY646" fmla="*/ 6331166 h 6886870"/>
                <a:gd name="connsiteX647" fmla="*/ 7847247 w 8879175"/>
                <a:gd name="connsiteY647" fmla="*/ 6278875 h 6886870"/>
                <a:gd name="connsiteX648" fmla="*/ 7895538 w 8879175"/>
                <a:gd name="connsiteY648" fmla="*/ 6238884 h 6886870"/>
                <a:gd name="connsiteX649" fmla="*/ 8011582 w 8879175"/>
                <a:gd name="connsiteY649" fmla="*/ 6205481 h 6886870"/>
                <a:gd name="connsiteX650" fmla="*/ 8066926 w 8879175"/>
                <a:gd name="connsiteY650" fmla="*/ 6120145 h 6886870"/>
                <a:gd name="connsiteX651" fmla="*/ 8067818 w 8879175"/>
                <a:gd name="connsiteY651" fmla="*/ 6119752 h 6886870"/>
                <a:gd name="connsiteX652" fmla="*/ 8152227 w 8879175"/>
                <a:gd name="connsiteY652" fmla="*/ 6082154 h 6886870"/>
                <a:gd name="connsiteX653" fmla="*/ 8131892 w 8879175"/>
                <a:gd name="connsiteY653" fmla="*/ 6211944 h 6886870"/>
                <a:gd name="connsiteX654" fmla="*/ 8131892 w 8879175"/>
                <a:gd name="connsiteY654" fmla="*/ 6281142 h 6886870"/>
                <a:gd name="connsiteX655" fmla="*/ 8047841 w 8879175"/>
                <a:gd name="connsiteY655" fmla="*/ 6331041 h 6886870"/>
                <a:gd name="connsiteX656" fmla="*/ 8032363 w 8879175"/>
                <a:gd name="connsiteY656" fmla="*/ 6392490 h 6886870"/>
                <a:gd name="connsiteX657" fmla="*/ 7962629 w 8879175"/>
                <a:gd name="connsiteY657" fmla="*/ 6422840 h 6886870"/>
                <a:gd name="connsiteX658" fmla="*/ 7962023 w 8879175"/>
                <a:gd name="connsiteY658" fmla="*/ 6422840 h 6886870"/>
                <a:gd name="connsiteX659" fmla="*/ 7837178 w 8879175"/>
                <a:gd name="connsiteY659" fmla="*/ 6427285 h 6886870"/>
                <a:gd name="connsiteX660" fmla="*/ 7771658 w 8879175"/>
                <a:gd name="connsiteY660" fmla="*/ 6355642 h 6886870"/>
                <a:gd name="connsiteX661" fmla="*/ 6533600 w 8879175"/>
                <a:gd name="connsiteY661" fmla="*/ 6220639 h 6886870"/>
                <a:gd name="connsiteX662" fmla="*/ 6561576 w 8879175"/>
                <a:gd name="connsiteY662" fmla="*/ 6227976 h 6886870"/>
                <a:gd name="connsiteX663" fmla="*/ 6552649 w 8879175"/>
                <a:gd name="connsiteY663" fmla="*/ 6252452 h 6886870"/>
                <a:gd name="connsiteX664" fmla="*/ 6546454 w 8879175"/>
                <a:gd name="connsiteY664" fmla="*/ 6266860 h 6886870"/>
                <a:gd name="connsiteX665" fmla="*/ 6520478 w 8879175"/>
                <a:gd name="connsiteY665" fmla="*/ 6295996 h 6886870"/>
                <a:gd name="connsiteX666" fmla="*/ 6501590 w 8879175"/>
                <a:gd name="connsiteY666" fmla="*/ 6314277 h 6886870"/>
                <a:gd name="connsiteX667" fmla="*/ 6480970 w 8879175"/>
                <a:gd name="connsiteY667" fmla="*/ 6308439 h 6886870"/>
                <a:gd name="connsiteX668" fmla="*/ 6480970 w 8879175"/>
                <a:gd name="connsiteY668" fmla="*/ 6292960 h 6886870"/>
                <a:gd name="connsiteX669" fmla="*/ 6493199 w 8879175"/>
                <a:gd name="connsiteY669" fmla="*/ 6266056 h 6886870"/>
                <a:gd name="connsiteX670" fmla="*/ 6411987 w 8879175"/>
                <a:gd name="connsiteY670" fmla="*/ 5852870 h 6886870"/>
                <a:gd name="connsiteX671" fmla="*/ 6458600 w 8879175"/>
                <a:gd name="connsiteY671" fmla="*/ 5852870 h 6886870"/>
                <a:gd name="connsiteX672" fmla="*/ 6474668 w 8879175"/>
                <a:gd name="connsiteY672" fmla="*/ 5868117 h 6886870"/>
                <a:gd name="connsiteX673" fmla="*/ 6483594 w 8879175"/>
                <a:gd name="connsiteY673" fmla="*/ 5892664 h 6886870"/>
                <a:gd name="connsiteX674" fmla="*/ 6483594 w 8879175"/>
                <a:gd name="connsiteY674" fmla="*/ 5893129 h 6886870"/>
                <a:gd name="connsiteX675" fmla="*/ 6483434 w 8879175"/>
                <a:gd name="connsiteY675" fmla="*/ 5949651 h 6886870"/>
                <a:gd name="connsiteX676" fmla="*/ 6483201 w 8879175"/>
                <a:gd name="connsiteY676" fmla="*/ 5950329 h 6886870"/>
                <a:gd name="connsiteX677" fmla="*/ 6458654 w 8879175"/>
                <a:gd name="connsiteY677" fmla="*/ 5976394 h 6886870"/>
                <a:gd name="connsiteX678" fmla="*/ 6423287 w 8879175"/>
                <a:gd name="connsiteY678" fmla="*/ 5961933 h 6886870"/>
                <a:gd name="connsiteX679" fmla="*/ 6416039 w 8879175"/>
                <a:gd name="connsiteY679" fmla="*/ 5941688 h 6886870"/>
                <a:gd name="connsiteX680" fmla="*/ 6429804 w 8879175"/>
                <a:gd name="connsiteY680" fmla="*/ 5924514 h 6886870"/>
                <a:gd name="connsiteX681" fmla="*/ 6435731 w 8879175"/>
                <a:gd name="connsiteY681" fmla="*/ 5902769 h 6886870"/>
                <a:gd name="connsiteX682" fmla="*/ 6411362 w 8879175"/>
                <a:gd name="connsiteY682" fmla="*/ 5894450 h 6886870"/>
                <a:gd name="connsiteX683" fmla="*/ 6391777 w 8879175"/>
                <a:gd name="connsiteY683" fmla="*/ 6125733 h 6886870"/>
                <a:gd name="connsiteX684" fmla="*/ 6378887 w 8879175"/>
                <a:gd name="connsiteY684" fmla="*/ 6177810 h 6886870"/>
                <a:gd name="connsiteX685" fmla="*/ 6321758 w 8879175"/>
                <a:gd name="connsiteY685" fmla="*/ 6164188 h 6886870"/>
                <a:gd name="connsiteX686" fmla="*/ 6306851 w 8879175"/>
                <a:gd name="connsiteY686" fmla="*/ 6119092 h 6886870"/>
                <a:gd name="connsiteX687" fmla="*/ 6372693 w 8879175"/>
                <a:gd name="connsiteY687" fmla="*/ 6274179 h 6886870"/>
                <a:gd name="connsiteX688" fmla="*/ 6372693 w 8879175"/>
                <a:gd name="connsiteY688" fmla="*/ 6295014 h 6886870"/>
                <a:gd name="connsiteX689" fmla="*/ 6345699 w 8879175"/>
                <a:gd name="connsiteY689" fmla="*/ 6303940 h 6886870"/>
                <a:gd name="connsiteX690" fmla="*/ 6330917 w 8879175"/>
                <a:gd name="connsiteY690" fmla="*/ 6275840 h 6886870"/>
                <a:gd name="connsiteX691" fmla="*/ 6346842 w 8879175"/>
                <a:gd name="connsiteY691" fmla="*/ 6265128 h 6886870"/>
                <a:gd name="connsiteX692" fmla="*/ 6255185 w 8879175"/>
                <a:gd name="connsiteY692" fmla="*/ 6264985 h 6886870"/>
                <a:gd name="connsiteX693" fmla="*/ 6255185 w 8879175"/>
                <a:gd name="connsiteY693" fmla="*/ 6202804 h 6886870"/>
                <a:gd name="connsiteX694" fmla="*/ 6319277 w 8879175"/>
                <a:gd name="connsiteY694" fmla="*/ 6221924 h 6886870"/>
                <a:gd name="connsiteX695" fmla="*/ 6314421 w 8879175"/>
                <a:gd name="connsiteY695" fmla="*/ 6264985 h 6886870"/>
                <a:gd name="connsiteX696" fmla="*/ 6303906 w 8879175"/>
                <a:gd name="connsiteY696" fmla="*/ 6331880 h 6886870"/>
                <a:gd name="connsiteX697" fmla="*/ 6301085 w 8879175"/>
                <a:gd name="connsiteY697" fmla="*/ 6357981 h 6886870"/>
                <a:gd name="connsiteX698" fmla="*/ 6282572 w 8879175"/>
                <a:gd name="connsiteY698" fmla="*/ 6373262 h 6886870"/>
                <a:gd name="connsiteX699" fmla="*/ 6248383 w 8879175"/>
                <a:gd name="connsiteY699" fmla="*/ 6358195 h 6886870"/>
                <a:gd name="connsiteX700" fmla="*/ 6255667 w 8879175"/>
                <a:gd name="connsiteY700" fmla="*/ 6327238 h 6886870"/>
                <a:gd name="connsiteX701" fmla="*/ 6281518 w 8879175"/>
                <a:gd name="connsiteY701" fmla="*/ 6317830 h 6886870"/>
                <a:gd name="connsiteX702" fmla="*/ 6347716 w 8879175"/>
                <a:gd name="connsiteY702" fmla="*/ 6118163 h 6886870"/>
                <a:gd name="connsiteX703" fmla="*/ 6265593 w 8879175"/>
                <a:gd name="connsiteY703" fmla="*/ 6119271 h 6886870"/>
                <a:gd name="connsiteX704" fmla="*/ 6250507 w 8879175"/>
                <a:gd name="connsiteY704" fmla="*/ 6074639 h 6886870"/>
                <a:gd name="connsiteX705" fmla="*/ 6252525 w 8879175"/>
                <a:gd name="connsiteY705" fmla="*/ 6073264 h 6886870"/>
                <a:gd name="connsiteX706" fmla="*/ 6286713 w 8879175"/>
                <a:gd name="connsiteY706" fmla="*/ 6056107 h 6886870"/>
                <a:gd name="connsiteX707" fmla="*/ 6288980 w 8879175"/>
                <a:gd name="connsiteY707" fmla="*/ 6057196 h 6886870"/>
                <a:gd name="connsiteX708" fmla="*/ 6313617 w 8879175"/>
                <a:gd name="connsiteY708" fmla="*/ 6070479 h 6886870"/>
                <a:gd name="connsiteX709" fmla="*/ 6216998 w 8879175"/>
                <a:gd name="connsiteY709" fmla="*/ 5569368 h 6886870"/>
                <a:gd name="connsiteX710" fmla="*/ 6258988 w 8879175"/>
                <a:gd name="connsiteY710" fmla="*/ 5550390 h 6886870"/>
                <a:gd name="connsiteX711" fmla="*/ 6290391 w 8879175"/>
                <a:gd name="connsiteY711" fmla="*/ 5579383 h 6886870"/>
                <a:gd name="connsiteX712" fmla="*/ 6286695 w 8879175"/>
                <a:gd name="connsiteY712" fmla="*/ 5617410 h 6886870"/>
                <a:gd name="connsiteX713" fmla="*/ 6259630 w 8879175"/>
                <a:gd name="connsiteY713" fmla="*/ 5642671 h 6886870"/>
                <a:gd name="connsiteX714" fmla="*/ 6217498 w 8879175"/>
                <a:gd name="connsiteY714" fmla="*/ 5642671 h 6886870"/>
                <a:gd name="connsiteX715" fmla="*/ 6185220 w 8879175"/>
                <a:gd name="connsiteY715" fmla="*/ 5605716 h 6886870"/>
                <a:gd name="connsiteX716" fmla="*/ 6200413 w 8879175"/>
                <a:gd name="connsiteY716" fmla="*/ 6624059 h 6886870"/>
                <a:gd name="connsiteX717" fmla="*/ 6246830 w 8879175"/>
                <a:gd name="connsiteY717" fmla="*/ 6666067 h 6886870"/>
                <a:gd name="connsiteX718" fmla="*/ 6297496 w 8879175"/>
                <a:gd name="connsiteY718" fmla="*/ 6660068 h 6886870"/>
                <a:gd name="connsiteX719" fmla="*/ 6398454 w 8879175"/>
                <a:gd name="connsiteY719" fmla="*/ 6626969 h 6886870"/>
                <a:gd name="connsiteX720" fmla="*/ 6507195 w 8879175"/>
                <a:gd name="connsiteY720" fmla="*/ 6643983 h 6886870"/>
                <a:gd name="connsiteX721" fmla="*/ 6594174 w 8879175"/>
                <a:gd name="connsiteY721" fmla="*/ 6605171 h 6886870"/>
                <a:gd name="connsiteX722" fmla="*/ 6663212 w 8879175"/>
                <a:gd name="connsiteY722" fmla="*/ 6628147 h 6886870"/>
                <a:gd name="connsiteX723" fmla="*/ 6609421 w 8879175"/>
                <a:gd name="connsiteY723" fmla="*/ 6691060 h 6886870"/>
                <a:gd name="connsiteX724" fmla="*/ 6483362 w 8879175"/>
                <a:gd name="connsiteY724" fmla="*/ 6744798 h 6886870"/>
                <a:gd name="connsiteX725" fmla="*/ 6482916 w 8879175"/>
                <a:gd name="connsiteY725" fmla="*/ 6744798 h 6886870"/>
                <a:gd name="connsiteX726" fmla="*/ 6382779 w 8879175"/>
                <a:gd name="connsiteY726" fmla="*/ 6757063 h 6886870"/>
                <a:gd name="connsiteX727" fmla="*/ 6302442 w 8879175"/>
                <a:gd name="connsiteY727" fmla="*/ 6728498 h 6886870"/>
                <a:gd name="connsiteX728" fmla="*/ 6139285 w 8879175"/>
                <a:gd name="connsiteY728" fmla="*/ 6743351 h 6886870"/>
                <a:gd name="connsiteX729" fmla="*/ 6129305 w 8879175"/>
                <a:gd name="connsiteY729" fmla="*/ 6640341 h 6886870"/>
                <a:gd name="connsiteX730" fmla="*/ 4131948 w 8879175"/>
                <a:gd name="connsiteY730" fmla="*/ 6217657 h 6886870"/>
                <a:gd name="connsiteX731" fmla="*/ 4163941 w 8879175"/>
                <a:gd name="connsiteY731" fmla="*/ 6259719 h 6886870"/>
                <a:gd name="connsiteX732" fmla="*/ 4220266 w 8879175"/>
                <a:gd name="connsiteY732" fmla="*/ 6212319 h 6886870"/>
                <a:gd name="connsiteX733" fmla="*/ 4291320 w 8879175"/>
                <a:gd name="connsiteY733" fmla="*/ 6247329 h 6886870"/>
                <a:gd name="connsiteX734" fmla="*/ 4353287 w 8879175"/>
                <a:gd name="connsiteY734" fmla="*/ 6257130 h 6886870"/>
                <a:gd name="connsiteX735" fmla="*/ 4497199 w 8879175"/>
                <a:gd name="connsiteY735" fmla="*/ 6204160 h 6886870"/>
                <a:gd name="connsiteX736" fmla="*/ 4581964 w 8879175"/>
                <a:gd name="connsiteY736" fmla="*/ 6164152 h 6886870"/>
                <a:gd name="connsiteX737" fmla="*/ 4660713 w 8879175"/>
                <a:gd name="connsiteY737" fmla="*/ 6165242 h 6886870"/>
                <a:gd name="connsiteX738" fmla="*/ 4669390 w 8879175"/>
                <a:gd name="connsiteY738" fmla="*/ 6209998 h 6886870"/>
                <a:gd name="connsiteX739" fmla="*/ 4611814 w 8879175"/>
                <a:gd name="connsiteY739" fmla="*/ 6270698 h 6886870"/>
                <a:gd name="connsiteX740" fmla="*/ 4591658 w 8879175"/>
                <a:gd name="connsiteY740" fmla="*/ 6343894 h 6886870"/>
                <a:gd name="connsiteX741" fmla="*/ 4583875 w 8879175"/>
                <a:gd name="connsiteY741" fmla="*/ 6377619 h 6886870"/>
                <a:gd name="connsiteX742" fmla="*/ 4630542 w 8879175"/>
                <a:gd name="connsiteY742" fmla="*/ 6445977 h 6886870"/>
                <a:gd name="connsiteX743" fmla="*/ 4611386 w 8879175"/>
                <a:gd name="connsiteY743" fmla="*/ 6486503 h 6886870"/>
                <a:gd name="connsiteX744" fmla="*/ 4605673 w 8879175"/>
                <a:gd name="connsiteY744" fmla="*/ 6545596 h 6886870"/>
                <a:gd name="connsiteX745" fmla="*/ 4492057 w 8879175"/>
                <a:gd name="connsiteY745" fmla="*/ 6545596 h 6886870"/>
                <a:gd name="connsiteX746" fmla="*/ 4442605 w 8879175"/>
                <a:gd name="connsiteY746" fmla="*/ 6474184 h 6886870"/>
                <a:gd name="connsiteX747" fmla="*/ 4350663 w 8879175"/>
                <a:gd name="connsiteY747" fmla="*/ 6474381 h 6886870"/>
                <a:gd name="connsiteX748" fmla="*/ 4263774 w 8879175"/>
                <a:gd name="connsiteY748" fmla="*/ 6436015 h 6886870"/>
                <a:gd name="connsiteX749" fmla="*/ 4219141 w 8879175"/>
                <a:gd name="connsiteY749" fmla="*/ 6391544 h 6886870"/>
                <a:gd name="connsiteX750" fmla="*/ 4183561 w 8879175"/>
                <a:gd name="connsiteY750" fmla="*/ 6382724 h 6886870"/>
                <a:gd name="connsiteX751" fmla="*/ 4153514 w 8879175"/>
                <a:gd name="connsiteY751" fmla="*/ 6360676 h 6886870"/>
                <a:gd name="connsiteX752" fmla="*/ 4113685 w 8879175"/>
                <a:gd name="connsiteY752" fmla="*/ 6370656 h 6886870"/>
                <a:gd name="connsiteX753" fmla="*/ 4079371 w 8879175"/>
                <a:gd name="connsiteY753" fmla="*/ 6349911 h 6886870"/>
                <a:gd name="connsiteX754" fmla="*/ 4062465 w 8879175"/>
                <a:gd name="connsiteY754" fmla="*/ 6286141 h 6886870"/>
                <a:gd name="connsiteX755" fmla="*/ 3349584 w 8879175"/>
                <a:gd name="connsiteY755" fmla="*/ 5229093 h 6886870"/>
                <a:gd name="connsiteX756" fmla="*/ 3448988 w 8879175"/>
                <a:gd name="connsiteY756" fmla="*/ 5197350 h 6886870"/>
                <a:gd name="connsiteX757" fmla="*/ 3452059 w 8879175"/>
                <a:gd name="connsiteY757" fmla="*/ 5128349 h 6886870"/>
                <a:gd name="connsiteX758" fmla="*/ 3481480 w 8879175"/>
                <a:gd name="connsiteY758" fmla="*/ 5124350 h 6886870"/>
                <a:gd name="connsiteX759" fmla="*/ 3495923 w 8879175"/>
                <a:gd name="connsiteY759" fmla="*/ 5156807 h 6886870"/>
                <a:gd name="connsiteX760" fmla="*/ 3495923 w 8879175"/>
                <a:gd name="connsiteY760" fmla="*/ 5157164 h 6886870"/>
                <a:gd name="connsiteX761" fmla="*/ 3515222 w 8879175"/>
                <a:gd name="connsiteY761" fmla="*/ 5252123 h 6886870"/>
                <a:gd name="connsiteX762" fmla="*/ 3503207 w 8879175"/>
                <a:gd name="connsiteY762" fmla="*/ 5323820 h 6886870"/>
                <a:gd name="connsiteX763" fmla="*/ 3489710 w 8879175"/>
                <a:gd name="connsiteY763" fmla="*/ 5404515 h 6886870"/>
                <a:gd name="connsiteX764" fmla="*/ 3489603 w 8879175"/>
                <a:gd name="connsiteY764" fmla="*/ 5404836 h 6886870"/>
                <a:gd name="connsiteX765" fmla="*/ 3447203 w 8879175"/>
                <a:gd name="connsiteY765" fmla="*/ 5513292 h 6886870"/>
                <a:gd name="connsiteX766" fmla="*/ 3413532 w 8879175"/>
                <a:gd name="connsiteY766" fmla="*/ 5517862 h 6886870"/>
                <a:gd name="connsiteX767" fmla="*/ 3354475 w 8879175"/>
                <a:gd name="connsiteY767" fmla="*/ 5469445 h 6886870"/>
                <a:gd name="connsiteX768" fmla="*/ 3349351 w 8879175"/>
                <a:gd name="connsiteY768" fmla="*/ 5424420 h 6886870"/>
                <a:gd name="connsiteX769" fmla="*/ 3322304 w 8879175"/>
                <a:gd name="connsiteY769" fmla="*/ 5316661 h 6886870"/>
                <a:gd name="connsiteX770" fmla="*/ 3310932 w 8879175"/>
                <a:gd name="connsiteY770" fmla="*/ 5259692 h 6886870"/>
                <a:gd name="connsiteX771" fmla="*/ 3248840 w 8879175"/>
                <a:gd name="connsiteY771" fmla="*/ 5636512 h 6886870"/>
                <a:gd name="connsiteX772" fmla="*/ 3331463 w 8879175"/>
                <a:gd name="connsiteY772" fmla="*/ 5623319 h 6886870"/>
                <a:gd name="connsiteX773" fmla="*/ 3419799 w 8879175"/>
                <a:gd name="connsiteY773" fmla="*/ 5559906 h 6886870"/>
                <a:gd name="connsiteX774" fmla="*/ 3483373 w 8879175"/>
                <a:gd name="connsiteY774" fmla="*/ 5551265 h 6886870"/>
                <a:gd name="connsiteX775" fmla="*/ 3544072 w 8879175"/>
                <a:gd name="connsiteY775" fmla="*/ 5638440 h 6886870"/>
                <a:gd name="connsiteX776" fmla="*/ 3532771 w 8879175"/>
                <a:gd name="connsiteY776" fmla="*/ 5758840 h 6886870"/>
                <a:gd name="connsiteX777" fmla="*/ 3530986 w 8879175"/>
                <a:gd name="connsiteY777" fmla="*/ 5845783 h 6886870"/>
                <a:gd name="connsiteX778" fmla="*/ 3532771 w 8879175"/>
                <a:gd name="connsiteY778" fmla="*/ 5964362 h 6886870"/>
                <a:gd name="connsiteX779" fmla="*/ 3498690 w 8879175"/>
                <a:gd name="connsiteY779" fmla="*/ 6033131 h 6886870"/>
                <a:gd name="connsiteX780" fmla="*/ 3448292 w 8879175"/>
                <a:gd name="connsiteY780" fmla="*/ 6021722 h 6886870"/>
                <a:gd name="connsiteX781" fmla="*/ 3435259 w 8879175"/>
                <a:gd name="connsiteY781" fmla="*/ 6091045 h 6886870"/>
                <a:gd name="connsiteX782" fmla="*/ 3352244 w 8879175"/>
                <a:gd name="connsiteY782" fmla="*/ 6119610 h 6886870"/>
                <a:gd name="connsiteX783" fmla="*/ 3289420 w 8879175"/>
                <a:gd name="connsiteY783" fmla="*/ 6063141 h 6886870"/>
                <a:gd name="connsiteX784" fmla="*/ 3284421 w 8879175"/>
                <a:gd name="connsiteY784" fmla="*/ 6040182 h 6886870"/>
                <a:gd name="connsiteX785" fmla="*/ 3266032 w 8879175"/>
                <a:gd name="connsiteY785" fmla="*/ 5976394 h 6886870"/>
                <a:gd name="connsiteX786" fmla="*/ 3266032 w 8879175"/>
                <a:gd name="connsiteY786" fmla="*/ 5975716 h 6886870"/>
                <a:gd name="connsiteX787" fmla="*/ 3282957 w 8879175"/>
                <a:gd name="connsiteY787" fmla="*/ 5847175 h 6886870"/>
                <a:gd name="connsiteX788" fmla="*/ 3295454 w 8879175"/>
                <a:gd name="connsiteY788" fmla="*/ 5760250 h 6886870"/>
                <a:gd name="connsiteX789" fmla="*/ 3244770 w 8879175"/>
                <a:gd name="connsiteY789" fmla="*/ 5705335 h 6886870"/>
                <a:gd name="connsiteX790" fmla="*/ 2441374 w 8879175"/>
                <a:gd name="connsiteY790" fmla="*/ 5760571 h 6886870"/>
                <a:gd name="connsiteX791" fmla="*/ 2486774 w 8879175"/>
                <a:gd name="connsiteY791" fmla="*/ 5759500 h 6886870"/>
                <a:gd name="connsiteX792" fmla="*/ 2544974 w 8879175"/>
                <a:gd name="connsiteY792" fmla="*/ 5796474 h 6886870"/>
                <a:gd name="connsiteX793" fmla="*/ 2530478 w 8879175"/>
                <a:gd name="connsiteY793" fmla="*/ 5836392 h 6886870"/>
                <a:gd name="connsiteX794" fmla="*/ 2502235 w 8879175"/>
                <a:gd name="connsiteY794" fmla="*/ 5833232 h 6886870"/>
                <a:gd name="connsiteX795" fmla="*/ 2440125 w 8879175"/>
                <a:gd name="connsiteY795" fmla="*/ 5803097 h 6886870"/>
                <a:gd name="connsiteX796" fmla="*/ 2211269 w 8879175"/>
                <a:gd name="connsiteY796" fmla="*/ 5832518 h 6886870"/>
                <a:gd name="connsiteX797" fmla="*/ 2298516 w 8879175"/>
                <a:gd name="connsiteY797" fmla="*/ 5786619 h 6886870"/>
                <a:gd name="connsiteX798" fmla="*/ 2389119 w 8879175"/>
                <a:gd name="connsiteY798" fmla="*/ 5785262 h 6886870"/>
                <a:gd name="connsiteX799" fmla="*/ 2389119 w 8879175"/>
                <a:gd name="connsiteY799" fmla="*/ 5886505 h 6886870"/>
                <a:gd name="connsiteX800" fmla="*/ 2325188 w 8879175"/>
                <a:gd name="connsiteY800" fmla="*/ 5932298 h 6886870"/>
                <a:gd name="connsiteX801" fmla="*/ 2251474 w 8879175"/>
                <a:gd name="connsiteY801" fmla="*/ 5916355 h 6886870"/>
                <a:gd name="connsiteX802" fmla="*/ 2247475 w 8879175"/>
                <a:gd name="connsiteY802" fmla="*/ 5896914 h 6886870"/>
                <a:gd name="connsiteX803" fmla="*/ 2209020 w 8879175"/>
                <a:gd name="connsiteY803" fmla="*/ 5896914 h 6886870"/>
                <a:gd name="connsiteX804" fmla="*/ 2152659 w 8879175"/>
                <a:gd name="connsiteY804" fmla="*/ 5857637 h 6886870"/>
                <a:gd name="connsiteX805" fmla="*/ 1975076 w 8879175"/>
                <a:gd name="connsiteY805" fmla="*/ 5941992 h 6886870"/>
                <a:gd name="connsiteX806" fmla="*/ 1997250 w 8879175"/>
                <a:gd name="connsiteY806" fmla="*/ 5926889 h 6886870"/>
                <a:gd name="connsiteX807" fmla="*/ 2043435 w 8879175"/>
                <a:gd name="connsiteY807" fmla="*/ 5926889 h 6886870"/>
                <a:gd name="connsiteX808" fmla="*/ 2043435 w 8879175"/>
                <a:gd name="connsiteY808" fmla="*/ 5994194 h 6886870"/>
                <a:gd name="connsiteX809" fmla="*/ 2003694 w 8879175"/>
                <a:gd name="connsiteY809" fmla="*/ 6032309 h 6886870"/>
                <a:gd name="connsiteX810" fmla="*/ 1952314 w 8879175"/>
                <a:gd name="connsiteY810" fmla="*/ 5996157 h 6886870"/>
                <a:gd name="connsiteX811" fmla="*/ 1570763 w 8879175"/>
                <a:gd name="connsiteY811" fmla="*/ 1806492 h 6886870"/>
                <a:gd name="connsiteX812" fmla="*/ 1599203 w 8879175"/>
                <a:gd name="connsiteY812" fmla="*/ 1782033 h 6886870"/>
                <a:gd name="connsiteX813" fmla="*/ 1612110 w 8879175"/>
                <a:gd name="connsiteY813" fmla="*/ 1718370 h 6886870"/>
                <a:gd name="connsiteX814" fmla="*/ 1669240 w 8879175"/>
                <a:gd name="connsiteY814" fmla="*/ 1680397 h 6886870"/>
                <a:gd name="connsiteX815" fmla="*/ 1590330 w 8879175"/>
                <a:gd name="connsiteY815" fmla="*/ 1706552 h 6886870"/>
                <a:gd name="connsiteX816" fmla="*/ 1573566 w 8879175"/>
                <a:gd name="connsiteY816" fmla="*/ 1662973 h 6886870"/>
                <a:gd name="connsiteX817" fmla="*/ 1631034 w 8879175"/>
                <a:gd name="connsiteY817" fmla="*/ 1542127 h 6886870"/>
                <a:gd name="connsiteX818" fmla="*/ 1623590 w 8879175"/>
                <a:gd name="connsiteY818" fmla="*/ 1481427 h 6886870"/>
                <a:gd name="connsiteX819" fmla="*/ 1644478 w 8879175"/>
                <a:gd name="connsiteY819" fmla="*/ 1394306 h 6886870"/>
                <a:gd name="connsiteX820" fmla="*/ 1712318 w 8879175"/>
                <a:gd name="connsiteY820" fmla="*/ 1365616 h 6886870"/>
                <a:gd name="connsiteX821" fmla="*/ 1703392 w 8879175"/>
                <a:gd name="connsiteY821" fmla="*/ 1293741 h 6886870"/>
                <a:gd name="connsiteX822" fmla="*/ 1735331 w 8879175"/>
                <a:gd name="connsiteY822" fmla="*/ 1289813 h 6886870"/>
                <a:gd name="connsiteX823" fmla="*/ 1750666 w 8879175"/>
                <a:gd name="connsiteY823" fmla="*/ 1259267 h 6886870"/>
                <a:gd name="connsiteX824" fmla="*/ 1745203 w 8879175"/>
                <a:gd name="connsiteY824" fmla="*/ 1214849 h 6886870"/>
                <a:gd name="connsiteX825" fmla="*/ 1802779 w 8879175"/>
                <a:gd name="connsiteY825" fmla="*/ 1230060 h 6886870"/>
                <a:gd name="connsiteX826" fmla="*/ 2024154 w 8879175"/>
                <a:gd name="connsiteY826" fmla="*/ 1244788 h 6886870"/>
                <a:gd name="connsiteX827" fmla="*/ 2017120 w 8879175"/>
                <a:gd name="connsiteY827" fmla="*/ 1279637 h 6886870"/>
                <a:gd name="connsiteX828" fmla="*/ 2020940 w 8879175"/>
                <a:gd name="connsiteY828" fmla="*/ 1310397 h 6886870"/>
                <a:gd name="connsiteX829" fmla="*/ 2012371 w 8879175"/>
                <a:gd name="connsiteY829" fmla="*/ 1334570 h 6886870"/>
                <a:gd name="connsiteX830" fmla="*/ 1971791 w 8879175"/>
                <a:gd name="connsiteY830" fmla="*/ 1339533 h 6886870"/>
                <a:gd name="connsiteX831" fmla="*/ 1964150 w 8879175"/>
                <a:gd name="connsiteY831" fmla="*/ 1361082 h 6886870"/>
                <a:gd name="connsiteX832" fmla="*/ 1953439 w 8879175"/>
                <a:gd name="connsiteY832" fmla="*/ 1362421 h 6886870"/>
                <a:gd name="connsiteX833" fmla="*/ 1944994 w 8879175"/>
                <a:gd name="connsiteY833" fmla="*/ 1373132 h 6886870"/>
                <a:gd name="connsiteX834" fmla="*/ 1924910 w 8879175"/>
                <a:gd name="connsiteY834" fmla="*/ 1386522 h 6886870"/>
                <a:gd name="connsiteX835" fmla="*/ 1915323 w 8879175"/>
                <a:gd name="connsiteY835" fmla="*/ 1387682 h 6886870"/>
                <a:gd name="connsiteX836" fmla="*/ 1906396 w 8879175"/>
                <a:gd name="connsiteY836" fmla="*/ 1399108 h 6886870"/>
                <a:gd name="connsiteX837" fmla="*/ 1866442 w 8879175"/>
                <a:gd name="connsiteY837" fmla="*/ 1404018 h 6886870"/>
                <a:gd name="connsiteX838" fmla="*/ 1858819 w 8879175"/>
                <a:gd name="connsiteY838" fmla="*/ 1425566 h 6886870"/>
                <a:gd name="connsiteX839" fmla="*/ 1837056 w 8879175"/>
                <a:gd name="connsiteY839" fmla="*/ 1428226 h 6886870"/>
                <a:gd name="connsiteX840" fmla="*/ 1860051 w 8879175"/>
                <a:gd name="connsiteY840" fmla="*/ 1439795 h 6886870"/>
                <a:gd name="connsiteX841" fmla="*/ 1898506 w 8879175"/>
                <a:gd name="connsiteY841" fmla="*/ 1447579 h 6886870"/>
                <a:gd name="connsiteX842" fmla="*/ 1809956 w 8879175"/>
                <a:gd name="connsiteY842" fmla="*/ 1512134 h 6886870"/>
                <a:gd name="connsiteX843" fmla="*/ 1819418 w 8879175"/>
                <a:gd name="connsiteY843" fmla="*/ 1526417 h 6886870"/>
                <a:gd name="connsiteX844" fmla="*/ 1926535 w 8879175"/>
                <a:gd name="connsiteY844" fmla="*/ 1482499 h 6886870"/>
                <a:gd name="connsiteX845" fmla="*/ 1938353 w 8879175"/>
                <a:gd name="connsiteY845" fmla="*/ 1491764 h 6886870"/>
                <a:gd name="connsiteX846" fmla="*/ 1958634 w 8879175"/>
                <a:gd name="connsiteY846" fmla="*/ 1489283 h 6886870"/>
                <a:gd name="connsiteX847" fmla="*/ 1970060 w 8879175"/>
                <a:gd name="connsiteY847" fmla="*/ 1498209 h 6886870"/>
                <a:gd name="connsiteX848" fmla="*/ 1990341 w 8879175"/>
                <a:gd name="connsiteY848" fmla="*/ 1495710 h 6886870"/>
                <a:gd name="connsiteX849" fmla="*/ 2001731 w 8879175"/>
                <a:gd name="connsiteY849" fmla="*/ 1504636 h 6886870"/>
                <a:gd name="connsiteX850" fmla="*/ 2053111 w 8879175"/>
                <a:gd name="connsiteY850" fmla="*/ 1498334 h 6886870"/>
                <a:gd name="connsiteX851" fmla="*/ 2065733 w 8879175"/>
                <a:gd name="connsiteY851" fmla="*/ 1517419 h 6886870"/>
                <a:gd name="connsiteX852" fmla="*/ 2116649 w 8879175"/>
                <a:gd name="connsiteY852" fmla="*/ 1511188 h 6886870"/>
                <a:gd name="connsiteX853" fmla="*/ 2145214 w 8879175"/>
                <a:gd name="connsiteY853" fmla="*/ 1563301 h 6886870"/>
                <a:gd name="connsiteX854" fmla="*/ 1974362 w 8879175"/>
                <a:gd name="connsiteY854" fmla="*/ 1782283 h 6886870"/>
                <a:gd name="connsiteX855" fmla="*/ 1911877 w 8879175"/>
                <a:gd name="connsiteY855" fmla="*/ 1808759 h 6886870"/>
                <a:gd name="connsiteX856" fmla="*/ 1960401 w 8879175"/>
                <a:gd name="connsiteY856" fmla="*/ 1830361 h 6886870"/>
                <a:gd name="connsiteX857" fmla="*/ 1976469 w 8879175"/>
                <a:gd name="connsiteY857" fmla="*/ 1854570 h 6886870"/>
                <a:gd name="connsiteX858" fmla="*/ 1881724 w 8879175"/>
                <a:gd name="connsiteY858" fmla="*/ 1866209 h 6886870"/>
                <a:gd name="connsiteX859" fmla="*/ 1868656 w 8879175"/>
                <a:gd name="connsiteY859" fmla="*/ 1892185 h 6886870"/>
                <a:gd name="connsiteX860" fmla="*/ 1892668 w 8879175"/>
                <a:gd name="connsiteY860" fmla="*/ 1889257 h 6886870"/>
                <a:gd name="connsiteX861" fmla="*/ 1934426 w 8879175"/>
                <a:gd name="connsiteY861" fmla="*/ 1873190 h 6886870"/>
                <a:gd name="connsiteX862" fmla="*/ 1949440 w 8879175"/>
                <a:gd name="connsiteY862" fmla="*/ 1904736 h 6886870"/>
                <a:gd name="connsiteX863" fmla="*/ 2046220 w 8879175"/>
                <a:gd name="connsiteY863" fmla="*/ 2017441 h 6886870"/>
                <a:gd name="connsiteX864" fmla="*/ 2035776 w 8879175"/>
                <a:gd name="connsiteY864" fmla="*/ 2102224 h 6886870"/>
                <a:gd name="connsiteX865" fmla="*/ 2038150 w 8879175"/>
                <a:gd name="connsiteY865" fmla="*/ 2121523 h 6886870"/>
                <a:gd name="connsiteX866" fmla="*/ 2064930 w 8879175"/>
                <a:gd name="connsiteY866" fmla="*/ 2170047 h 6886870"/>
                <a:gd name="connsiteX867" fmla="*/ 2062394 w 8879175"/>
                <a:gd name="connsiteY867" fmla="*/ 2230032 h 6886870"/>
                <a:gd name="connsiteX868" fmla="*/ 2112204 w 8879175"/>
                <a:gd name="connsiteY868" fmla="*/ 2233817 h 6886870"/>
                <a:gd name="connsiteX869" fmla="*/ 2147695 w 8879175"/>
                <a:gd name="connsiteY869" fmla="*/ 2261596 h 6886870"/>
                <a:gd name="connsiteX870" fmla="*/ 2148017 w 8879175"/>
                <a:gd name="connsiteY870" fmla="*/ 2262292 h 6886870"/>
                <a:gd name="connsiteX871" fmla="*/ 2203771 w 8879175"/>
                <a:gd name="connsiteY871" fmla="*/ 2379710 h 6886870"/>
                <a:gd name="connsiteX872" fmla="*/ 2218875 w 8879175"/>
                <a:gd name="connsiteY872" fmla="*/ 2502591 h 6886870"/>
                <a:gd name="connsiteX873" fmla="*/ 2188525 w 8879175"/>
                <a:gd name="connsiteY873" fmla="*/ 2467350 h 6886870"/>
                <a:gd name="connsiteX874" fmla="*/ 2158461 w 8879175"/>
                <a:gd name="connsiteY874" fmla="*/ 2461226 h 6886870"/>
                <a:gd name="connsiteX875" fmla="*/ 2140608 w 8879175"/>
                <a:gd name="connsiteY875" fmla="*/ 2463404 h 6886870"/>
                <a:gd name="connsiteX876" fmla="*/ 2161014 w 8879175"/>
                <a:gd name="connsiteY876" fmla="*/ 2464957 h 6886870"/>
                <a:gd name="connsiteX877" fmla="*/ 2208181 w 8879175"/>
                <a:gd name="connsiteY877" fmla="*/ 2501841 h 6886870"/>
                <a:gd name="connsiteX878" fmla="*/ 2244404 w 8879175"/>
                <a:gd name="connsiteY878" fmla="*/ 2624544 h 6886870"/>
                <a:gd name="connsiteX879" fmla="*/ 2204700 w 8879175"/>
                <a:gd name="connsiteY879" fmla="*/ 2651145 h 6886870"/>
                <a:gd name="connsiteX880" fmla="*/ 2180259 w 8879175"/>
                <a:gd name="connsiteY880" fmla="*/ 2672157 h 6886870"/>
                <a:gd name="connsiteX881" fmla="*/ 2230247 w 8879175"/>
                <a:gd name="connsiteY881" fmla="*/ 2703007 h 6886870"/>
                <a:gd name="connsiteX882" fmla="*/ 2257312 w 8879175"/>
                <a:gd name="connsiteY882" fmla="*/ 2679799 h 6886870"/>
                <a:gd name="connsiteX883" fmla="*/ 2341773 w 8879175"/>
                <a:gd name="connsiteY883" fmla="*/ 2680031 h 6886870"/>
                <a:gd name="connsiteX884" fmla="*/ 2387959 w 8879175"/>
                <a:gd name="connsiteY884" fmla="*/ 2706578 h 6886870"/>
                <a:gd name="connsiteX885" fmla="*/ 2406187 w 8879175"/>
                <a:gd name="connsiteY885" fmla="*/ 2768313 h 6886870"/>
                <a:gd name="connsiteX886" fmla="*/ 2387977 w 8879175"/>
                <a:gd name="connsiteY886" fmla="*/ 2874983 h 6886870"/>
                <a:gd name="connsiteX887" fmla="*/ 2343577 w 8879175"/>
                <a:gd name="connsiteY887" fmla="*/ 2944002 h 6886870"/>
                <a:gd name="connsiteX888" fmla="*/ 2293339 w 8879175"/>
                <a:gd name="connsiteY888" fmla="*/ 2950162 h 6886870"/>
                <a:gd name="connsiteX889" fmla="*/ 2278253 w 8879175"/>
                <a:gd name="connsiteY889" fmla="*/ 2992616 h 6886870"/>
                <a:gd name="connsiteX890" fmla="*/ 2225034 w 8879175"/>
                <a:gd name="connsiteY890" fmla="*/ 3017949 h 6886870"/>
                <a:gd name="connsiteX891" fmla="*/ 2272273 w 8879175"/>
                <a:gd name="connsiteY891" fmla="*/ 3038997 h 6886870"/>
                <a:gd name="connsiteX892" fmla="*/ 2302319 w 8879175"/>
                <a:gd name="connsiteY892" fmla="*/ 3035302 h 6886870"/>
                <a:gd name="connsiteX893" fmla="*/ 2337685 w 8879175"/>
                <a:gd name="connsiteY893" fmla="*/ 3042443 h 6886870"/>
                <a:gd name="connsiteX894" fmla="*/ 2330544 w 8879175"/>
                <a:gd name="connsiteY894" fmla="*/ 3077756 h 6886870"/>
                <a:gd name="connsiteX895" fmla="*/ 2322403 w 8879175"/>
                <a:gd name="connsiteY895" fmla="*/ 3100714 h 6886870"/>
                <a:gd name="connsiteX896" fmla="*/ 2282020 w 8879175"/>
                <a:gd name="connsiteY896" fmla="*/ 3116229 h 6886870"/>
                <a:gd name="connsiteX897" fmla="*/ 2243601 w 8879175"/>
                <a:gd name="connsiteY897" fmla="*/ 3141758 h 6886870"/>
                <a:gd name="connsiteX898" fmla="*/ 2212716 w 8879175"/>
                <a:gd name="connsiteY898" fmla="*/ 3145543 h 6886870"/>
                <a:gd name="connsiteX899" fmla="*/ 2162924 w 8879175"/>
                <a:gd name="connsiteY899" fmla="*/ 3162057 h 6886870"/>
                <a:gd name="connsiteX900" fmla="*/ 2109365 w 8879175"/>
                <a:gd name="connsiteY900" fmla="*/ 3157951 h 6886870"/>
                <a:gd name="connsiteX901" fmla="*/ 2086853 w 8879175"/>
                <a:gd name="connsiteY901" fmla="*/ 3140348 h 6886870"/>
                <a:gd name="connsiteX902" fmla="*/ 1994875 w 8879175"/>
                <a:gd name="connsiteY902" fmla="*/ 3151631 h 6886870"/>
                <a:gd name="connsiteX903" fmla="*/ 1979379 w 8879175"/>
                <a:gd name="connsiteY903" fmla="*/ 3128244 h 6886870"/>
                <a:gd name="connsiteX904" fmla="*/ 1989734 w 8879175"/>
                <a:gd name="connsiteY904" fmla="*/ 3121352 h 6886870"/>
                <a:gd name="connsiteX905" fmla="*/ 1942066 w 8879175"/>
                <a:gd name="connsiteY905" fmla="*/ 3127190 h 6886870"/>
                <a:gd name="connsiteX906" fmla="*/ 1890543 w 8879175"/>
                <a:gd name="connsiteY906" fmla="*/ 3123263 h 6886870"/>
                <a:gd name="connsiteX907" fmla="*/ 1851517 w 8879175"/>
                <a:gd name="connsiteY907" fmla="*/ 3138295 h 6886870"/>
                <a:gd name="connsiteX908" fmla="*/ 1823916 w 8879175"/>
                <a:gd name="connsiteY908" fmla="*/ 3141687 h 6886870"/>
                <a:gd name="connsiteX909" fmla="*/ 1825238 w 8879175"/>
                <a:gd name="connsiteY909" fmla="*/ 3152398 h 6886870"/>
                <a:gd name="connsiteX910" fmla="*/ 1759557 w 8879175"/>
                <a:gd name="connsiteY910" fmla="*/ 3149542 h 6886870"/>
                <a:gd name="connsiteX911" fmla="*/ 1727422 w 8879175"/>
                <a:gd name="connsiteY911" fmla="*/ 3153487 h 6886870"/>
                <a:gd name="connsiteX912" fmla="*/ 1701999 w 8879175"/>
                <a:gd name="connsiteY912" fmla="*/ 3115318 h 6886870"/>
                <a:gd name="connsiteX913" fmla="*/ 1642728 w 8879175"/>
                <a:gd name="connsiteY913" fmla="*/ 3122584 h 6886870"/>
                <a:gd name="connsiteX914" fmla="*/ 1602738 w 8879175"/>
                <a:gd name="connsiteY914" fmla="*/ 3117657 h 6886870"/>
                <a:gd name="connsiteX915" fmla="*/ 1587170 w 8879175"/>
                <a:gd name="connsiteY915" fmla="*/ 3148721 h 6886870"/>
                <a:gd name="connsiteX916" fmla="*/ 1560569 w 8879175"/>
                <a:gd name="connsiteY916" fmla="*/ 3195138 h 6886870"/>
                <a:gd name="connsiteX917" fmla="*/ 1495407 w 8879175"/>
                <a:gd name="connsiteY917" fmla="*/ 3181927 h 6886870"/>
                <a:gd name="connsiteX918" fmla="*/ 1473983 w 8879175"/>
                <a:gd name="connsiteY918" fmla="*/ 3184551 h 6886870"/>
                <a:gd name="connsiteX919" fmla="*/ 1438510 w 8879175"/>
                <a:gd name="connsiteY919" fmla="*/ 3147650 h 6886870"/>
                <a:gd name="connsiteX920" fmla="*/ 1390021 w 8879175"/>
                <a:gd name="connsiteY920" fmla="*/ 3153594 h 6886870"/>
                <a:gd name="connsiteX921" fmla="*/ 1342533 w 8879175"/>
                <a:gd name="connsiteY921" fmla="*/ 3179678 h 6886870"/>
                <a:gd name="connsiteX922" fmla="*/ 1303953 w 8879175"/>
                <a:gd name="connsiteY922" fmla="*/ 3205314 h 6886870"/>
                <a:gd name="connsiteX923" fmla="*/ 1289831 w 8879175"/>
                <a:gd name="connsiteY923" fmla="*/ 3207100 h 6886870"/>
                <a:gd name="connsiteX924" fmla="*/ 1287189 w 8879175"/>
                <a:gd name="connsiteY924" fmla="*/ 3184944 h 6886870"/>
                <a:gd name="connsiteX925" fmla="*/ 1278423 w 8879175"/>
                <a:gd name="connsiteY925" fmla="*/ 3178124 h 6886870"/>
                <a:gd name="connsiteX926" fmla="*/ 1249252 w 8879175"/>
                <a:gd name="connsiteY926" fmla="*/ 3191996 h 6886870"/>
                <a:gd name="connsiteX927" fmla="*/ 1222330 w 8879175"/>
                <a:gd name="connsiteY927" fmla="*/ 3170948 h 6886870"/>
                <a:gd name="connsiteX928" fmla="*/ 1251805 w 8879175"/>
                <a:gd name="connsiteY928" fmla="*/ 3133099 h 6886870"/>
                <a:gd name="connsiteX929" fmla="*/ 1293241 w 8879175"/>
                <a:gd name="connsiteY929" fmla="*/ 3128011 h 6886870"/>
                <a:gd name="connsiteX930" fmla="*/ 1321538 w 8879175"/>
                <a:gd name="connsiteY930" fmla="*/ 3114604 h 6886870"/>
                <a:gd name="connsiteX931" fmla="*/ 1470502 w 8879175"/>
                <a:gd name="connsiteY931" fmla="*/ 2982493 h 6886870"/>
                <a:gd name="connsiteX932" fmla="*/ 1516919 w 8879175"/>
                <a:gd name="connsiteY932" fmla="*/ 2976798 h 6886870"/>
                <a:gd name="connsiteX933" fmla="*/ 1503208 w 8879175"/>
                <a:gd name="connsiteY933" fmla="*/ 2956178 h 6886870"/>
                <a:gd name="connsiteX934" fmla="*/ 1552536 w 8879175"/>
                <a:gd name="connsiteY934" fmla="*/ 2962391 h 6886870"/>
                <a:gd name="connsiteX935" fmla="*/ 1626893 w 8879175"/>
                <a:gd name="connsiteY935" fmla="*/ 2984028 h 6886870"/>
                <a:gd name="connsiteX936" fmla="*/ 1694983 w 8879175"/>
                <a:gd name="connsiteY936" fmla="*/ 2985349 h 6886870"/>
                <a:gd name="connsiteX937" fmla="*/ 1691413 w 8879175"/>
                <a:gd name="connsiteY937" fmla="*/ 2956785 h 6886870"/>
                <a:gd name="connsiteX938" fmla="*/ 1720674 w 8879175"/>
                <a:gd name="connsiteY938" fmla="*/ 2931613 h 6886870"/>
                <a:gd name="connsiteX939" fmla="*/ 1777803 w 8879175"/>
                <a:gd name="connsiteY939" fmla="*/ 2885195 h 6886870"/>
                <a:gd name="connsiteX940" fmla="*/ 1660795 w 8879175"/>
                <a:gd name="connsiteY940" fmla="*/ 2935005 h 6886870"/>
                <a:gd name="connsiteX941" fmla="*/ 1603809 w 8879175"/>
                <a:gd name="connsiteY941" fmla="*/ 2909600 h 6886870"/>
                <a:gd name="connsiteX942" fmla="*/ 1588634 w 8879175"/>
                <a:gd name="connsiteY942" fmla="*/ 2870181 h 6886870"/>
                <a:gd name="connsiteX943" fmla="*/ 1492497 w 8879175"/>
                <a:gd name="connsiteY943" fmla="*/ 2821729 h 6886870"/>
                <a:gd name="connsiteX944" fmla="*/ 1445222 w 8879175"/>
                <a:gd name="connsiteY944" fmla="*/ 2847758 h 6886870"/>
                <a:gd name="connsiteX945" fmla="*/ 1402376 w 8879175"/>
                <a:gd name="connsiteY945" fmla="*/ 2853006 h 6886870"/>
                <a:gd name="connsiteX946" fmla="*/ 1352245 w 8879175"/>
                <a:gd name="connsiteY946" fmla="*/ 2794628 h 6886870"/>
                <a:gd name="connsiteX947" fmla="*/ 1357851 w 8879175"/>
                <a:gd name="connsiteY947" fmla="*/ 2748978 h 6886870"/>
                <a:gd name="connsiteX948" fmla="*/ 1520401 w 8879175"/>
                <a:gd name="connsiteY948" fmla="*/ 2718628 h 6886870"/>
                <a:gd name="connsiteX949" fmla="*/ 1601667 w 8879175"/>
                <a:gd name="connsiteY949" fmla="*/ 2648663 h 6886870"/>
                <a:gd name="connsiteX950" fmla="*/ 1588152 w 8879175"/>
                <a:gd name="connsiteY950" fmla="*/ 2620259 h 6886870"/>
                <a:gd name="connsiteX951" fmla="*/ 1603505 w 8879175"/>
                <a:gd name="connsiteY951" fmla="*/ 2589624 h 6886870"/>
                <a:gd name="connsiteX952" fmla="*/ 1577530 w 8879175"/>
                <a:gd name="connsiteY952" fmla="*/ 2584268 h 6886870"/>
                <a:gd name="connsiteX953" fmla="*/ 1549626 w 8879175"/>
                <a:gd name="connsiteY953" fmla="*/ 2608298 h 6886870"/>
                <a:gd name="connsiteX954" fmla="*/ 1492943 w 8879175"/>
                <a:gd name="connsiteY954" fmla="*/ 2603995 h 6886870"/>
                <a:gd name="connsiteX955" fmla="*/ 1498674 w 8879175"/>
                <a:gd name="connsiteY955" fmla="*/ 2557096 h 6886870"/>
                <a:gd name="connsiteX956" fmla="*/ 1597132 w 8879175"/>
                <a:gd name="connsiteY956" fmla="*/ 2502966 h 6886870"/>
                <a:gd name="connsiteX957" fmla="*/ 1597650 w 8879175"/>
                <a:gd name="connsiteY957" fmla="*/ 2502859 h 6886870"/>
                <a:gd name="connsiteX958" fmla="*/ 1761146 w 8879175"/>
                <a:gd name="connsiteY958" fmla="*/ 2472349 h 6886870"/>
                <a:gd name="connsiteX959" fmla="*/ 1773857 w 8879175"/>
                <a:gd name="connsiteY959" fmla="*/ 2499128 h 6886870"/>
                <a:gd name="connsiteX960" fmla="*/ 1787354 w 8879175"/>
                <a:gd name="connsiteY960" fmla="*/ 2481829 h 6886870"/>
                <a:gd name="connsiteX961" fmla="*/ 1771286 w 8879175"/>
                <a:gd name="connsiteY961" fmla="*/ 2433037 h 6886870"/>
                <a:gd name="connsiteX962" fmla="*/ 1786140 w 8879175"/>
                <a:gd name="connsiteY962" fmla="*/ 2376675 h 6886870"/>
                <a:gd name="connsiteX963" fmla="*/ 1826434 w 8879175"/>
                <a:gd name="connsiteY963" fmla="*/ 2371730 h 6886870"/>
                <a:gd name="connsiteX964" fmla="*/ 1837038 w 8879175"/>
                <a:gd name="connsiteY964" fmla="*/ 2304104 h 6886870"/>
                <a:gd name="connsiteX965" fmla="*/ 1775839 w 8879175"/>
                <a:gd name="connsiteY965" fmla="*/ 2301479 h 6886870"/>
                <a:gd name="connsiteX966" fmla="*/ 1769215 w 8879175"/>
                <a:gd name="connsiteY966" fmla="*/ 2248242 h 6886870"/>
                <a:gd name="connsiteX967" fmla="*/ 1752487 w 8879175"/>
                <a:gd name="connsiteY967" fmla="*/ 2197683 h 6886870"/>
                <a:gd name="connsiteX968" fmla="*/ 1779463 w 8879175"/>
                <a:gd name="connsiteY968" fmla="*/ 2150659 h 6886870"/>
                <a:gd name="connsiteX969" fmla="*/ 1809313 w 8879175"/>
                <a:gd name="connsiteY969" fmla="*/ 2146999 h 6886870"/>
                <a:gd name="connsiteX970" fmla="*/ 1821596 w 8879175"/>
                <a:gd name="connsiteY970" fmla="*/ 2100439 h 6886870"/>
                <a:gd name="connsiteX971" fmla="*/ 1713747 w 8879175"/>
                <a:gd name="connsiteY971" fmla="*/ 2113685 h 6886870"/>
                <a:gd name="connsiteX972" fmla="*/ 1684022 w 8879175"/>
                <a:gd name="connsiteY972" fmla="*/ 2098725 h 6886870"/>
                <a:gd name="connsiteX973" fmla="*/ 1678898 w 8879175"/>
                <a:gd name="connsiteY973" fmla="*/ 2140554 h 6886870"/>
                <a:gd name="connsiteX974" fmla="*/ 1641282 w 8879175"/>
                <a:gd name="connsiteY974" fmla="*/ 2121612 h 6886870"/>
                <a:gd name="connsiteX975" fmla="*/ 1622180 w 8879175"/>
                <a:gd name="connsiteY975" fmla="*/ 2099368 h 6886870"/>
                <a:gd name="connsiteX976" fmla="*/ 1619502 w 8879175"/>
                <a:gd name="connsiteY976" fmla="*/ 2161585 h 6886870"/>
                <a:gd name="connsiteX977" fmla="*/ 1589045 w 8879175"/>
                <a:gd name="connsiteY977" fmla="*/ 2126057 h 6886870"/>
                <a:gd name="connsiteX978" fmla="*/ 1603630 w 8879175"/>
                <a:gd name="connsiteY978" fmla="*/ 2070714 h 6886870"/>
                <a:gd name="connsiteX979" fmla="*/ 1672221 w 8879175"/>
                <a:gd name="connsiteY979" fmla="*/ 1959383 h 6886870"/>
                <a:gd name="connsiteX980" fmla="*/ 1677023 w 8879175"/>
                <a:gd name="connsiteY980" fmla="*/ 1920000 h 6886870"/>
                <a:gd name="connsiteX981" fmla="*/ 1643692 w 8879175"/>
                <a:gd name="connsiteY981" fmla="*/ 1893935 h 6886870"/>
                <a:gd name="connsiteX982" fmla="*/ 1618948 w 8879175"/>
                <a:gd name="connsiteY982" fmla="*/ 1841858 h 6886870"/>
                <a:gd name="connsiteX983" fmla="*/ 1598346 w 8879175"/>
                <a:gd name="connsiteY983" fmla="*/ 1899969 h 6886870"/>
                <a:gd name="connsiteX984" fmla="*/ 1562640 w 8879175"/>
                <a:gd name="connsiteY984" fmla="*/ 1930730 h 6886870"/>
                <a:gd name="connsiteX985" fmla="*/ 1577172 w 8879175"/>
                <a:gd name="connsiteY985" fmla="*/ 1858551 h 6886870"/>
                <a:gd name="connsiteX986" fmla="*/ 733019 w 8879175"/>
                <a:gd name="connsiteY986" fmla="*/ 2505484 h 6886870"/>
                <a:gd name="connsiteX987" fmla="*/ 770225 w 8879175"/>
                <a:gd name="connsiteY987" fmla="*/ 2480775 h 6886870"/>
                <a:gd name="connsiteX988" fmla="*/ 888053 w 8879175"/>
                <a:gd name="connsiteY988" fmla="*/ 2441785 h 6886870"/>
                <a:gd name="connsiteX989" fmla="*/ 848581 w 8879175"/>
                <a:gd name="connsiteY989" fmla="*/ 2446623 h 6886870"/>
                <a:gd name="connsiteX990" fmla="*/ 788310 w 8879175"/>
                <a:gd name="connsiteY990" fmla="*/ 2419843 h 6886870"/>
                <a:gd name="connsiteX991" fmla="*/ 907263 w 8879175"/>
                <a:gd name="connsiteY991" fmla="*/ 2329276 h 6886870"/>
                <a:gd name="connsiteX992" fmla="*/ 937898 w 8879175"/>
                <a:gd name="connsiteY992" fmla="*/ 2344701 h 6886870"/>
                <a:gd name="connsiteX993" fmla="*/ 942022 w 8879175"/>
                <a:gd name="connsiteY993" fmla="*/ 2311084 h 6886870"/>
                <a:gd name="connsiteX994" fmla="*/ 834013 w 8879175"/>
                <a:gd name="connsiteY994" fmla="*/ 2313494 h 6886870"/>
                <a:gd name="connsiteX995" fmla="*/ 865148 w 8879175"/>
                <a:gd name="connsiteY995" fmla="*/ 2286715 h 6886870"/>
                <a:gd name="connsiteX996" fmla="*/ 835994 w 8879175"/>
                <a:gd name="connsiteY996" fmla="*/ 2271968 h 6886870"/>
                <a:gd name="connsiteX997" fmla="*/ 799985 w 8879175"/>
                <a:gd name="connsiteY997" fmla="*/ 2243797 h 6886870"/>
                <a:gd name="connsiteX998" fmla="*/ 816481 w 8879175"/>
                <a:gd name="connsiteY998" fmla="*/ 2197379 h 6886870"/>
                <a:gd name="connsiteX999" fmla="*/ 866166 w 8879175"/>
                <a:gd name="connsiteY999" fmla="*/ 2170065 h 6886870"/>
                <a:gd name="connsiteX1000" fmla="*/ 897355 w 8879175"/>
                <a:gd name="connsiteY1000" fmla="*/ 2158085 h 6886870"/>
                <a:gd name="connsiteX1001" fmla="*/ 862631 w 8879175"/>
                <a:gd name="connsiteY1001" fmla="*/ 2145731 h 6886870"/>
                <a:gd name="connsiteX1002" fmla="*/ 804413 w 8879175"/>
                <a:gd name="connsiteY1002" fmla="*/ 2130289 h 6886870"/>
                <a:gd name="connsiteX1003" fmla="*/ 873003 w 8879175"/>
                <a:gd name="connsiteY1003" fmla="*/ 2054860 h 6886870"/>
                <a:gd name="connsiteX1004" fmla="*/ 1014969 w 8879175"/>
                <a:gd name="connsiteY1004" fmla="*/ 2110204 h 6886870"/>
                <a:gd name="connsiteX1005" fmla="*/ 1053121 w 8879175"/>
                <a:gd name="connsiteY1005" fmla="*/ 2105527 h 6886870"/>
                <a:gd name="connsiteX1006" fmla="*/ 1079204 w 8879175"/>
                <a:gd name="connsiteY1006" fmla="*/ 2060216 h 6886870"/>
                <a:gd name="connsiteX1007" fmla="*/ 1132762 w 8879175"/>
                <a:gd name="connsiteY1007" fmla="*/ 2084032 h 6886870"/>
                <a:gd name="connsiteX1008" fmla="*/ 1137814 w 8879175"/>
                <a:gd name="connsiteY1008" fmla="*/ 2058859 h 6886870"/>
                <a:gd name="connsiteX1009" fmla="*/ 1061047 w 8879175"/>
                <a:gd name="connsiteY1009" fmla="*/ 2026724 h 6886870"/>
                <a:gd name="connsiteX1010" fmla="*/ 1079650 w 8879175"/>
                <a:gd name="connsiteY1010" fmla="*/ 1989680 h 6886870"/>
                <a:gd name="connsiteX1011" fmla="*/ 1138029 w 8879175"/>
                <a:gd name="connsiteY1011" fmla="*/ 1961901 h 6886870"/>
                <a:gd name="connsiteX1012" fmla="*/ 1154721 w 8879175"/>
                <a:gd name="connsiteY1012" fmla="*/ 1928569 h 6886870"/>
                <a:gd name="connsiteX1013" fmla="*/ 1329679 w 8879175"/>
                <a:gd name="connsiteY1013" fmla="*/ 1885883 h 6886870"/>
                <a:gd name="connsiteX1014" fmla="*/ 1336659 w 8879175"/>
                <a:gd name="connsiteY1014" fmla="*/ 1942620 h 6886870"/>
                <a:gd name="connsiteX1015" fmla="*/ 1278263 w 8879175"/>
                <a:gd name="connsiteY1015" fmla="*/ 1970238 h 6886870"/>
                <a:gd name="connsiteX1016" fmla="*/ 1281315 w 8879175"/>
                <a:gd name="connsiteY1016" fmla="*/ 1994946 h 6886870"/>
                <a:gd name="connsiteX1017" fmla="*/ 1439652 w 8879175"/>
                <a:gd name="connsiteY1017" fmla="*/ 1965400 h 6886870"/>
                <a:gd name="connsiteX1018" fmla="*/ 1474233 w 8879175"/>
                <a:gd name="connsiteY1018" fmla="*/ 1972398 h 6886870"/>
                <a:gd name="connsiteX1019" fmla="*/ 1479446 w 8879175"/>
                <a:gd name="connsiteY1019" fmla="*/ 2015030 h 6886870"/>
                <a:gd name="connsiteX1020" fmla="*/ 1495639 w 8879175"/>
                <a:gd name="connsiteY1020" fmla="*/ 2063894 h 6886870"/>
                <a:gd name="connsiteX1021" fmla="*/ 1521061 w 8879175"/>
                <a:gd name="connsiteY1021" fmla="*/ 2102313 h 6886870"/>
                <a:gd name="connsiteX1022" fmla="*/ 1525060 w 8879175"/>
                <a:gd name="connsiteY1022" fmla="*/ 2134859 h 6886870"/>
                <a:gd name="connsiteX1023" fmla="*/ 1488319 w 8879175"/>
                <a:gd name="connsiteY1023" fmla="*/ 2181937 h 6886870"/>
                <a:gd name="connsiteX1024" fmla="*/ 1430012 w 8879175"/>
                <a:gd name="connsiteY1024" fmla="*/ 2220606 h 6886870"/>
                <a:gd name="connsiteX1025" fmla="*/ 1419300 w 8879175"/>
                <a:gd name="connsiteY1025" fmla="*/ 2221909 h 6886870"/>
                <a:gd name="connsiteX1026" fmla="*/ 1364135 w 8879175"/>
                <a:gd name="connsiteY1026" fmla="*/ 2238209 h 6886870"/>
                <a:gd name="connsiteX1027" fmla="*/ 1387593 w 8879175"/>
                <a:gd name="connsiteY1027" fmla="*/ 2273629 h 6886870"/>
                <a:gd name="connsiteX1028" fmla="*/ 1382112 w 8879175"/>
                <a:gd name="connsiteY1028" fmla="*/ 2401794 h 6886870"/>
                <a:gd name="connsiteX1029" fmla="*/ 1344122 w 8879175"/>
                <a:gd name="connsiteY1029" fmla="*/ 2406561 h 6886870"/>
                <a:gd name="connsiteX1030" fmla="*/ 1367134 w 8879175"/>
                <a:gd name="connsiteY1030" fmla="*/ 2441267 h 6886870"/>
                <a:gd name="connsiteX1031" fmla="*/ 1363028 w 8879175"/>
                <a:gd name="connsiteY1031" fmla="*/ 2495664 h 6886870"/>
                <a:gd name="connsiteX1032" fmla="*/ 1297901 w 8879175"/>
                <a:gd name="connsiteY1032" fmla="*/ 2555489 h 6886870"/>
                <a:gd name="connsiteX1033" fmla="*/ 1273978 w 8879175"/>
                <a:gd name="connsiteY1033" fmla="*/ 2609387 h 6886870"/>
                <a:gd name="connsiteX1034" fmla="*/ 1256554 w 8879175"/>
                <a:gd name="connsiteY1034" fmla="*/ 2644004 h 6886870"/>
                <a:gd name="connsiteX1035" fmla="*/ 1202781 w 8879175"/>
                <a:gd name="connsiteY1035" fmla="*/ 2650591 h 6886870"/>
                <a:gd name="connsiteX1036" fmla="*/ 1179715 w 8879175"/>
                <a:gd name="connsiteY1036" fmla="*/ 2632578 h 6886870"/>
                <a:gd name="connsiteX1037" fmla="*/ 1117962 w 8879175"/>
                <a:gd name="connsiteY1037" fmla="*/ 2629864 h 6886870"/>
                <a:gd name="connsiteX1038" fmla="*/ 1087469 w 8879175"/>
                <a:gd name="connsiteY1038" fmla="*/ 2614493 h 6886870"/>
                <a:gd name="connsiteX1039" fmla="*/ 1063886 w 8879175"/>
                <a:gd name="connsiteY1039" fmla="*/ 2667623 h 6886870"/>
                <a:gd name="connsiteX1040" fmla="*/ 931507 w 8879175"/>
                <a:gd name="connsiteY1040" fmla="*/ 2683851 h 6886870"/>
                <a:gd name="connsiteX1041" fmla="*/ 913654 w 8879175"/>
                <a:gd name="connsiteY1041" fmla="*/ 2706703 h 6886870"/>
                <a:gd name="connsiteX1042" fmla="*/ 870986 w 8879175"/>
                <a:gd name="connsiteY1042" fmla="*/ 2711916 h 6886870"/>
                <a:gd name="connsiteX1043" fmla="*/ 784846 w 8879175"/>
                <a:gd name="connsiteY1043" fmla="*/ 2681209 h 6886870"/>
                <a:gd name="connsiteX1044" fmla="*/ 691065 w 8879175"/>
                <a:gd name="connsiteY1044" fmla="*/ 2692706 h 6886870"/>
                <a:gd name="connsiteX1045" fmla="*/ 677997 w 8879175"/>
                <a:gd name="connsiteY1045" fmla="*/ 2586410 h 6886870"/>
                <a:gd name="connsiteX1046" fmla="*/ 729056 w 8879175"/>
                <a:gd name="connsiteY1046" fmla="*/ 2531959 h 6886870"/>
                <a:gd name="connsiteX1047" fmla="*/ 681193 w 8879175"/>
                <a:gd name="connsiteY1047" fmla="*/ 2528389 h 6886870"/>
                <a:gd name="connsiteX1048" fmla="*/ 676622 w 8879175"/>
                <a:gd name="connsiteY1048" fmla="*/ 2490469 h 6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Lst>
              <a:rect l="l" t="t" r="r" b="b"/>
              <a:pathLst>
                <a:path w="8879175" h="6886870">
                  <a:moveTo>
                    <a:pt x="468833" y="6667209"/>
                  </a:moveTo>
                  <a:lnTo>
                    <a:pt x="520749" y="6598654"/>
                  </a:lnTo>
                  <a:lnTo>
                    <a:pt x="556098" y="6547667"/>
                  </a:lnTo>
                  <a:lnTo>
                    <a:pt x="596642" y="6494858"/>
                  </a:lnTo>
                  <a:lnTo>
                    <a:pt x="650486" y="6468382"/>
                  </a:lnTo>
                  <a:lnTo>
                    <a:pt x="710543" y="6477005"/>
                  </a:lnTo>
                  <a:lnTo>
                    <a:pt x="714113" y="6591871"/>
                  </a:lnTo>
                  <a:lnTo>
                    <a:pt x="790880" y="6642412"/>
                  </a:lnTo>
                  <a:lnTo>
                    <a:pt x="821069" y="6661782"/>
                  </a:lnTo>
                  <a:lnTo>
                    <a:pt x="958840" y="6672708"/>
                  </a:lnTo>
                  <a:lnTo>
                    <a:pt x="1077097" y="6650410"/>
                  </a:lnTo>
                  <a:lnTo>
                    <a:pt x="1154739" y="6733283"/>
                  </a:lnTo>
                  <a:lnTo>
                    <a:pt x="1358083" y="6756741"/>
                  </a:lnTo>
                  <a:lnTo>
                    <a:pt x="1588902" y="6685883"/>
                  </a:lnTo>
                  <a:lnTo>
                    <a:pt x="1703713" y="6631450"/>
                  </a:lnTo>
                  <a:lnTo>
                    <a:pt x="1884759" y="6560914"/>
                  </a:lnTo>
                  <a:lnTo>
                    <a:pt x="1884973" y="6560914"/>
                  </a:lnTo>
                  <a:lnTo>
                    <a:pt x="2016173" y="6528975"/>
                  </a:lnTo>
                  <a:lnTo>
                    <a:pt x="2016441" y="6528975"/>
                  </a:lnTo>
                  <a:lnTo>
                    <a:pt x="2201004" y="6514996"/>
                  </a:lnTo>
                  <a:lnTo>
                    <a:pt x="2385317" y="6505498"/>
                  </a:lnTo>
                  <a:lnTo>
                    <a:pt x="2385906" y="6505695"/>
                  </a:lnTo>
                  <a:lnTo>
                    <a:pt x="2545439" y="6560646"/>
                  </a:lnTo>
                  <a:lnTo>
                    <a:pt x="2674943" y="6515032"/>
                  </a:lnTo>
                  <a:lnTo>
                    <a:pt x="2675336" y="6515032"/>
                  </a:lnTo>
                  <a:lnTo>
                    <a:pt x="2938576" y="6489770"/>
                  </a:lnTo>
                  <a:lnTo>
                    <a:pt x="2939165" y="6489931"/>
                  </a:lnTo>
                  <a:lnTo>
                    <a:pt x="3130547" y="6544578"/>
                  </a:lnTo>
                  <a:lnTo>
                    <a:pt x="3288188" y="6529492"/>
                  </a:lnTo>
                  <a:lnTo>
                    <a:pt x="3422762" y="6467008"/>
                  </a:lnTo>
                  <a:lnTo>
                    <a:pt x="3423566" y="6467008"/>
                  </a:lnTo>
                  <a:lnTo>
                    <a:pt x="3552909" y="6474363"/>
                  </a:lnTo>
                  <a:lnTo>
                    <a:pt x="3641031" y="6546328"/>
                  </a:lnTo>
                  <a:lnTo>
                    <a:pt x="3634390" y="6722392"/>
                  </a:lnTo>
                  <a:lnTo>
                    <a:pt x="3673827" y="6827564"/>
                  </a:lnTo>
                  <a:lnTo>
                    <a:pt x="3673827" y="6828277"/>
                  </a:lnTo>
                  <a:lnTo>
                    <a:pt x="3669149" y="6886799"/>
                  </a:lnTo>
                  <a:lnTo>
                    <a:pt x="8391329" y="6886799"/>
                  </a:lnTo>
                  <a:cubicBezTo>
                    <a:pt x="8398470" y="6830384"/>
                    <a:pt x="8402291" y="6780182"/>
                    <a:pt x="8398006" y="6773755"/>
                  </a:cubicBezTo>
                  <a:cubicBezTo>
                    <a:pt x="8394257" y="6772791"/>
                    <a:pt x="8388009" y="6768542"/>
                    <a:pt x="8387884" y="6703540"/>
                  </a:cubicBezTo>
                  <a:cubicBezTo>
                    <a:pt x="8387884" y="6671137"/>
                    <a:pt x="8389348" y="6638627"/>
                    <a:pt x="8389348" y="6638324"/>
                  </a:cubicBezTo>
                  <a:lnTo>
                    <a:pt x="8389348" y="6638020"/>
                  </a:lnTo>
                  <a:lnTo>
                    <a:pt x="8404754" y="6524690"/>
                  </a:lnTo>
                  <a:lnTo>
                    <a:pt x="8395828" y="6419751"/>
                  </a:lnTo>
                  <a:lnTo>
                    <a:pt x="8396150" y="6419019"/>
                  </a:lnTo>
                  <a:lnTo>
                    <a:pt x="8452529" y="6286141"/>
                  </a:lnTo>
                  <a:lnTo>
                    <a:pt x="8457617" y="6099150"/>
                  </a:lnTo>
                  <a:lnTo>
                    <a:pt x="8373352" y="5994051"/>
                  </a:lnTo>
                  <a:lnTo>
                    <a:pt x="8373245" y="5993104"/>
                  </a:lnTo>
                  <a:lnTo>
                    <a:pt x="8367175" y="5939546"/>
                  </a:lnTo>
                  <a:lnTo>
                    <a:pt x="8367175" y="5939189"/>
                  </a:lnTo>
                  <a:lnTo>
                    <a:pt x="8380350" y="5817004"/>
                  </a:lnTo>
                  <a:lnTo>
                    <a:pt x="8349518" y="5704210"/>
                  </a:lnTo>
                  <a:lnTo>
                    <a:pt x="8297745" y="5745039"/>
                  </a:lnTo>
                  <a:lnTo>
                    <a:pt x="8252756" y="5805739"/>
                  </a:lnTo>
                  <a:lnTo>
                    <a:pt x="8139855" y="5791867"/>
                  </a:lnTo>
                  <a:lnTo>
                    <a:pt x="8083833" y="5843641"/>
                  </a:lnTo>
                  <a:lnTo>
                    <a:pt x="8043931" y="5895414"/>
                  </a:lnTo>
                  <a:lnTo>
                    <a:pt x="7989088" y="5957185"/>
                  </a:lnTo>
                  <a:lnTo>
                    <a:pt x="7917962" y="6062409"/>
                  </a:lnTo>
                  <a:lnTo>
                    <a:pt x="7916890" y="6062748"/>
                  </a:lnTo>
                  <a:lnTo>
                    <a:pt x="7804560" y="6098633"/>
                  </a:lnTo>
                  <a:lnTo>
                    <a:pt x="7803650" y="6098400"/>
                  </a:lnTo>
                  <a:lnTo>
                    <a:pt x="7694195" y="6070514"/>
                  </a:lnTo>
                  <a:lnTo>
                    <a:pt x="7693963" y="6070407"/>
                  </a:lnTo>
                  <a:lnTo>
                    <a:pt x="7608518" y="6032916"/>
                  </a:lnTo>
                  <a:lnTo>
                    <a:pt x="7512506" y="6009957"/>
                  </a:lnTo>
                  <a:lnTo>
                    <a:pt x="7392446" y="6035630"/>
                  </a:lnTo>
                  <a:lnTo>
                    <a:pt x="7411762" y="6135284"/>
                  </a:lnTo>
                  <a:lnTo>
                    <a:pt x="7393571" y="6185486"/>
                  </a:lnTo>
                  <a:lnTo>
                    <a:pt x="7357597" y="6246543"/>
                  </a:lnTo>
                  <a:lnTo>
                    <a:pt x="7252034" y="6274876"/>
                  </a:lnTo>
                  <a:lnTo>
                    <a:pt x="7251444" y="6274876"/>
                  </a:lnTo>
                  <a:lnTo>
                    <a:pt x="7033533" y="6251988"/>
                  </a:lnTo>
                  <a:lnTo>
                    <a:pt x="6856218" y="6292211"/>
                  </a:lnTo>
                  <a:lnTo>
                    <a:pt x="6856218" y="6200679"/>
                  </a:lnTo>
                  <a:lnTo>
                    <a:pt x="6752369" y="6182826"/>
                  </a:lnTo>
                  <a:lnTo>
                    <a:pt x="6679511" y="6117699"/>
                  </a:lnTo>
                  <a:lnTo>
                    <a:pt x="6679315" y="6116575"/>
                  </a:lnTo>
                  <a:lnTo>
                    <a:pt x="6654732" y="5970503"/>
                  </a:lnTo>
                  <a:lnTo>
                    <a:pt x="6494145" y="5938100"/>
                  </a:lnTo>
                  <a:lnTo>
                    <a:pt x="6531440" y="5900002"/>
                  </a:lnTo>
                  <a:lnTo>
                    <a:pt x="6570448" y="5784387"/>
                  </a:lnTo>
                  <a:lnTo>
                    <a:pt x="6430589" y="5714797"/>
                  </a:lnTo>
                  <a:lnTo>
                    <a:pt x="6431964" y="5673860"/>
                  </a:lnTo>
                  <a:lnTo>
                    <a:pt x="6411451" y="5572099"/>
                  </a:lnTo>
                  <a:lnTo>
                    <a:pt x="6411451" y="5571670"/>
                  </a:lnTo>
                  <a:lnTo>
                    <a:pt x="6416968" y="5485620"/>
                  </a:lnTo>
                  <a:lnTo>
                    <a:pt x="6460225" y="5427366"/>
                  </a:lnTo>
                  <a:lnTo>
                    <a:pt x="6564021" y="5383645"/>
                  </a:lnTo>
                  <a:lnTo>
                    <a:pt x="6688331" y="5354812"/>
                  </a:lnTo>
                  <a:lnTo>
                    <a:pt x="6794269" y="5316161"/>
                  </a:lnTo>
                  <a:lnTo>
                    <a:pt x="6841472" y="5283865"/>
                  </a:lnTo>
                  <a:lnTo>
                    <a:pt x="6876124" y="5228914"/>
                  </a:lnTo>
                  <a:lnTo>
                    <a:pt x="6876124" y="5169857"/>
                  </a:lnTo>
                  <a:lnTo>
                    <a:pt x="6876446" y="5169196"/>
                  </a:lnTo>
                  <a:lnTo>
                    <a:pt x="6904743" y="5108907"/>
                  </a:lnTo>
                  <a:lnTo>
                    <a:pt x="6939395" y="5084842"/>
                  </a:lnTo>
                  <a:lnTo>
                    <a:pt x="7045905" y="5035675"/>
                  </a:lnTo>
                  <a:lnTo>
                    <a:pt x="7046547" y="5035675"/>
                  </a:lnTo>
                  <a:lnTo>
                    <a:pt x="7217453" y="5030462"/>
                  </a:lnTo>
                  <a:lnTo>
                    <a:pt x="7282723" y="4961069"/>
                  </a:lnTo>
                  <a:lnTo>
                    <a:pt x="7282883" y="4960943"/>
                  </a:lnTo>
                  <a:lnTo>
                    <a:pt x="7348938" y="4905992"/>
                  </a:lnTo>
                  <a:lnTo>
                    <a:pt x="7470213" y="4775577"/>
                  </a:lnTo>
                  <a:lnTo>
                    <a:pt x="7470856" y="4775310"/>
                  </a:lnTo>
                  <a:lnTo>
                    <a:pt x="7563690" y="4735730"/>
                  </a:lnTo>
                  <a:lnTo>
                    <a:pt x="7695801" y="4657481"/>
                  </a:lnTo>
                  <a:lnTo>
                    <a:pt x="7790689" y="4588408"/>
                  </a:lnTo>
                  <a:lnTo>
                    <a:pt x="7951972" y="4620847"/>
                  </a:lnTo>
                  <a:lnTo>
                    <a:pt x="8123698" y="4651643"/>
                  </a:lnTo>
                  <a:lnTo>
                    <a:pt x="8280481" y="4648412"/>
                  </a:lnTo>
                  <a:lnTo>
                    <a:pt x="8424982" y="4651643"/>
                  </a:lnTo>
                  <a:lnTo>
                    <a:pt x="8567680" y="4579250"/>
                  </a:lnTo>
                  <a:lnTo>
                    <a:pt x="8731926" y="4497502"/>
                  </a:lnTo>
                  <a:lnTo>
                    <a:pt x="8780325" y="4377674"/>
                  </a:lnTo>
                  <a:lnTo>
                    <a:pt x="8780628" y="4377281"/>
                  </a:lnTo>
                  <a:lnTo>
                    <a:pt x="8878265" y="4260274"/>
                  </a:lnTo>
                  <a:lnTo>
                    <a:pt x="8879176" y="4146890"/>
                  </a:lnTo>
                  <a:lnTo>
                    <a:pt x="8807497" y="4061054"/>
                  </a:lnTo>
                  <a:lnTo>
                    <a:pt x="8700612" y="3996891"/>
                  </a:lnTo>
                  <a:lnTo>
                    <a:pt x="8518995" y="3999497"/>
                  </a:lnTo>
                  <a:lnTo>
                    <a:pt x="8518263" y="3999122"/>
                  </a:lnTo>
                  <a:lnTo>
                    <a:pt x="8263700" y="3866779"/>
                  </a:lnTo>
                  <a:lnTo>
                    <a:pt x="8075852" y="3853015"/>
                  </a:lnTo>
                  <a:lnTo>
                    <a:pt x="7894824" y="3825986"/>
                  </a:lnTo>
                  <a:lnTo>
                    <a:pt x="7835072" y="3780318"/>
                  </a:lnTo>
                  <a:lnTo>
                    <a:pt x="7855674" y="3703390"/>
                  </a:lnTo>
                  <a:lnTo>
                    <a:pt x="7856120" y="3702855"/>
                  </a:lnTo>
                  <a:lnTo>
                    <a:pt x="7919640" y="3624963"/>
                  </a:lnTo>
                  <a:lnTo>
                    <a:pt x="7960469" y="3537787"/>
                  </a:lnTo>
                  <a:lnTo>
                    <a:pt x="7924031" y="3485782"/>
                  </a:lnTo>
                  <a:lnTo>
                    <a:pt x="7923889" y="3485139"/>
                  </a:lnTo>
                  <a:lnTo>
                    <a:pt x="7905858" y="3401785"/>
                  </a:lnTo>
                  <a:lnTo>
                    <a:pt x="8023401" y="3293239"/>
                  </a:lnTo>
                  <a:lnTo>
                    <a:pt x="8046859" y="3182463"/>
                  </a:lnTo>
                  <a:lnTo>
                    <a:pt x="8015278" y="3171858"/>
                  </a:lnTo>
                  <a:lnTo>
                    <a:pt x="7900323" y="3235825"/>
                  </a:lnTo>
                  <a:lnTo>
                    <a:pt x="7768998" y="3365061"/>
                  </a:lnTo>
                  <a:lnTo>
                    <a:pt x="7768819" y="3365168"/>
                  </a:lnTo>
                  <a:lnTo>
                    <a:pt x="7651116" y="3455111"/>
                  </a:lnTo>
                  <a:lnTo>
                    <a:pt x="7530377" y="3565459"/>
                  </a:lnTo>
                  <a:lnTo>
                    <a:pt x="7481478" y="3679896"/>
                  </a:lnTo>
                  <a:lnTo>
                    <a:pt x="7584596" y="3763804"/>
                  </a:lnTo>
                  <a:lnTo>
                    <a:pt x="7704942" y="3821665"/>
                  </a:lnTo>
                  <a:lnTo>
                    <a:pt x="7618606" y="3924854"/>
                  </a:lnTo>
                  <a:lnTo>
                    <a:pt x="7537696" y="4058554"/>
                  </a:lnTo>
                  <a:lnTo>
                    <a:pt x="7462554" y="4173616"/>
                  </a:lnTo>
                  <a:lnTo>
                    <a:pt x="7373932" y="4124056"/>
                  </a:lnTo>
                  <a:lnTo>
                    <a:pt x="7373486" y="4123110"/>
                  </a:lnTo>
                  <a:lnTo>
                    <a:pt x="7333407" y="4035846"/>
                  </a:lnTo>
                  <a:lnTo>
                    <a:pt x="7191941" y="3992910"/>
                  </a:lnTo>
                  <a:lnTo>
                    <a:pt x="7273296" y="3893398"/>
                  </a:lnTo>
                  <a:lnTo>
                    <a:pt x="7297237" y="3825557"/>
                  </a:lnTo>
                  <a:lnTo>
                    <a:pt x="7210419" y="3816220"/>
                  </a:lnTo>
                  <a:lnTo>
                    <a:pt x="7069988" y="3870046"/>
                  </a:lnTo>
                  <a:lnTo>
                    <a:pt x="7048440" y="3775658"/>
                  </a:lnTo>
                  <a:lnTo>
                    <a:pt x="6949124" y="3761216"/>
                  </a:lnTo>
                  <a:lnTo>
                    <a:pt x="6882069" y="3880704"/>
                  </a:lnTo>
                  <a:lnTo>
                    <a:pt x="6881909" y="3880901"/>
                  </a:lnTo>
                  <a:lnTo>
                    <a:pt x="6791912" y="3995462"/>
                  </a:lnTo>
                  <a:lnTo>
                    <a:pt x="6809605" y="4133250"/>
                  </a:lnTo>
                  <a:lnTo>
                    <a:pt x="6808926" y="4134250"/>
                  </a:lnTo>
                  <a:lnTo>
                    <a:pt x="6711432" y="4280518"/>
                  </a:lnTo>
                  <a:lnTo>
                    <a:pt x="6688223" y="4361981"/>
                  </a:lnTo>
                  <a:lnTo>
                    <a:pt x="6703702" y="4544669"/>
                  </a:lnTo>
                  <a:lnTo>
                    <a:pt x="6703166" y="4545579"/>
                  </a:lnTo>
                  <a:lnTo>
                    <a:pt x="6607332" y="4704666"/>
                  </a:lnTo>
                  <a:lnTo>
                    <a:pt x="6599263" y="4880070"/>
                  </a:lnTo>
                  <a:lnTo>
                    <a:pt x="6750565" y="5051011"/>
                  </a:lnTo>
                  <a:lnTo>
                    <a:pt x="6873196" y="5069239"/>
                  </a:lnTo>
                  <a:lnTo>
                    <a:pt x="6862485" y="5148594"/>
                  </a:lnTo>
                  <a:lnTo>
                    <a:pt x="6861164" y="5149398"/>
                  </a:lnTo>
                  <a:lnTo>
                    <a:pt x="6755279" y="5213240"/>
                  </a:lnTo>
                  <a:lnTo>
                    <a:pt x="6659462" y="5238715"/>
                  </a:lnTo>
                  <a:lnTo>
                    <a:pt x="6559826" y="5349814"/>
                  </a:lnTo>
                  <a:lnTo>
                    <a:pt x="6559219" y="5350099"/>
                  </a:lnTo>
                  <a:lnTo>
                    <a:pt x="6398847" y="5424046"/>
                  </a:lnTo>
                  <a:lnTo>
                    <a:pt x="6358232" y="5406639"/>
                  </a:lnTo>
                  <a:lnTo>
                    <a:pt x="6254775" y="5381520"/>
                  </a:lnTo>
                  <a:lnTo>
                    <a:pt x="6110167" y="5438399"/>
                  </a:lnTo>
                  <a:lnTo>
                    <a:pt x="6030686" y="5511471"/>
                  </a:lnTo>
                  <a:lnTo>
                    <a:pt x="6018938" y="5576937"/>
                  </a:lnTo>
                  <a:lnTo>
                    <a:pt x="5998551" y="5643439"/>
                  </a:lnTo>
                  <a:lnTo>
                    <a:pt x="5898378" y="5608626"/>
                  </a:lnTo>
                  <a:lnTo>
                    <a:pt x="5845409" y="5589523"/>
                  </a:lnTo>
                  <a:lnTo>
                    <a:pt x="5847069" y="5697016"/>
                  </a:lnTo>
                  <a:lnTo>
                    <a:pt x="5922051" y="5786547"/>
                  </a:lnTo>
                  <a:lnTo>
                    <a:pt x="5974735" y="5889755"/>
                  </a:lnTo>
                  <a:lnTo>
                    <a:pt x="6110756" y="5970092"/>
                  </a:lnTo>
                  <a:lnTo>
                    <a:pt x="6169974" y="6048752"/>
                  </a:lnTo>
                  <a:lnTo>
                    <a:pt x="6169974" y="6140711"/>
                  </a:lnTo>
                  <a:lnTo>
                    <a:pt x="6091136" y="6094187"/>
                  </a:lnTo>
                  <a:lnTo>
                    <a:pt x="6016832" y="6117556"/>
                  </a:lnTo>
                  <a:lnTo>
                    <a:pt x="6070390" y="6185397"/>
                  </a:lnTo>
                  <a:lnTo>
                    <a:pt x="6059679" y="6274661"/>
                  </a:lnTo>
                  <a:lnTo>
                    <a:pt x="6007406" y="6280017"/>
                  </a:lnTo>
                  <a:lnTo>
                    <a:pt x="6051466" y="6419823"/>
                  </a:lnTo>
                  <a:lnTo>
                    <a:pt x="6051466" y="6420233"/>
                  </a:lnTo>
                  <a:lnTo>
                    <a:pt x="6055715" y="6528511"/>
                  </a:lnTo>
                  <a:lnTo>
                    <a:pt x="5994177" y="6545774"/>
                  </a:lnTo>
                  <a:lnTo>
                    <a:pt x="5982590" y="6464026"/>
                  </a:lnTo>
                  <a:lnTo>
                    <a:pt x="5930496" y="6414235"/>
                  </a:lnTo>
                  <a:lnTo>
                    <a:pt x="5902913" y="6488770"/>
                  </a:lnTo>
                  <a:lnTo>
                    <a:pt x="5858531" y="6488002"/>
                  </a:lnTo>
                  <a:lnTo>
                    <a:pt x="5835322" y="6408700"/>
                  </a:lnTo>
                  <a:lnTo>
                    <a:pt x="5799135" y="6376208"/>
                  </a:lnTo>
                  <a:lnTo>
                    <a:pt x="5800384" y="6300262"/>
                  </a:lnTo>
                  <a:lnTo>
                    <a:pt x="5675897" y="6259397"/>
                  </a:lnTo>
                  <a:lnTo>
                    <a:pt x="5625909" y="6190378"/>
                  </a:lnTo>
                  <a:lnTo>
                    <a:pt x="5537358" y="6132731"/>
                  </a:lnTo>
                  <a:lnTo>
                    <a:pt x="5579420" y="5936886"/>
                  </a:lnTo>
                  <a:lnTo>
                    <a:pt x="5313413" y="5692159"/>
                  </a:lnTo>
                  <a:lnTo>
                    <a:pt x="5313199" y="5691838"/>
                  </a:lnTo>
                  <a:lnTo>
                    <a:pt x="5274958" y="5634173"/>
                  </a:lnTo>
                  <a:lnTo>
                    <a:pt x="5274815" y="5633620"/>
                  </a:lnTo>
                  <a:lnTo>
                    <a:pt x="5253249" y="5542677"/>
                  </a:lnTo>
                  <a:lnTo>
                    <a:pt x="5279796" y="5427223"/>
                  </a:lnTo>
                  <a:lnTo>
                    <a:pt x="5256927" y="5409371"/>
                  </a:lnTo>
                  <a:lnTo>
                    <a:pt x="5284991" y="5302985"/>
                  </a:lnTo>
                  <a:lnTo>
                    <a:pt x="4773632" y="4975975"/>
                  </a:lnTo>
                  <a:lnTo>
                    <a:pt x="4638451" y="4971816"/>
                  </a:lnTo>
                  <a:lnTo>
                    <a:pt x="4612636" y="4932950"/>
                  </a:lnTo>
                  <a:lnTo>
                    <a:pt x="4479686" y="4856415"/>
                  </a:lnTo>
                  <a:lnTo>
                    <a:pt x="4453299" y="4816550"/>
                  </a:lnTo>
                  <a:lnTo>
                    <a:pt x="4453496" y="4815300"/>
                  </a:lnTo>
                  <a:lnTo>
                    <a:pt x="4464868" y="4742675"/>
                  </a:lnTo>
                  <a:lnTo>
                    <a:pt x="4408774" y="4617223"/>
                  </a:lnTo>
                  <a:lnTo>
                    <a:pt x="4344058" y="4566556"/>
                  </a:lnTo>
                  <a:lnTo>
                    <a:pt x="4303960" y="4640432"/>
                  </a:lnTo>
                  <a:lnTo>
                    <a:pt x="4278484" y="4697918"/>
                  </a:lnTo>
                  <a:lnTo>
                    <a:pt x="4208573" y="4662908"/>
                  </a:lnTo>
                  <a:lnTo>
                    <a:pt x="4181347" y="4613349"/>
                  </a:lnTo>
                  <a:lnTo>
                    <a:pt x="4181240" y="4612974"/>
                  </a:lnTo>
                  <a:lnTo>
                    <a:pt x="4161602" y="4540384"/>
                  </a:lnTo>
                  <a:lnTo>
                    <a:pt x="4228211" y="4512159"/>
                  </a:lnTo>
                  <a:lnTo>
                    <a:pt x="4186578" y="4471437"/>
                  </a:lnTo>
                  <a:lnTo>
                    <a:pt x="3970005" y="4588480"/>
                  </a:lnTo>
                  <a:lnTo>
                    <a:pt x="4028919" y="4661266"/>
                  </a:lnTo>
                  <a:lnTo>
                    <a:pt x="4032990" y="4694347"/>
                  </a:lnTo>
                  <a:lnTo>
                    <a:pt x="3978324" y="4741443"/>
                  </a:lnTo>
                  <a:lnTo>
                    <a:pt x="4143642" y="4925166"/>
                  </a:lnTo>
                  <a:lnTo>
                    <a:pt x="4143856" y="4925720"/>
                  </a:lnTo>
                  <a:lnTo>
                    <a:pt x="4158370" y="4963407"/>
                  </a:lnTo>
                  <a:lnTo>
                    <a:pt x="4232031" y="4975047"/>
                  </a:lnTo>
                  <a:lnTo>
                    <a:pt x="4232585" y="4977029"/>
                  </a:lnTo>
                  <a:lnTo>
                    <a:pt x="4286357" y="5165019"/>
                  </a:lnTo>
                  <a:lnTo>
                    <a:pt x="4593533" y="5332318"/>
                  </a:lnTo>
                  <a:lnTo>
                    <a:pt x="4709576" y="5339066"/>
                  </a:lnTo>
                  <a:lnTo>
                    <a:pt x="4711362" y="5352991"/>
                  </a:lnTo>
                  <a:lnTo>
                    <a:pt x="4685725" y="5397730"/>
                  </a:lnTo>
                  <a:lnTo>
                    <a:pt x="4680887" y="5436632"/>
                  </a:lnTo>
                  <a:lnTo>
                    <a:pt x="4995097" y="5582186"/>
                  </a:lnTo>
                  <a:lnTo>
                    <a:pt x="5069454" y="5593915"/>
                  </a:lnTo>
                  <a:lnTo>
                    <a:pt x="5144114" y="5689749"/>
                  </a:lnTo>
                  <a:lnTo>
                    <a:pt x="5144221" y="5690624"/>
                  </a:lnTo>
                  <a:lnTo>
                    <a:pt x="5155861" y="5785244"/>
                  </a:lnTo>
                  <a:lnTo>
                    <a:pt x="5099643" y="5792135"/>
                  </a:lnTo>
                  <a:lnTo>
                    <a:pt x="5057582" y="5703746"/>
                  </a:lnTo>
                  <a:lnTo>
                    <a:pt x="4881892" y="5664898"/>
                  </a:lnTo>
                  <a:lnTo>
                    <a:pt x="4821442" y="5822146"/>
                  </a:lnTo>
                  <a:lnTo>
                    <a:pt x="4955214" y="5908571"/>
                  </a:lnTo>
                  <a:lnTo>
                    <a:pt x="4936415" y="6019080"/>
                  </a:lnTo>
                  <a:lnTo>
                    <a:pt x="4892693" y="6013635"/>
                  </a:lnTo>
                  <a:lnTo>
                    <a:pt x="4856470" y="6037665"/>
                  </a:lnTo>
                  <a:lnTo>
                    <a:pt x="4778649" y="6243258"/>
                  </a:lnTo>
                  <a:lnTo>
                    <a:pt x="4727911" y="6271198"/>
                  </a:lnTo>
                  <a:lnTo>
                    <a:pt x="4691724" y="6253077"/>
                  </a:lnTo>
                  <a:lnTo>
                    <a:pt x="4683886" y="6189325"/>
                  </a:lnTo>
                  <a:lnTo>
                    <a:pt x="4717575" y="6134588"/>
                  </a:lnTo>
                  <a:lnTo>
                    <a:pt x="4692455" y="6105345"/>
                  </a:lnTo>
                  <a:lnTo>
                    <a:pt x="4789932" y="6051787"/>
                  </a:lnTo>
                  <a:lnTo>
                    <a:pt x="4775846" y="6015206"/>
                  </a:lnTo>
                  <a:lnTo>
                    <a:pt x="4695294" y="5860387"/>
                  </a:lnTo>
                  <a:lnTo>
                    <a:pt x="4646467" y="5786672"/>
                  </a:lnTo>
                  <a:lnTo>
                    <a:pt x="4567914" y="5827644"/>
                  </a:lnTo>
                  <a:lnTo>
                    <a:pt x="4547473" y="5746450"/>
                  </a:lnTo>
                  <a:lnTo>
                    <a:pt x="4496646" y="5752663"/>
                  </a:lnTo>
                  <a:lnTo>
                    <a:pt x="4473026" y="5643278"/>
                  </a:lnTo>
                  <a:lnTo>
                    <a:pt x="4379763" y="5687625"/>
                  </a:lnTo>
                  <a:lnTo>
                    <a:pt x="4408810" y="5637066"/>
                  </a:lnTo>
                  <a:lnTo>
                    <a:pt x="4191844" y="5512275"/>
                  </a:lnTo>
                  <a:lnTo>
                    <a:pt x="4144177" y="5549533"/>
                  </a:lnTo>
                  <a:lnTo>
                    <a:pt x="4045987" y="5435275"/>
                  </a:lnTo>
                  <a:lnTo>
                    <a:pt x="3893059" y="5278920"/>
                  </a:lnTo>
                  <a:lnTo>
                    <a:pt x="3697749" y="5116941"/>
                  </a:lnTo>
                  <a:lnTo>
                    <a:pt x="3697446" y="5116334"/>
                  </a:lnTo>
                  <a:lnTo>
                    <a:pt x="3575458" y="4874625"/>
                  </a:lnTo>
                  <a:lnTo>
                    <a:pt x="3362366" y="4789181"/>
                  </a:lnTo>
                  <a:lnTo>
                    <a:pt x="3293454" y="4889157"/>
                  </a:lnTo>
                  <a:lnTo>
                    <a:pt x="3292758" y="4889514"/>
                  </a:lnTo>
                  <a:lnTo>
                    <a:pt x="2933916" y="5078290"/>
                  </a:lnTo>
                  <a:lnTo>
                    <a:pt x="2932827" y="5078093"/>
                  </a:lnTo>
                  <a:lnTo>
                    <a:pt x="2794628" y="5053368"/>
                  </a:lnTo>
                  <a:lnTo>
                    <a:pt x="2769134" y="5014859"/>
                  </a:lnTo>
                  <a:lnTo>
                    <a:pt x="2596712" y="4934254"/>
                  </a:lnTo>
                  <a:lnTo>
                    <a:pt x="2427253" y="5036015"/>
                  </a:lnTo>
                  <a:lnTo>
                    <a:pt x="2439518" y="5218810"/>
                  </a:lnTo>
                  <a:lnTo>
                    <a:pt x="2439286" y="5219435"/>
                  </a:lnTo>
                  <a:lnTo>
                    <a:pt x="2408204" y="5307038"/>
                  </a:lnTo>
                  <a:lnTo>
                    <a:pt x="2406883" y="5307592"/>
                  </a:lnTo>
                  <a:lnTo>
                    <a:pt x="2270648" y="5365310"/>
                  </a:lnTo>
                  <a:lnTo>
                    <a:pt x="2226016" y="5422617"/>
                  </a:lnTo>
                  <a:lnTo>
                    <a:pt x="2224855" y="5422867"/>
                  </a:lnTo>
                  <a:lnTo>
                    <a:pt x="1995875" y="5471373"/>
                  </a:lnTo>
                  <a:lnTo>
                    <a:pt x="1966561" y="5567779"/>
                  </a:lnTo>
                  <a:lnTo>
                    <a:pt x="1886044" y="5587935"/>
                  </a:lnTo>
                  <a:lnTo>
                    <a:pt x="1731171" y="5821360"/>
                  </a:lnTo>
                  <a:lnTo>
                    <a:pt x="1765627" y="5937975"/>
                  </a:lnTo>
                  <a:lnTo>
                    <a:pt x="1833468" y="5972092"/>
                  </a:lnTo>
                  <a:lnTo>
                    <a:pt x="1787586" y="6043503"/>
                  </a:lnTo>
                  <a:lnTo>
                    <a:pt x="1786283" y="6043789"/>
                  </a:lnTo>
                  <a:lnTo>
                    <a:pt x="1677238" y="6067372"/>
                  </a:lnTo>
                  <a:lnTo>
                    <a:pt x="1602256" y="6186129"/>
                  </a:lnTo>
                  <a:lnTo>
                    <a:pt x="1639747" y="6205053"/>
                  </a:lnTo>
                  <a:lnTo>
                    <a:pt x="1550965" y="6227333"/>
                  </a:lnTo>
                  <a:lnTo>
                    <a:pt x="1550536" y="6227333"/>
                  </a:lnTo>
                  <a:lnTo>
                    <a:pt x="1479642" y="6225959"/>
                  </a:lnTo>
                  <a:lnTo>
                    <a:pt x="1323573" y="6378976"/>
                  </a:lnTo>
                  <a:lnTo>
                    <a:pt x="1301471" y="6381671"/>
                  </a:lnTo>
                  <a:lnTo>
                    <a:pt x="1258714" y="6366479"/>
                  </a:lnTo>
                  <a:lnTo>
                    <a:pt x="1209636" y="6382724"/>
                  </a:lnTo>
                  <a:lnTo>
                    <a:pt x="1208958" y="6382724"/>
                  </a:lnTo>
                  <a:lnTo>
                    <a:pt x="1115177" y="6373459"/>
                  </a:lnTo>
                  <a:lnTo>
                    <a:pt x="823855" y="6337396"/>
                  </a:lnTo>
                  <a:lnTo>
                    <a:pt x="750533" y="6408004"/>
                  </a:lnTo>
                  <a:lnTo>
                    <a:pt x="656538" y="6419537"/>
                  </a:lnTo>
                  <a:lnTo>
                    <a:pt x="620832" y="6382332"/>
                  </a:lnTo>
                  <a:lnTo>
                    <a:pt x="567720" y="6378368"/>
                  </a:lnTo>
                  <a:lnTo>
                    <a:pt x="520946" y="6166455"/>
                  </a:lnTo>
                  <a:lnTo>
                    <a:pt x="365983" y="6063355"/>
                  </a:lnTo>
                  <a:lnTo>
                    <a:pt x="307069" y="6070497"/>
                  </a:lnTo>
                  <a:lnTo>
                    <a:pt x="249083" y="6108987"/>
                  </a:lnTo>
                  <a:lnTo>
                    <a:pt x="247440" y="6108237"/>
                  </a:lnTo>
                  <a:lnTo>
                    <a:pt x="107117" y="6043931"/>
                  </a:lnTo>
                  <a:lnTo>
                    <a:pt x="59753" y="6069961"/>
                  </a:lnTo>
                  <a:lnTo>
                    <a:pt x="24441" y="6074281"/>
                  </a:lnTo>
                  <a:lnTo>
                    <a:pt x="36777" y="5995889"/>
                  </a:lnTo>
                  <a:lnTo>
                    <a:pt x="139538" y="5692856"/>
                  </a:lnTo>
                  <a:lnTo>
                    <a:pt x="106885" y="5714690"/>
                  </a:lnTo>
                  <a:lnTo>
                    <a:pt x="66770" y="5663184"/>
                  </a:lnTo>
                  <a:lnTo>
                    <a:pt x="99119" y="5621730"/>
                  </a:lnTo>
                  <a:lnTo>
                    <a:pt x="52148" y="5627496"/>
                  </a:lnTo>
                  <a:lnTo>
                    <a:pt x="61664" y="5528610"/>
                  </a:lnTo>
                  <a:lnTo>
                    <a:pt x="98030" y="5482067"/>
                  </a:lnTo>
                  <a:lnTo>
                    <a:pt x="152410" y="5424063"/>
                  </a:lnTo>
                  <a:lnTo>
                    <a:pt x="202987" y="5335835"/>
                  </a:lnTo>
                  <a:lnTo>
                    <a:pt x="249940" y="5216989"/>
                  </a:lnTo>
                  <a:lnTo>
                    <a:pt x="373981" y="4813122"/>
                  </a:lnTo>
                  <a:lnTo>
                    <a:pt x="321565" y="4799268"/>
                  </a:lnTo>
                  <a:lnTo>
                    <a:pt x="322993" y="4725697"/>
                  </a:lnTo>
                  <a:lnTo>
                    <a:pt x="286966" y="4688206"/>
                  </a:lnTo>
                  <a:lnTo>
                    <a:pt x="312853" y="4629845"/>
                  </a:lnTo>
                  <a:lnTo>
                    <a:pt x="459121" y="4622418"/>
                  </a:lnTo>
                  <a:lnTo>
                    <a:pt x="509966" y="4653839"/>
                  </a:lnTo>
                  <a:lnTo>
                    <a:pt x="501772" y="4587230"/>
                  </a:lnTo>
                  <a:lnTo>
                    <a:pt x="552724" y="4559183"/>
                  </a:lnTo>
                  <a:lnTo>
                    <a:pt x="553670" y="4559183"/>
                  </a:lnTo>
                  <a:lnTo>
                    <a:pt x="720862" y="4569788"/>
                  </a:lnTo>
                  <a:lnTo>
                    <a:pt x="813411" y="4651429"/>
                  </a:lnTo>
                  <a:lnTo>
                    <a:pt x="1321788" y="4754529"/>
                  </a:lnTo>
                  <a:lnTo>
                    <a:pt x="1324430" y="4776149"/>
                  </a:lnTo>
                  <a:lnTo>
                    <a:pt x="1357743" y="4810855"/>
                  </a:lnTo>
                  <a:lnTo>
                    <a:pt x="1416086" y="4793591"/>
                  </a:lnTo>
                  <a:lnTo>
                    <a:pt x="1663741" y="4814318"/>
                  </a:lnTo>
                  <a:lnTo>
                    <a:pt x="1684700" y="4742014"/>
                  </a:lnTo>
                  <a:lnTo>
                    <a:pt x="1800565" y="4347288"/>
                  </a:lnTo>
                  <a:lnTo>
                    <a:pt x="1674292" y="3991071"/>
                  </a:lnTo>
                  <a:lnTo>
                    <a:pt x="1697251" y="3951080"/>
                  </a:lnTo>
                  <a:lnTo>
                    <a:pt x="1619609" y="3960596"/>
                  </a:lnTo>
                  <a:lnTo>
                    <a:pt x="1596632" y="3858692"/>
                  </a:lnTo>
                  <a:lnTo>
                    <a:pt x="1375257" y="3722047"/>
                  </a:lnTo>
                  <a:lnTo>
                    <a:pt x="1319770" y="3707300"/>
                  </a:lnTo>
                  <a:lnTo>
                    <a:pt x="1341087" y="3533913"/>
                  </a:lnTo>
                  <a:lnTo>
                    <a:pt x="1395181" y="3538002"/>
                  </a:lnTo>
                  <a:lnTo>
                    <a:pt x="1445794" y="3510169"/>
                  </a:lnTo>
                  <a:lnTo>
                    <a:pt x="1460701" y="3548910"/>
                  </a:lnTo>
                  <a:lnTo>
                    <a:pt x="1504994" y="3514454"/>
                  </a:lnTo>
                  <a:lnTo>
                    <a:pt x="1556767" y="3508098"/>
                  </a:lnTo>
                  <a:lnTo>
                    <a:pt x="1557052" y="3508098"/>
                  </a:lnTo>
                  <a:lnTo>
                    <a:pt x="1621912" y="3510901"/>
                  </a:lnTo>
                  <a:lnTo>
                    <a:pt x="1633998" y="3609199"/>
                  </a:lnTo>
                  <a:lnTo>
                    <a:pt x="1688306" y="3562442"/>
                  </a:lnTo>
                  <a:lnTo>
                    <a:pt x="1715407" y="3611627"/>
                  </a:lnTo>
                  <a:lnTo>
                    <a:pt x="1775053" y="3583187"/>
                  </a:lnTo>
                  <a:lnTo>
                    <a:pt x="1780266" y="3625570"/>
                  </a:lnTo>
                  <a:lnTo>
                    <a:pt x="1835378" y="3627962"/>
                  </a:lnTo>
                  <a:lnTo>
                    <a:pt x="1771251" y="3357527"/>
                  </a:lnTo>
                  <a:lnTo>
                    <a:pt x="1847464" y="3359009"/>
                  </a:lnTo>
                  <a:lnTo>
                    <a:pt x="1891811" y="3353653"/>
                  </a:lnTo>
                  <a:lnTo>
                    <a:pt x="1882599" y="3448880"/>
                  </a:lnTo>
                  <a:lnTo>
                    <a:pt x="2092352" y="3504313"/>
                  </a:lnTo>
                  <a:lnTo>
                    <a:pt x="2162906" y="3495655"/>
                  </a:lnTo>
                  <a:lnTo>
                    <a:pt x="2091495" y="3456807"/>
                  </a:lnTo>
                  <a:lnTo>
                    <a:pt x="2119059" y="3408801"/>
                  </a:lnTo>
                  <a:lnTo>
                    <a:pt x="2119881" y="3408372"/>
                  </a:lnTo>
                  <a:lnTo>
                    <a:pt x="2321618" y="3301594"/>
                  </a:lnTo>
                  <a:lnTo>
                    <a:pt x="2348397" y="3185266"/>
                  </a:lnTo>
                  <a:lnTo>
                    <a:pt x="2396725" y="3147471"/>
                  </a:lnTo>
                  <a:lnTo>
                    <a:pt x="2397278" y="3147293"/>
                  </a:lnTo>
                  <a:lnTo>
                    <a:pt x="2605835" y="3080362"/>
                  </a:lnTo>
                  <a:lnTo>
                    <a:pt x="2606370" y="3080362"/>
                  </a:lnTo>
                  <a:lnTo>
                    <a:pt x="2723931" y="3082737"/>
                  </a:lnTo>
                  <a:lnTo>
                    <a:pt x="2641487" y="3060885"/>
                  </a:lnTo>
                  <a:lnTo>
                    <a:pt x="2637149" y="3025715"/>
                  </a:lnTo>
                  <a:lnTo>
                    <a:pt x="2717111" y="2994972"/>
                  </a:lnTo>
                  <a:lnTo>
                    <a:pt x="2767706" y="2906672"/>
                  </a:lnTo>
                  <a:lnTo>
                    <a:pt x="2814266" y="2870288"/>
                  </a:lnTo>
                  <a:lnTo>
                    <a:pt x="2854543" y="2687225"/>
                  </a:lnTo>
                  <a:lnTo>
                    <a:pt x="2892212" y="2706167"/>
                  </a:lnTo>
                  <a:lnTo>
                    <a:pt x="2892676" y="2707167"/>
                  </a:lnTo>
                  <a:lnTo>
                    <a:pt x="2920116" y="2764903"/>
                  </a:lnTo>
                  <a:lnTo>
                    <a:pt x="2955393" y="2792539"/>
                  </a:lnTo>
                  <a:lnTo>
                    <a:pt x="2941575" y="2845026"/>
                  </a:lnTo>
                  <a:lnTo>
                    <a:pt x="2978780" y="2858291"/>
                  </a:lnTo>
                  <a:lnTo>
                    <a:pt x="3000204" y="2797895"/>
                  </a:lnTo>
                  <a:lnTo>
                    <a:pt x="2972746" y="2740177"/>
                  </a:lnTo>
                  <a:lnTo>
                    <a:pt x="2972746" y="2739659"/>
                  </a:lnTo>
                  <a:lnTo>
                    <a:pt x="2964927" y="2676121"/>
                  </a:lnTo>
                  <a:lnTo>
                    <a:pt x="3059172" y="2642682"/>
                  </a:lnTo>
                  <a:lnTo>
                    <a:pt x="3074561" y="2682655"/>
                  </a:lnTo>
                  <a:lnTo>
                    <a:pt x="3201780" y="2667052"/>
                  </a:lnTo>
                  <a:lnTo>
                    <a:pt x="3223507" y="2592212"/>
                  </a:lnTo>
                  <a:lnTo>
                    <a:pt x="3339836" y="2577930"/>
                  </a:lnTo>
                  <a:lnTo>
                    <a:pt x="3356225" y="2627472"/>
                  </a:lnTo>
                  <a:lnTo>
                    <a:pt x="3402464" y="2621777"/>
                  </a:lnTo>
                  <a:lnTo>
                    <a:pt x="3457504" y="2493433"/>
                  </a:lnTo>
                  <a:lnTo>
                    <a:pt x="3460146" y="2430770"/>
                  </a:lnTo>
                  <a:lnTo>
                    <a:pt x="3477571" y="2408471"/>
                  </a:lnTo>
                  <a:lnTo>
                    <a:pt x="3460325" y="2350110"/>
                  </a:lnTo>
                  <a:lnTo>
                    <a:pt x="3460325" y="2349843"/>
                  </a:lnTo>
                  <a:lnTo>
                    <a:pt x="3452862" y="2289143"/>
                  </a:lnTo>
                  <a:lnTo>
                    <a:pt x="3435206" y="2229443"/>
                  </a:lnTo>
                  <a:lnTo>
                    <a:pt x="3429154" y="2180134"/>
                  </a:lnTo>
                  <a:lnTo>
                    <a:pt x="3341389" y="2139072"/>
                  </a:lnTo>
                  <a:lnTo>
                    <a:pt x="3341550" y="2136858"/>
                  </a:lnTo>
                  <a:lnTo>
                    <a:pt x="3353279" y="1980378"/>
                  </a:lnTo>
                  <a:lnTo>
                    <a:pt x="3353386" y="1980039"/>
                  </a:lnTo>
                  <a:lnTo>
                    <a:pt x="3384093" y="1879135"/>
                  </a:lnTo>
                  <a:lnTo>
                    <a:pt x="3451684" y="1931997"/>
                  </a:lnTo>
                  <a:lnTo>
                    <a:pt x="3455790" y="1898398"/>
                  </a:lnTo>
                  <a:lnTo>
                    <a:pt x="3414354" y="1883652"/>
                  </a:lnTo>
                  <a:lnTo>
                    <a:pt x="3413800" y="1882991"/>
                  </a:lnTo>
                  <a:lnTo>
                    <a:pt x="3387806" y="1852641"/>
                  </a:lnTo>
                  <a:lnTo>
                    <a:pt x="3436438" y="1802850"/>
                  </a:lnTo>
                  <a:lnTo>
                    <a:pt x="3437562" y="1802707"/>
                  </a:lnTo>
                  <a:lnTo>
                    <a:pt x="3517900" y="1792852"/>
                  </a:lnTo>
                  <a:lnTo>
                    <a:pt x="3563657" y="1757147"/>
                  </a:lnTo>
                  <a:lnTo>
                    <a:pt x="3614573" y="1668275"/>
                  </a:lnTo>
                  <a:lnTo>
                    <a:pt x="3615216" y="1667847"/>
                  </a:lnTo>
                  <a:lnTo>
                    <a:pt x="3697571" y="1613181"/>
                  </a:lnTo>
                  <a:lnTo>
                    <a:pt x="3655474" y="1872047"/>
                  </a:lnTo>
                  <a:lnTo>
                    <a:pt x="3668239" y="1898827"/>
                  </a:lnTo>
                  <a:lnTo>
                    <a:pt x="3731884" y="1911716"/>
                  </a:lnTo>
                  <a:lnTo>
                    <a:pt x="3749523" y="1965025"/>
                  </a:lnTo>
                  <a:lnTo>
                    <a:pt x="3680146" y="2028759"/>
                  </a:lnTo>
                  <a:lnTo>
                    <a:pt x="3655403" y="1983681"/>
                  </a:lnTo>
                  <a:lnTo>
                    <a:pt x="3635764" y="2051522"/>
                  </a:lnTo>
                  <a:lnTo>
                    <a:pt x="3635372" y="2052022"/>
                  </a:lnTo>
                  <a:lnTo>
                    <a:pt x="3600219" y="2097082"/>
                  </a:lnTo>
                  <a:lnTo>
                    <a:pt x="3566299" y="2233299"/>
                  </a:lnTo>
                  <a:lnTo>
                    <a:pt x="3578582" y="2251795"/>
                  </a:lnTo>
                  <a:lnTo>
                    <a:pt x="3581010" y="2271594"/>
                  </a:lnTo>
                  <a:lnTo>
                    <a:pt x="3592418" y="2280520"/>
                  </a:lnTo>
                  <a:lnTo>
                    <a:pt x="3594685" y="2298962"/>
                  </a:lnTo>
                  <a:lnTo>
                    <a:pt x="3603897" y="2297819"/>
                  </a:lnTo>
                  <a:lnTo>
                    <a:pt x="3619018" y="2329669"/>
                  </a:lnTo>
                  <a:lnTo>
                    <a:pt x="3620161" y="2338952"/>
                  </a:lnTo>
                  <a:lnTo>
                    <a:pt x="3632354" y="2348521"/>
                  </a:lnTo>
                  <a:lnTo>
                    <a:pt x="3609878" y="2411863"/>
                  </a:lnTo>
                  <a:lnTo>
                    <a:pt x="3638175" y="2417683"/>
                  </a:lnTo>
                  <a:lnTo>
                    <a:pt x="3712067" y="2439107"/>
                  </a:lnTo>
                  <a:lnTo>
                    <a:pt x="3784496" y="2419469"/>
                  </a:lnTo>
                  <a:lnTo>
                    <a:pt x="3791477" y="2476348"/>
                  </a:lnTo>
                  <a:lnTo>
                    <a:pt x="3726742" y="2503823"/>
                  </a:lnTo>
                  <a:lnTo>
                    <a:pt x="3764484" y="2525532"/>
                  </a:lnTo>
                  <a:lnTo>
                    <a:pt x="3813668" y="2519498"/>
                  </a:lnTo>
                  <a:lnTo>
                    <a:pt x="4029419" y="2420397"/>
                  </a:lnTo>
                  <a:lnTo>
                    <a:pt x="4072070" y="2453728"/>
                  </a:lnTo>
                  <a:lnTo>
                    <a:pt x="4076444" y="2418023"/>
                  </a:lnTo>
                  <a:lnTo>
                    <a:pt x="4069552" y="2361947"/>
                  </a:lnTo>
                  <a:lnTo>
                    <a:pt x="4130109" y="2388905"/>
                  </a:lnTo>
                  <a:lnTo>
                    <a:pt x="4130627" y="2389690"/>
                  </a:lnTo>
                  <a:lnTo>
                    <a:pt x="4157210" y="2429752"/>
                  </a:lnTo>
                  <a:lnTo>
                    <a:pt x="4131145" y="2463083"/>
                  </a:lnTo>
                  <a:lnTo>
                    <a:pt x="4215250" y="2511464"/>
                  </a:lnTo>
                  <a:lnTo>
                    <a:pt x="4459083" y="2420272"/>
                  </a:lnTo>
                  <a:lnTo>
                    <a:pt x="4503376" y="2363464"/>
                  </a:lnTo>
                  <a:lnTo>
                    <a:pt x="4503966" y="2363143"/>
                  </a:lnTo>
                  <a:lnTo>
                    <a:pt x="4551776" y="2336828"/>
                  </a:lnTo>
                  <a:lnTo>
                    <a:pt x="4597961" y="2289464"/>
                  </a:lnTo>
                  <a:lnTo>
                    <a:pt x="4599086" y="2289339"/>
                  </a:lnTo>
                  <a:lnTo>
                    <a:pt x="4753030" y="2270451"/>
                  </a:lnTo>
                  <a:lnTo>
                    <a:pt x="4754155" y="2271861"/>
                  </a:lnTo>
                  <a:lnTo>
                    <a:pt x="4813730" y="2345504"/>
                  </a:lnTo>
                  <a:lnTo>
                    <a:pt x="4930469" y="2331222"/>
                  </a:lnTo>
                  <a:lnTo>
                    <a:pt x="4928274" y="2313369"/>
                  </a:lnTo>
                  <a:lnTo>
                    <a:pt x="4928523" y="2312655"/>
                  </a:lnTo>
                  <a:lnTo>
                    <a:pt x="4959248" y="2226123"/>
                  </a:lnTo>
                  <a:lnTo>
                    <a:pt x="4984813" y="2181491"/>
                  </a:lnTo>
                  <a:lnTo>
                    <a:pt x="5092288" y="1973612"/>
                  </a:lnTo>
                  <a:lnTo>
                    <a:pt x="5043424" y="1825969"/>
                  </a:lnTo>
                  <a:lnTo>
                    <a:pt x="5043424" y="1825648"/>
                  </a:lnTo>
                  <a:lnTo>
                    <a:pt x="5033356" y="1743650"/>
                  </a:lnTo>
                  <a:lnTo>
                    <a:pt x="5101589" y="1537610"/>
                  </a:lnTo>
                  <a:lnTo>
                    <a:pt x="5190621" y="1484052"/>
                  </a:lnTo>
                  <a:lnTo>
                    <a:pt x="5259908" y="1528791"/>
                  </a:lnTo>
                  <a:lnTo>
                    <a:pt x="5333658" y="1631820"/>
                  </a:lnTo>
                  <a:lnTo>
                    <a:pt x="5429545" y="1610325"/>
                  </a:lnTo>
                  <a:lnTo>
                    <a:pt x="5445809" y="1497745"/>
                  </a:lnTo>
                  <a:lnTo>
                    <a:pt x="5428260" y="1438331"/>
                  </a:lnTo>
                  <a:lnTo>
                    <a:pt x="5424689" y="1328857"/>
                  </a:lnTo>
                  <a:lnTo>
                    <a:pt x="5338175" y="1349388"/>
                  </a:lnTo>
                  <a:lnTo>
                    <a:pt x="5294488" y="1354744"/>
                  </a:lnTo>
                  <a:lnTo>
                    <a:pt x="5293953" y="1351709"/>
                  </a:lnTo>
                  <a:lnTo>
                    <a:pt x="5258587" y="1148383"/>
                  </a:lnTo>
                  <a:lnTo>
                    <a:pt x="5295578" y="1100984"/>
                  </a:lnTo>
                  <a:lnTo>
                    <a:pt x="5296327" y="1100662"/>
                  </a:lnTo>
                  <a:lnTo>
                    <a:pt x="5531699" y="999401"/>
                  </a:lnTo>
                  <a:lnTo>
                    <a:pt x="5532395" y="999401"/>
                  </a:lnTo>
                  <a:lnTo>
                    <a:pt x="5683341" y="1001026"/>
                  </a:lnTo>
                  <a:lnTo>
                    <a:pt x="5650742" y="735679"/>
                  </a:lnTo>
                  <a:lnTo>
                    <a:pt x="5203885" y="1037981"/>
                  </a:lnTo>
                  <a:lnTo>
                    <a:pt x="5198280" y="992332"/>
                  </a:lnTo>
                  <a:lnTo>
                    <a:pt x="5181337" y="929704"/>
                  </a:lnTo>
                  <a:lnTo>
                    <a:pt x="5141436" y="991724"/>
                  </a:lnTo>
                  <a:lnTo>
                    <a:pt x="5078094" y="1010470"/>
                  </a:lnTo>
                  <a:lnTo>
                    <a:pt x="5062152" y="976907"/>
                  </a:lnTo>
                  <a:lnTo>
                    <a:pt x="5105195" y="921724"/>
                  </a:lnTo>
                  <a:lnTo>
                    <a:pt x="5011379" y="883626"/>
                  </a:lnTo>
                  <a:lnTo>
                    <a:pt x="4944341" y="849795"/>
                  </a:lnTo>
                  <a:lnTo>
                    <a:pt x="4943913" y="848563"/>
                  </a:lnTo>
                  <a:lnTo>
                    <a:pt x="4894674" y="706258"/>
                  </a:lnTo>
                  <a:lnTo>
                    <a:pt x="4925899" y="702419"/>
                  </a:lnTo>
                  <a:lnTo>
                    <a:pt x="4916366" y="624849"/>
                  </a:lnTo>
                  <a:lnTo>
                    <a:pt x="4858273" y="487596"/>
                  </a:lnTo>
                  <a:lnTo>
                    <a:pt x="4858273" y="487132"/>
                  </a:lnTo>
                  <a:lnTo>
                    <a:pt x="4848346" y="406277"/>
                  </a:lnTo>
                  <a:lnTo>
                    <a:pt x="4833011" y="366447"/>
                  </a:lnTo>
                  <a:lnTo>
                    <a:pt x="4851471" y="258366"/>
                  </a:lnTo>
                  <a:lnTo>
                    <a:pt x="4936557" y="228195"/>
                  </a:lnTo>
                  <a:lnTo>
                    <a:pt x="4904868" y="203522"/>
                  </a:lnTo>
                  <a:lnTo>
                    <a:pt x="4906065" y="201166"/>
                  </a:lnTo>
                  <a:lnTo>
                    <a:pt x="5007112" y="0"/>
                  </a:lnTo>
                  <a:lnTo>
                    <a:pt x="4818586" y="0"/>
                  </a:lnTo>
                  <a:lnTo>
                    <a:pt x="4753101" y="173172"/>
                  </a:lnTo>
                  <a:lnTo>
                    <a:pt x="4703114" y="189722"/>
                  </a:lnTo>
                  <a:lnTo>
                    <a:pt x="4533851" y="406652"/>
                  </a:lnTo>
                  <a:lnTo>
                    <a:pt x="4504554" y="410222"/>
                  </a:lnTo>
                  <a:lnTo>
                    <a:pt x="4444783" y="835851"/>
                  </a:lnTo>
                  <a:lnTo>
                    <a:pt x="4611475" y="938809"/>
                  </a:lnTo>
                  <a:lnTo>
                    <a:pt x="4614082" y="960125"/>
                  </a:lnTo>
                  <a:lnTo>
                    <a:pt x="4627632" y="988689"/>
                  </a:lnTo>
                  <a:lnTo>
                    <a:pt x="4665873" y="1046354"/>
                  </a:lnTo>
                  <a:lnTo>
                    <a:pt x="4667122" y="1056530"/>
                  </a:lnTo>
                  <a:lnTo>
                    <a:pt x="4679619" y="1075329"/>
                  </a:lnTo>
                  <a:lnTo>
                    <a:pt x="4694098" y="1105786"/>
                  </a:lnTo>
                  <a:lnTo>
                    <a:pt x="4670300" y="1172824"/>
                  </a:lnTo>
                  <a:lnTo>
                    <a:pt x="4669283" y="1173413"/>
                  </a:lnTo>
                  <a:lnTo>
                    <a:pt x="4604298" y="1211261"/>
                  </a:lnTo>
                  <a:lnTo>
                    <a:pt x="4620366" y="1259660"/>
                  </a:lnTo>
                  <a:lnTo>
                    <a:pt x="4577126" y="1339337"/>
                  </a:lnTo>
                  <a:lnTo>
                    <a:pt x="4439660" y="1386932"/>
                  </a:lnTo>
                  <a:lnTo>
                    <a:pt x="4436089" y="1434010"/>
                  </a:lnTo>
                  <a:lnTo>
                    <a:pt x="4499324" y="1446829"/>
                  </a:lnTo>
                  <a:lnTo>
                    <a:pt x="4497842" y="1523346"/>
                  </a:lnTo>
                  <a:lnTo>
                    <a:pt x="4443837" y="1569763"/>
                  </a:lnTo>
                  <a:lnTo>
                    <a:pt x="4475972" y="1594918"/>
                  </a:lnTo>
                  <a:lnTo>
                    <a:pt x="4476133" y="1596239"/>
                  </a:lnTo>
                  <a:lnTo>
                    <a:pt x="4485059" y="1668668"/>
                  </a:lnTo>
                  <a:lnTo>
                    <a:pt x="4458083" y="1703231"/>
                  </a:lnTo>
                  <a:lnTo>
                    <a:pt x="4421717" y="1999034"/>
                  </a:lnTo>
                  <a:lnTo>
                    <a:pt x="4273628" y="1965685"/>
                  </a:lnTo>
                  <a:lnTo>
                    <a:pt x="4269861" y="2016138"/>
                  </a:lnTo>
                  <a:lnTo>
                    <a:pt x="4219998" y="2032651"/>
                  </a:lnTo>
                  <a:lnTo>
                    <a:pt x="4206734" y="2082836"/>
                  </a:lnTo>
                  <a:lnTo>
                    <a:pt x="4245367" y="2141090"/>
                  </a:lnTo>
                  <a:lnTo>
                    <a:pt x="4205449" y="2179527"/>
                  </a:lnTo>
                  <a:lnTo>
                    <a:pt x="4130788" y="2167744"/>
                  </a:lnTo>
                  <a:lnTo>
                    <a:pt x="4080264" y="2173921"/>
                  </a:lnTo>
                  <a:lnTo>
                    <a:pt x="4079997" y="2173921"/>
                  </a:lnTo>
                  <a:lnTo>
                    <a:pt x="4014619" y="2171100"/>
                  </a:lnTo>
                  <a:lnTo>
                    <a:pt x="4017369" y="2106562"/>
                  </a:lnTo>
                  <a:lnTo>
                    <a:pt x="3937263" y="1960722"/>
                  </a:lnTo>
                  <a:lnTo>
                    <a:pt x="3989036" y="1882580"/>
                  </a:lnTo>
                  <a:lnTo>
                    <a:pt x="3966345" y="1856105"/>
                  </a:lnTo>
                  <a:lnTo>
                    <a:pt x="3928497" y="1798976"/>
                  </a:lnTo>
                  <a:lnTo>
                    <a:pt x="3904199" y="1770697"/>
                  </a:lnTo>
                  <a:lnTo>
                    <a:pt x="3887954" y="1721441"/>
                  </a:lnTo>
                  <a:lnTo>
                    <a:pt x="3865316" y="1703713"/>
                  </a:lnTo>
                  <a:lnTo>
                    <a:pt x="3851284" y="1674202"/>
                  </a:lnTo>
                  <a:lnTo>
                    <a:pt x="3826897" y="1645781"/>
                  </a:lnTo>
                  <a:lnTo>
                    <a:pt x="3815560" y="1553571"/>
                  </a:lnTo>
                  <a:lnTo>
                    <a:pt x="3771339" y="1362171"/>
                  </a:lnTo>
                  <a:lnTo>
                    <a:pt x="3794780" y="1309326"/>
                  </a:lnTo>
                  <a:lnTo>
                    <a:pt x="3751790" y="1284582"/>
                  </a:lnTo>
                  <a:lnTo>
                    <a:pt x="3751469" y="1283225"/>
                  </a:lnTo>
                  <a:lnTo>
                    <a:pt x="3730510" y="1194943"/>
                  </a:lnTo>
                  <a:lnTo>
                    <a:pt x="3682610" y="1182268"/>
                  </a:lnTo>
                  <a:lnTo>
                    <a:pt x="3665061" y="1285403"/>
                  </a:lnTo>
                  <a:lnTo>
                    <a:pt x="3608949" y="1333606"/>
                  </a:lnTo>
                  <a:lnTo>
                    <a:pt x="3600898" y="1356279"/>
                  </a:lnTo>
                  <a:lnTo>
                    <a:pt x="3579474" y="1358921"/>
                  </a:lnTo>
                  <a:lnTo>
                    <a:pt x="3560408" y="1371561"/>
                  </a:lnTo>
                  <a:lnTo>
                    <a:pt x="3550874" y="1372739"/>
                  </a:lnTo>
                  <a:lnTo>
                    <a:pt x="3533021" y="1395538"/>
                  </a:lnTo>
                  <a:lnTo>
                    <a:pt x="3522917" y="1396769"/>
                  </a:lnTo>
                  <a:lnTo>
                    <a:pt x="3496691" y="1430368"/>
                  </a:lnTo>
                  <a:lnTo>
                    <a:pt x="3477678" y="1443008"/>
                  </a:lnTo>
                  <a:lnTo>
                    <a:pt x="3450506" y="1477875"/>
                  </a:lnTo>
                  <a:lnTo>
                    <a:pt x="3440347" y="1479125"/>
                  </a:lnTo>
                  <a:lnTo>
                    <a:pt x="3413568" y="1513313"/>
                  </a:lnTo>
                  <a:lnTo>
                    <a:pt x="3393930" y="1515723"/>
                  </a:lnTo>
                  <a:lnTo>
                    <a:pt x="3386235" y="1537343"/>
                  </a:lnTo>
                  <a:lnTo>
                    <a:pt x="3251072" y="1553910"/>
                  </a:lnTo>
                  <a:lnTo>
                    <a:pt x="3215366" y="1526006"/>
                  </a:lnTo>
                  <a:lnTo>
                    <a:pt x="3190086" y="1487872"/>
                  </a:lnTo>
                  <a:lnTo>
                    <a:pt x="3167217" y="1470020"/>
                  </a:lnTo>
                  <a:lnTo>
                    <a:pt x="3143401" y="1442241"/>
                  </a:lnTo>
                  <a:lnTo>
                    <a:pt x="3120300" y="1424138"/>
                  </a:lnTo>
                  <a:lnTo>
                    <a:pt x="3119978" y="1423459"/>
                  </a:lnTo>
                  <a:lnTo>
                    <a:pt x="3106267" y="1394306"/>
                  </a:lnTo>
                  <a:lnTo>
                    <a:pt x="3080881" y="1356029"/>
                  </a:lnTo>
                  <a:lnTo>
                    <a:pt x="3080738" y="1355619"/>
                  </a:lnTo>
                  <a:lnTo>
                    <a:pt x="3064242" y="1305738"/>
                  </a:lnTo>
                  <a:lnTo>
                    <a:pt x="3064242" y="1305417"/>
                  </a:lnTo>
                  <a:lnTo>
                    <a:pt x="3051745" y="1203191"/>
                  </a:lnTo>
                  <a:lnTo>
                    <a:pt x="3051905" y="1202584"/>
                  </a:lnTo>
                  <a:lnTo>
                    <a:pt x="3087486" y="1075026"/>
                  </a:lnTo>
                  <a:lnTo>
                    <a:pt x="3067723" y="830817"/>
                  </a:lnTo>
                  <a:lnTo>
                    <a:pt x="3048496" y="759691"/>
                  </a:lnTo>
                  <a:lnTo>
                    <a:pt x="3093253" y="702312"/>
                  </a:lnTo>
                  <a:lnTo>
                    <a:pt x="3090914" y="599230"/>
                  </a:lnTo>
                  <a:lnTo>
                    <a:pt x="3174822" y="515500"/>
                  </a:lnTo>
                  <a:lnTo>
                    <a:pt x="3175394" y="515250"/>
                  </a:lnTo>
                  <a:lnTo>
                    <a:pt x="3243681" y="486329"/>
                  </a:lnTo>
                  <a:lnTo>
                    <a:pt x="3348334" y="422291"/>
                  </a:lnTo>
                  <a:lnTo>
                    <a:pt x="3410676" y="342364"/>
                  </a:lnTo>
                  <a:lnTo>
                    <a:pt x="3411301" y="342042"/>
                  </a:lnTo>
                  <a:lnTo>
                    <a:pt x="3488443" y="301713"/>
                  </a:lnTo>
                  <a:lnTo>
                    <a:pt x="3572940" y="240138"/>
                  </a:lnTo>
                  <a:lnTo>
                    <a:pt x="3704783" y="59343"/>
                  </a:lnTo>
                  <a:lnTo>
                    <a:pt x="3747862" y="0"/>
                  </a:lnTo>
                  <a:lnTo>
                    <a:pt x="0" y="0"/>
                  </a:lnTo>
                  <a:lnTo>
                    <a:pt x="0" y="6886871"/>
                  </a:lnTo>
                  <a:lnTo>
                    <a:pt x="295268" y="6886871"/>
                  </a:lnTo>
                  <a:close/>
                  <a:moveTo>
                    <a:pt x="7810613" y="6331166"/>
                  </a:moveTo>
                  <a:lnTo>
                    <a:pt x="7847247" y="6278875"/>
                  </a:lnTo>
                  <a:lnTo>
                    <a:pt x="7895538" y="6238884"/>
                  </a:lnTo>
                  <a:lnTo>
                    <a:pt x="8011582" y="6205481"/>
                  </a:lnTo>
                  <a:lnTo>
                    <a:pt x="8066926" y="6120145"/>
                  </a:lnTo>
                  <a:lnTo>
                    <a:pt x="8067818" y="6119752"/>
                  </a:lnTo>
                  <a:lnTo>
                    <a:pt x="8152227" y="6082154"/>
                  </a:lnTo>
                  <a:lnTo>
                    <a:pt x="8131892" y="6211944"/>
                  </a:lnTo>
                  <a:lnTo>
                    <a:pt x="8131892" y="6281142"/>
                  </a:lnTo>
                  <a:lnTo>
                    <a:pt x="8047841" y="6331041"/>
                  </a:lnTo>
                  <a:lnTo>
                    <a:pt x="8032363" y="6392490"/>
                  </a:lnTo>
                  <a:lnTo>
                    <a:pt x="7962629" y="6422840"/>
                  </a:lnTo>
                  <a:lnTo>
                    <a:pt x="7962023" y="6422840"/>
                  </a:lnTo>
                  <a:lnTo>
                    <a:pt x="7837178" y="6427285"/>
                  </a:lnTo>
                  <a:lnTo>
                    <a:pt x="7771658" y="6355642"/>
                  </a:lnTo>
                  <a:close/>
                  <a:moveTo>
                    <a:pt x="6533600" y="6220639"/>
                  </a:moveTo>
                  <a:lnTo>
                    <a:pt x="6561576" y="6227976"/>
                  </a:lnTo>
                  <a:lnTo>
                    <a:pt x="6552649" y="6252452"/>
                  </a:lnTo>
                  <a:lnTo>
                    <a:pt x="6546454" y="6266860"/>
                  </a:lnTo>
                  <a:lnTo>
                    <a:pt x="6520478" y="6295996"/>
                  </a:lnTo>
                  <a:lnTo>
                    <a:pt x="6501590" y="6314277"/>
                  </a:lnTo>
                  <a:lnTo>
                    <a:pt x="6480970" y="6308439"/>
                  </a:lnTo>
                  <a:lnTo>
                    <a:pt x="6480970" y="6292960"/>
                  </a:lnTo>
                  <a:lnTo>
                    <a:pt x="6493199" y="6266056"/>
                  </a:lnTo>
                  <a:close/>
                  <a:moveTo>
                    <a:pt x="6411987" y="5852870"/>
                  </a:moveTo>
                  <a:lnTo>
                    <a:pt x="6458600" y="5852870"/>
                  </a:lnTo>
                  <a:lnTo>
                    <a:pt x="6474668" y="5868117"/>
                  </a:lnTo>
                  <a:lnTo>
                    <a:pt x="6483594" y="5892664"/>
                  </a:lnTo>
                  <a:lnTo>
                    <a:pt x="6483594" y="5893129"/>
                  </a:lnTo>
                  <a:cubicBezTo>
                    <a:pt x="6483862" y="5898020"/>
                    <a:pt x="6486254" y="5941171"/>
                    <a:pt x="6483434" y="5949651"/>
                  </a:cubicBezTo>
                  <a:lnTo>
                    <a:pt x="6483201" y="5950329"/>
                  </a:lnTo>
                  <a:lnTo>
                    <a:pt x="6458654" y="5976394"/>
                  </a:lnTo>
                  <a:lnTo>
                    <a:pt x="6423287" y="5961933"/>
                  </a:lnTo>
                  <a:lnTo>
                    <a:pt x="6416039" y="5941688"/>
                  </a:lnTo>
                  <a:lnTo>
                    <a:pt x="6429804" y="5924514"/>
                  </a:lnTo>
                  <a:lnTo>
                    <a:pt x="6435731" y="5902769"/>
                  </a:lnTo>
                  <a:lnTo>
                    <a:pt x="6411362" y="5894450"/>
                  </a:lnTo>
                  <a:close/>
                  <a:moveTo>
                    <a:pt x="6391777" y="6125733"/>
                  </a:moveTo>
                  <a:lnTo>
                    <a:pt x="6378887" y="6177810"/>
                  </a:lnTo>
                  <a:lnTo>
                    <a:pt x="6321758" y="6164188"/>
                  </a:lnTo>
                  <a:lnTo>
                    <a:pt x="6306851" y="6119092"/>
                  </a:lnTo>
                  <a:close/>
                  <a:moveTo>
                    <a:pt x="6372693" y="6274179"/>
                  </a:moveTo>
                  <a:lnTo>
                    <a:pt x="6372693" y="6295014"/>
                  </a:lnTo>
                  <a:lnTo>
                    <a:pt x="6345699" y="6303940"/>
                  </a:lnTo>
                  <a:lnTo>
                    <a:pt x="6330917" y="6275840"/>
                  </a:lnTo>
                  <a:lnTo>
                    <a:pt x="6346842" y="6265128"/>
                  </a:lnTo>
                  <a:close/>
                  <a:moveTo>
                    <a:pt x="6255185" y="6264985"/>
                  </a:moveTo>
                  <a:lnTo>
                    <a:pt x="6255185" y="6202804"/>
                  </a:lnTo>
                  <a:lnTo>
                    <a:pt x="6319277" y="6221924"/>
                  </a:lnTo>
                  <a:lnTo>
                    <a:pt x="6314421" y="6264985"/>
                  </a:lnTo>
                  <a:close/>
                  <a:moveTo>
                    <a:pt x="6303906" y="6331880"/>
                  </a:moveTo>
                  <a:lnTo>
                    <a:pt x="6301085" y="6357981"/>
                  </a:lnTo>
                  <a:lnTo>
                    <a:pt x="6282572" y="6373262"/>
                  </a:lnTo>
                  <a:lnTo>
                    <a:pt x="6248383" y="6358195"/>
                  </a:lnTo>
                  <a:lnTo>
                    <a:pt x="6255667" y="6327238"/>
                  </a:lnTo>
                  <a:lnTo>
                    <a:pt x="6281518" y="6317830"/>
                  </a:lnTo>
                  <a:close/>
                  <a:moveTo>
                    <a:pt x="6347716" y="6118163"/>
                  </a:moveTo>
                  <a:lnTo>
                    <a:pt x="6265593" y="6119271"/>
                  </a:lnTo>
                  <a:lnTo>
                    <a:pt x="6250507" y="6074639"/>
                  </a:lnTo>
                  <a:lnTo>
                    <a:pt x="6252525" y="6073264"/>
                  </a:lnTo>
                  <a:cubicBezTo>
                    <a:pt x="6260702" y="6067694"/>
                    <a:pt x="6280411" y="6054893"/>
                    <a:pt x="6286713" y="6056107"/>
                  </a:cubicBezTo>
                  <a:cubicBezTo>
                    <a:pt x="6287552" y="6056250"/>
                    <a:pt x="6288338" y="6056625"/>
                    <a:pt x="6288980" y="6057196"/>
                  </a:cubicBezTo>
                  <a:lnTo>
                    <a:pt x="6313617" y="6070479"/>
                  </a:lnTo>
                  <a:close/>
                  <a:moveTo>
                    <a:pt x="6216998" y="5569368"/>
                  </a:moveTo>
                  <a:lnTo>
                    <a:pt x="6258988" y="5550390"/>
                  </a:lnTo>
                  <a:lnTo>
                    <a:pt x="6290391" y="5579383"/>
                  </a:lnTo>
                  <a:lnTo>
                    <a:pt x="6286695" y="5617410"/>
                  </a:lnTo>
                  <a:lnTo>
                    <a:pt x="6259630" y="5642671"/>
                  </a:lnTo>
                  <a:lnTo>
                    <a:pt x="6217498" y="5642671"/>
                  </a:lnTo>
                  <a:lnTo>
                    <a:pt x="6185220" y="5605716"/>
                  </a:lnTo>
                  <a:close/>
                  <a:moveTo>
                    <a:pt x="6200413" y="6624059"/>
                  </a:moveTo>
                  <a:lnTo>
                    <a:pt x="6246830" y="6666067"/>
                  </a:lnTo>
                  <a:lnTo>
                    <a:pt x="6297496" y="6660068"/>
                  </a:lnTo>
                  <a:lnTo>
                    <a:pt x="6398454" y="6626969"/>
                  </a:lnTo>
                  <a:lnTo>
                    <a:pt x="6507195" y="6643983"/>
                  </a:lnTo>
                  <a:lnTo>
                    <a:pt x="6594174" y="6605171"/>
                  </a:lnTo>
                  <a:lnTo>
                    <a:pt x="6663212" y="6628147"/>
                  </a:lnTo>
                  <a:lnTo>
                    <a:pt x="6609421" y="6691060"/>
                  </a:lnTo>
                  <a:lnTo>
                    <a:pt x="6483362" y="6744798"/>
                  </a:lnTo>
                  <a:lnTo>
                    <a:pt x="6482916" y="6744798"/>
                  </a:lnTo>
                  <a:lnTo>
                    <a:pt x="6382779" y="6757063"/>
                  </a:lnTo>
                  <a:lnTo>
                    <a:pt x="6302442" y="6728498"/>
                  </a:lnTo>
                  <a:lnTo>
                    <a:pt x="6139285" y="6743351"/>
                  </a:lnTo>
                  <a:lnTo>
                    <a:pt x="6129305" y="6640341"/>
                  </a:lnTo>
                  <a:close/>
                  <a:moveTo>
                    <a:pt x="4131948" y="6217657"/>
                  </a:moveTo>
                  <a:lnTo>
                    <a:pt x="4163941" y="6259719"/>
                  </a:lnTo>
                  <a:lnTo>
                    <a:pt x="4220266" y="6212319"/>
                  </a:lnTo>
                  <a:lnTo>
                    <a:pt x="4291320" y="6247329"/>
                  </a:lnTo>
                  <a:lnTo>
                    <a:pt x="4353287" y="6257130"/>
                  </a:lnTo>
                  <a:lnTo>
                    <a:pt x="4497199" y="6204160"/>
                  </a:lnTo>
                  <a:lnTo>
                    <a:pt x="4581964" y="6164152"/>
                  </a:lnTo>
                  <a:lnTo>
                    <a:pt x="4660713" y="6165242"/>
                  </a:lnTo>
                  <a:lnTo>
                    <a:pt x="4669390" y="6209998"/>
                  </a:lnTo>
                  <a:lnTo>
                    <a:pt x="4611814" y="6270698"/>
                  </a:lnTo>
                  <a:lnTo>
                    <a:pt x="4591658" y="6343894"/>
                  </a:lnTo>
                  <a:lnTo>
                    <a:pt x="4583875" y="6377619"/>
                  </a:lnTo>
                  <a:lnTo>
                    <a:pt x="4630542" y="6445977"/>
                  </a:lnTo>
                  <a:lnTo>
                    <a:pt x="4611386" y="6486503"/>
                  </a:lnTo>
                  <a:lnTo>
                    <a:pt x="4605673" y="6545596"/>
                  </a:lnTo>
                  <a:lnTo>
                    <a:pt x="4492057" y="6545596"/>
                  </a:lnTo>
                  <a:lnTo>
                    <a:pt x="4442605" y="6474184"/>
                  </a:lnTo>
                  <a:lnTo>
                    <a:pt x="4350663" y="6474381"/>
                  </a:lnTo>
                  <a:lnTo>
                    <a:pt x="4263774" y="6436015"/>
                  </a:lnTo>
                  <a:lnTo>
                    <a:pt x="4219141" y="6391544"/>
                  </a:lnTo>
                  <a:lnTo>
                    <a:pt x="4183561" y="6382724"/>
                  </a:lnTo>
                  <a:lnTo>
                    <a:pt x="4153514" y="6360676"/>
                  </a:lnTo>
                  <a:lnTo>
                    <a:pt x="4113685" y="6370656"/>
                  </a:lnTo>
                  <a:lnTo>
                    <a:pt x="4079371" y="6349911"/>
                  </a:lnTo>
                  <a:lnTo>
                    <a:pt x="4062465" y="6286141"/>
                  </a:lnTo>
                  <a:close/>
                  <a:moveTo>
                    <a:pt x="3349584" y="5229093"/>
                  </a:moveTo>
                  <a:lnTo>
                    <a:pt x="3448988" y="5197350"/>
                  </a:lnTo>
                  <a:lnTo>
                    <a:pt x="3452059" y="5128349"/>
                  </a:lnTo>
                  <a:lnTo>
                    <a:pt x="3481480" y="5124350"/>
                  </a:lnTo>
                  <a:lnTo>
                    <a:pt x="3495923" y="5156807"/>
                  </a:lnTo>
                  <a:lnTo>
                    <a:pt x="3495923" y="5157164"/>
                  </a:lnTo>
                  <a:lnTo>
                    <a:pt x="3515222" y="5252123"/>
                  </a:lnTo>
                  <a:lnTo>
                    <a:pt x="3503207" y="5323820"/>
                  </a:lnTo>
                  <a:lnTo>
                    <a:pt x="3489710" y="5404515"/>
                  </a:lnTo>
                  <a:lnTo>
                    <a:pt x="3489603" y="5404836"/>
                  </a:lnTo>
                  <a:lnTo>
                    <a:pt x="3447203" y="5513292"/>
                  </a:lnTo>
                  <a:lnTo>
                    <a:pt x="3413532" y="5517862"/>
                  </a:lnTo>
                  <a:lnTo>
                    <a:pt x="3354475" y="5469445"/>
                  </a:lnTo>
                  <a:lnTo>
                    <a:pt x="3349351" y="5424420"/>
                  </a:lnTo>
                  <a:lnTo>
                    <a:pt x="3322304" y="5316661"/>
                  </a:lnTo>
                  <a:lnTo>
                    <a:pt x="3310932" y="5259692"/>
                  </a:lnTo>
                  <a:close/>
                  <a:moveTo>
                    <a:pt x="3248840" y="5636512"/>
                  </a:moveTo>
                  <a:lnTo>
                    <a:pt x="3331463" y="5623319"/>
                  </a:lnTo>
                  <a:lnTo>
                    <a:pt x="3419799" y="5559906"/>
                  </a:lnTo>
                  <a:lnTo>
                    <a:pt x="3483373" y="5551265"/>
                  </a:lnTo>
                  <a:lnTo>
                    <a:pt x="3544072" y="5638440"/>
                  </a:lnTo>
                  <a:lnTo>
                    <a:pt x="3532771" y="5758840"/>
                  </a:lnTo>
                  <a:lnTo>
                    <a:pt x="3530986" y="5845783"/>
                  </a:lnTo>
                  <a:lnTo>
                    <a:pt x="3532771" y="5964362"/>
                  </a:lnTo>
                  <a:lnTo>
                    <a:pt x="3498690" y="6033131"/>
                  </a:lnTo>
                  <a:lnTo>
                    <a:pt x="3448292" y="6021722"/>
                  </a:lnTo>
                  <a:lnTo>
                    <a:pt x="3435259" y="6091045"/>
                  </a:lnTo>
                  <a:lnTo>
                    <a:pt x="3352244" y="6119610"/>
                  </a:lnTo>
                  <a:lnTo>
                    <a:pt x="3289420" y="6063141"/>
                  </a:lnTo>
                  <a:lnTo>
                    <a:pt x="3284421" y="6040182"/>
                  </a:lnTo>
                  <a:lnTo>
                    <a:pt x="3266032" y="5976394"/>
                  </a:lnTo>
                  <a:lnTo>
                    <a:pt x="3266032" y="5975716"/>
                  </a:lnTo>
                  <a:lnTo>
                    <a:pt x="3282957" y="5847175"/>
                  </a:lnTo>
                  <a:lnTo>
                    <a:pt x="3295454" y="5760250"/>
                  </a:lnTo>
                  <a:lnTo>
                    <a:pt x="3244770" y="5705335"/>
                  </a:lnTo>
                  <a:close/>
                  <a:moveTo>
                    <a:pt x="2441374" y="5760571"/>
                  </a:moveTo>
                  <a:lnTo>
                    <a:pt x="2486774" y="5759500"/>
                  </a:lnTo>
                  <a:lnTo>
                    <a:pt x="2544974" y="5796474"/>
                  </a:lnTo>
                  <a:lnTo>
                    <a:pt x="2530478" y="5836392"/>
                  </a:lnTo>
                  <a:lnTo>
                    <a:pt x="2502235" y="5833232"/>
                  </a:lnTo>
                  <a:lnTo>
                    <a:pt x="2440125" y="5803097"/>
                  </a:lnTo>
                  <a:close/>
                  <a:moveTo>
                    <a:pt x="2211269" y="5832518"/>
                  </a:moveTo>
                  <a:lnTo>
                    <a:pt x="2298516" y="5786619"/>
                  </a:lnTo>
                  <a:lnTo>
                    <a:pt x="2389119" y="5785262"/>
                  </a:lnTo>
                  <a:lnTo>
                    <a:pt x="2389119" y="5886505"/>
                  </a:lnTo>
                  <a:lnTo>
                    <a:pt x="2325188" y="5932298"/>
                  </a:lnTo>
                  <a:lnTo>
                    <a:pt x="2251474" y="5916355"/>
                  </a:lnTo>
                  <a:lnTo>
                    <a:pt x="2247475" y="5896914"/>
                  </a:lnTo>
                  <a:lnTo>
                    <a:pt x="2209020" y="5896914"/>
                  </a:lnTo>
                  <a:lnTo>
                    <a:pt x="2152659" y="5857637"/>
                  </a:lnTo>
                  <a:close/>
                  <a:moveTo>
                    <a:pt x="1975076" y="5941992"/>
                  </a:moveTo>
                  <a:lnTo>
                    <a:pt x="1997250" y="5926889"/>
                  </a:lnTo>
                  <a:lnTo>
                    <a:pt x="2043435" y="5926889"/>
                  </a:lnTo>
                  <a:lnTo>
                    <a:pt x="2043435" y="5994194"/>
                  </a:lnTo>
                  <a:lnTo>
                    <a:pt x="2003694" y="6032309"/>
                  </a:lnTo>
                  <a:lnTo>
                    <a:pt x="1952314" y="5996157"/>
                  </a:lnTo>
                  <a:close/>
                  <a:moveTo>
                    <a:pt x="1570763" y="1806492"/>
                  </a:moveTo>
                  <a:lnTo>
                    <a:pt x="1599203" y="1782033"/>
                  </a:lnTo>
                  <a:lnTo>
                    <a:pt x="1612110" y="1718370"/>
                  </a:lnTo>
                  <a:lnTo>
                    <a:pt x="1669240" y="1680397"/>
                  </a:lnTo>
                  <a:lnTo>
                    <a:pt x="1590330" y="1706552"/>
                  </a:lnTo>
                  <a:lnTo>
                    <a:pt x="1573566" y="1662973"/>
                  </a:lnTo>
                  <a:lnTo>
                    <a:pt x="1631034" y="1542127"/>
                  </a:lnTo>
                  <a:lnTo>
                    <a:pt x="1623590" y="1481427"/>
                  </a:lnTo>
                  <a:lnTo>
                    <a:pt x="1644478" y="1394306"/>
                  </a:lnTo>
                  <a:lnTo>
                    <a:pt x="1712318" y="1365616"/>
                  </a:lnTo>
                  <a:lnTo>
                    <a:pt x="1703392" y="1293741"/>
                  </a:lnTo>
                  <a:lnTo>
                    <a:pt x="1735331" y="1289813"/>
                  </a:lnTo>
                  <a:lnTo>
                    <a:pt x="1750666" y="1259267"/>
                  </a:lnTo>
                  <a:lnTo>
                    <a:pt x="1745203" y="1214849"/>
                  </a:lnTo>
                  <a:lnTo>
                    <a:pt x="1802779" y="1230060"/>
                  </a:lnTo>
                  <a:lnTo>
                    <a:pt x="2024154" y="1244788"/>
                  </a:lnTo>
                  <a:lnTo>
                    <a:pt x="2017120" y="1279637"/>
                  </a:lnTo>
                  <a:lnTo>
                    <a:pt x="2020940" y="1310397"/>
                  </a:lnTo>
                  <a:lnTo>
                    <a:pt x="2012371" y="1334570"/>
                  </a:lnTo>
                  <a:lnTo>
                    <a:pt x="1971791" y="1339533"/>
                  </a:lnTo>
                  <a:lnTo>
                    <a:pt x="1964150" y="1361082"/>
                  </a:lnTo>
                  <a:lnTo>
                    <a:pt x="1953439" y="1362421"/>
                  </a:lnTo>
                  <a:lnTo>
                    <a:pt x="1944994" y="1373132"/>
                  </a:lnTo>
                  <a:lnTo>
                    <a:pt x="1924910" y="1386522"/>
                  </a:lnTo>
                  <a:lnTo>
                    <a:pt x="1915323" y="1387682"/>
                  </a:lnTo>
                  <a:lnTo>
                    <a:pt x="1906396" y="1399108"/>
                  </a:lnTo>
                  <a:lnTo>
                    <a:pt x="1866442" y="1404018"/>
                  </a:lnTo>
                  <a:lnTo>
                    <a:pt x="1858819" y="1425566"/>
                  </a:lnTo>
                  <a:lnTo>
                    <a:pt x="1837056" y="1428226"/>
                  </a:lnTo>
                  <a:lnTo>
                    <a:pt x="1860051" y="1439795"/>
                  </a:lnTo>
                  <a:lnTo>
                    <a:pt x="1898506" y="1447579"/>
                  </a:lnTo>
                  <a:lnTo>
                    <a:pt x="1809956" y="1512134"/>
                  </a:lnTo>
                  <a:lnTo>
                    <a:pt x="1819418" y="1526417"/>
                  </a:lnTo>
                  <a:lnTo>
                    <a:pt x="1926535" y="1482499"/>
                  </a:lnTo>
                  <a:lnTo>
                    <a:pt x="1938353" y="1491764"/>
                  </a:lnTo>
                  <a:lnTo>
                    <a:pt x="1958634" y="1489283"/>
                  </a:lnTo>
                  <a:lnTo>
                    <a:pt x="1970060" y="1498209"/>
                  </a:lnTo>
                  <a:lnTo>
                    <a:pt x="1990341" y="1495710"/>
                  </a:lnTo>
                  <a:lnTo>
                    <a:pt x="2001731" y="1504636"/>
                  </a:lnTo>
                  <a:lnTo>
                    <a:pt x="2053111" y="1498334"/>
                  </a:lnTo>
                  <a:lnTo>
                    <a:pt x="2065733" y="1517419"/>
                  </a:lnTo>
                  <a:lnTo>
                    <a:pt x="2116649" y="1511188"/>
                  </a:lnTo>
                  <a:lnTo>
                    <a:pt x="2145214" y="1563301"/>
                  </a:lnTo>
                  <a:lnTo>
                    <a:pt x="1974362" y="1782283"/>
                  </a:lnTo>
                  <a:lnTo>
                    <a:pt x="1911877" y="1808759"/>
                  </a:lnTo>
                  <a:lnTo>
                    <a:pt x="1960401" y="1830361"/>
                  </a:lnTo>
                  <a:lnTo>
                    <a:pt x="1976469" y="1854570"/>
                  </a:lnTo>
                  <a:lnTo>
                    <a:pt x="1881724" y="1866209"/>
                  </a:lnTo>
                  <a:lnTo>
                    <a:pt x="1868656" y="1892185"/>
                  </a:lnTo>
                  <a:lnTo>
                    <a:pt x="1892668" y="1889257"/>
                  </a:lnTo>
                  <a:lnTo>
                    <a:pt x="1934426" y="1873190"/>
                  </a:lnTo>
                  <a:lnTo>
                    <a:pt x="1949440" y="1904736"/>
                  </a:lnTo>
                  <a:lnTo>
                    <a:pt x="2046220" y="2017441"/>
                  </a:lnTo>
                  <a:lnTo>
                    <a:pt x="2035776" y="2102224"/>
                  </a:lnTo>
                  <a:lnTo>
                    <a:pt x="2038150" y="2121523"/>
                  </a:lnTo>
                  <a:lnTo>
                    <a:pt x="2064930" y="2170047"/>
                  </a:lnTo>
                  <a:lnTo>
                    <a:pt x="2062394" y="2230032"/>
                  </a:lnTo>
                  <a:lnTo>
                    <a:pt x="2112204" y="2233817"/>
                  </a:lnTo>
                  <a:lnTo>
                    <a:pt x="2147695" y="2261596"/>
                  </a:lnTo>
                  <a:lnTo>
                    <a:pt x="2148017" y="2262292"/>
                  </a:lnTo>
                  <a:lnTo>
                    <a:pt x="2203771" y="2379710"/>
                  </a:lnTo>
                  <a:lnTo>
                    <a:pt x="2218875" y="2502591"/>
                  </a:lnTo>
                  <a:lnTo>
                    <a:pt x="2188525" y="2467350"/>
                  </a:lnTo>
                  <a:lnTo>
                    <a:pt x="2158461" y="2461226"/>
                  </a:lnTo>
                  <a:lnTo>
                    <a:pt x="2140608" y="2463404"/>
                  </a:lnTo>
                  <a:lnTo>
                    <a:pt x="2161014" y="2464957"/>
                  </a:lnTo>
                  <a:lnTo>
                    <a:pt x="2208181" y="2501841"/>
                  </a:lnTo>
                  <a:lnTo>
                    <a:pt x="2244404" y="2624544"/>
                  </a:lnTo>
                  <a:lnTo>
                    <a:pt x="2204700" y="2651145"/>
                  </a:lnTo>
                  <a:lnTo>
                    <a:pt x="2180259" y="2672157"/>
                  </a:lnTo>
                  <a:lnTo>
                    <a:pt x="2230247" y="2703007"/>
                  </a:lnTo>
                  <a:lnTo>
                    <a:pt x="2257312" y="2679799"/>
                  </a:lnTo>
                  <a:lnTo>
                    <a:pt x="2341773" y="2680031"/>
                  </a:lnTo>
                  <a:lnTo>
                    <a:pt x="2387959" y="2706578"/>
                  </a:lnTo>
                  <a:lnTo>
                    <a:pt x="2406187" y="2768313"/>
                  </a:lnTo>
                  <a:lnTo>
                    <a:pt x="2387977" y="2874983"/>
                  </a:lnTo>
                  <a:lnTo>
                    <a:pt x="2343577" y="2944002"/>
                  </a:lnTo>
                  <a:lnTo>
                    <a:pt x="2293339" y="2950162"/>
                  </a:lnTo>
                  <a:lnTo>
                    <a:pt x="2278253" y="2992616"/>
                  </a:lnTo>
                  <a:lnTo>
                    <a:pt x="2225034" y="3017949"/>
                  </a:lnTo>
                  <a:lnTo>
                    <a:pt x="2272273" y="3038997"/>
                  </a:lnTo>
                  <a:lnTo>
                    <a:pt x="2302319" y="3035302"/>
                  </a:lnTo>
                  <a:lnTo>
                    <a:pt x="2337685" y="3042443"/>
                  </a:lnTo>
                  <a:lnTo>
                    <a:pt x="2330544" y="3077756"/>
                  </a:lnTo>
                  <a:lnTo>
                    <a:pt x="2322403" y="3100714"/>
                  </a:lnTo>
                  <a:lnTo>
                    <a:pt x="2282020" y="3116229"/>
                  </a:lnTo>
                  <a:lnTo>
                    <a:pt x="2243601" y="3141758"/>
                  </a:lnTo>
                  <a:lnTo>
                    <a:pt x="2212716" y="3145543"/>
                  </a:lnTo>
                  <a:lnTo>
                    <a:pt x="2162924" y="3162057"/>
                  </a:lnTo>
                  <a:lnTo>
                    <a:pt x="2109365" y="3157951"/>
                  </a:lnTo>
                  <a:lnTo>
                    <a:pt x="2086853" y="3140348"/>
                  </a:lnTo>
                  <a:lnTo>
                    <a:pt x="1994875" y="3151631"/>
                  </a:lnTo>
                  <a:lnTo>
                    <a:pt x="1979379" y="3128244"/>
                  </a:lnTo>
                  <a:lnTo>
                    <a:pt x="1989734" y="3121352"/>
                  </a:lnTo>
                  <a:lnTo>
                    <a:pt x="1942066" y="3127190"/>
                  </a:lnTo>
                  <a:lnTo>
                    <a:pt x="1890543" y="3123263"/>
                  </a:lnTo>
                  <a:lnTo>
                    <a:pt x="1851517" y="3138295"/>
                  </a:lnTo>
                  <a:lnTo>
                    <a:pt x="1823916" y="3141687"/>
                  </a:lnTo>
                  <a:lnTo>
                    <a:pt x="1825238" y="3152398"/>
                  </a:lnTo>
                  <a:lnTo>
                    <a:pt x="1759557" y="3149542"/>
                  </a:lnTo>
                  <a:lnTo>
                    <a:pt x="1727422" y="3153487"/>
                  </a:lnTo>
                  <a:lnTo>
                    <a:pt x="1701999" y="3115318"/>
                  </a:lnTo>
                  <a:lnTo>
                    <a:pt x="1642728" y="3122584"/>
                  </a:lnTo>
                  <a:lnTo>
                    <a:pt x="1602738" y="3117657"/>
                  </a:lnTo>
                  <a:lnTo>
                    <a:pt x="1587170" y="3148721"/>
                  </a:lnTo>
                  <a:lnTo>
                    <a:pt x="1560569" y="3195138"/>
                  </a:lnTo>
                  <a:lnTo>
                    <a:pt x="1495407" y="3181927"/>
                  </a:lnTo>
                  <a:lnTo>
                    <a:pt x="1473983" y="3184551"/>
                  </a:lnTo>
                  <a:lnTo>
                    <a:pt x="1438510" y="3147650"/>
                  </a:lnTo>
                  <a:lnTo>
                    <a:pt x="1390021" y="3153594"/>
                  </a:lnTo>
                  <a:lnTo>
                    <a:pt x="1342533" y="3179678"/>
                  </a:lnTo>
                  <a:lnTo>
                    <a:pt x="1303953" y="3205314"/>
                  </a:lnTo>
                  <a:lnTo>
                    <a:pt x="1289831" y="3207100"/>
                  </a:lnTo>
                  <a:lnTo>
                    <a:pt x="1287189" y="3184944"/>
                  </a:lnTo>
                  <a:lnTo>
                    <a:pt x="1278423" y="3178124"/>
                  </a:lnTo>
                  <a:lnTo>
                    <a:pt x="1249252" y="3191996"/>
                  </a:lnTo>
                  <a:lnTo>
                    <a:pt x="1222330" y="3170948"/>
                  </a:lnTo>
                  <a:lnTo>
                    <a:pt x="1251805" y="3133099"/>
                  </a:lnTo>
                  <a:lnTo>
                    <a:pt x="1293241" y="3128011"/>
                  </a:lnTo>
                  <a:lnTo>
                    <a:pt x="1321538" y="3114604"/>
                  </a:lnTo>
                  <a:lnTo>
                    <a:pt x="1470502" y="2982493"/>
                  </a:lnTo>
                  <a:lnTo>
                    <a:pt x="1516919" y="2976798"/>
                  </a:lnTo>
                  <a:lnTo>
                    <a:pt x="1503208" y="2956178"/>
                  </a:lnTo>
                  <a:lnTo>
                    <a:pt x="1552536" y="2962391"/>
                  </a:lnTo>
                  <a:lnTo>
                    <a:pt x="1626893" y="2984028"/>
                  </a:lnTo>
                  <a:lnTo>
                    <a:pt x="1694983" y="2985349"/>
                  </a:lnTo>
                  <a:lnTo>
                    <a:pt x="1691413" y="2956785"/>
                  </a:lnTo>
                  <a:lnTo>
                    <a:pt x="1720674" y="2931613"/>
                  </a:lnTo>
                  <a:lnTo>
                    <a:pt x="1777803" y="2885195"/>
                  </a:lnTo>
                  <a:lnTo>
                    <a:pt x="1660795" y="2935005"/>
                  </a:lnTo>
                  <a:lnTo>
                    <a:pt x="1603809" y="2909600"/>
                  </a:lnTo>
                  <a:lnTo>
                    <a:pt x="1588634" y="2870181"/>
                  </a:lnTo>
                  <a:lnTo>
                    <a:pt x="1492497" y="2821729"/>
                  </a:lnTo>
                  <a:lnTo>
                    <a:pt x="1445222" y="2847758"/>
                  </a:lnTo>
                  <a:lnTo>
                    <a:pt x="1402376" y="2853006"/>
                  </a:lnTo>
                  <a:lnTo>
                    <a:pt x="1352245" y="2794628"/>
                  </a:lnTo>
                  <a:lnTo>
                    <a:pt x="1357851" y="2748978"/>
                  </a:lnTo>
                  <a:lnTo>
                    <a:pt x="1520401" y="2718628"/>
                  </a:lnTo>
                  <a:lnTo>
                    <a:pt x="1601667" y="2648663"/>
                  </a:lnTo>
                  <a:lnTo>
                    <a:pt x="1588152" y="2620259"/>
                  </a:lnTo>
                  <a:lnTo>
                    <a:pt x="1603505" y="2589624"/>
                  </a:lnTo>
                  <a:lnTo>
                    <a:pt x="1577530" y="2584268"/>
                  </a:lnTo>
                  <a:lnTo>
                    <a:pt x="1549626" y="2608298"/>
                  </a:lnTo>
                  <a:lnTo>
                    <a:pt x="1492943" y="2603995"/>
                  </a:lnTo>
                  <a:lnTo>
                    <a:pt x="1498674" y="2557096"/>
                  </a:lnTo>
                  <a:lnTo>
                    <a:pt x="1597132" y="2502966"/>
                  </a:lnTo>
                  <a:lnTo>
                    <a:pt x="1597650" y="2502859"/>
                  </a:lnTo>
                  <a:lnTo>
                    <a:pt x="1761146" y="2472349"/>
                  </a:lnTo>
                  <a:lnTo>
                    <a:pt x="1773857" y="2499128"/>
                  </a:lnTo>
                  <a:lnTo>
                    <a:pt x="1787354" y="2481829"/>
                  </a:lnTo>
                  <a:lnTo>
                    <a:pt x="1771286" y="2433037"/>
                  </a:lnTo>
                  <a:lnTo>
                    <a:pt x="1786140" y="2376675"/>
                  </a:lnTo>
                  <a:lnTo>
                    <a:pt x="1826434" y="2371730"/>
                  </a:lnTo>
                  <a:lnTo>
                    <a:pt x="1837038" y="2304104"/>
                  </a:lnTo>
                  <a:lnTo>
                    <a:pt x="1775839" y="2301479"/>
                  </a:lnTo>
                  <a:lnTo>
                    <a:pt x="1769215" y="2248242"/>
                  </a:lnTo>
                  <a:lnTo>
                    <a:pt x="1752487" y="2197683"/>
                  </a:lnTo>
                  <a:lnTo>
                    <a:pt x="1779463" y="2150659"/>
                  </a:lnTo>
                  <a:lnTo>
                    <a:pt x="1809313" y="2146999"/>
                  </a:lnTo>
                  <a:lnTo>
                    <a:pt x="1821596" y="2100439"/>
                  </a:lnTo>
                  <a:lnTo>
                    <a:pt x="1713747" y="2113685"/>
                  </a:lnTo>
                  <a:lnTo>
                    <a:pt x="1684022" y="2098725"/>
                  </a:lnTo>
                  <a:lnTo>
                    <a:pt x="1678898" y="2140554"/>
                  </a:lnTo>
                  <a:lnTo>
                    <a:pt x="1641282" y="2121612"/>
                  </a:lnTo>
                  <a:lnTo>
                    <a:pt x="1622180" y="2099368"/>
                  </a:lnTo>
                  <a:lnTo>
                    <a:pt x="1619502" y="2161585"/>
                  </a:lnTo>
                  <a:lnTo>
                    <a:pt x="1589045" y="2126057"/>
                  </a:lnTo>
                  <a:lnTo>
                    <a:pt x="1603630" y="2070714"/>
                  </a:lnTo>
                  <a:lnTo>
                    <a:pt x="1672221" y="1959383"/>
                  </a:lnTo>
                  <a:lnTo>
                    <a:pt x="1677023" y="1920000"/>
                  </a:lnTo>
                  <a:lnTo>
                    <a:pt x="1643692" y="1893935"/>
                  </a:lnTo>
                  <a:lnTo>
                    <a:pt x="1618948" y="1841858"/>
                  </a:lnTo>
                  <a:lnTo>
                    <a:pt x="1598346" y="1899969"/>
                  </a:lnTo>
                  <a:lnTo>
                    <a:pt x="1562640" y="1930730"/>
                  </a:lnTo>
                  <a:lnTo>
                    <a:pt x="1577172" y="1858551"/>
                  </a:lnTo>
                  <a:close/>
                  <a:moveTo>
                    <a:pt x="733019" y="2505484"/>
                  </a:moveTo>
                  <a:lnTo>
                    <a:pt x="770225" y="2480775"/>
                  </a:lnTo>
                  <a:lnTo>
                    <a:pt x="888053" y="2441785"/>
                  </a:lnTo>
                  <a:lnTo>
                    <a:pt x="848581" y="2446623"/>
                  </a:lnTo>
                  <a:lnTo>
                    <a:pt x="788310" y="2419843"/>
                  </a:lnTo>
                  <a:lnTo>
                    <a:pt x="907263" y="2329276"/>
                  </a:lnTo>
                  <a:lnTo>
                    <a:pt x="937898" y="2344701"/>
                  </a:lnTo>
                  <a:lnTo>
                    <a:pt x="942022" y="2311084"/>
                  </a:lnTo>
                  <a:lnTo>
                    <a:pt x="834013" y="2313494"/>
                  </a:lnTo>
                  <a:lnTo>
                    <a:pt x="865148" y="2286715"/>
                  </a:lnTo>
                  <a:lnTo>
                    <a:pt x="835994" y="2271968"/>
                  </a:lnTo>
                  <a:lnTo>
                    <a:pt x="799985" y="2243797"/>
                  </a:lnTo>
                  <a:lnTo>
                    <a:pt x="816481" y="2197379"/>
                  </a:lnTo>
                  <a:lnTo>
                    <a:pt x="866166" y="2170065"/>
                  </a:lnTo>
                  <a:lnTo>
                    <a:pt x="897355" y="2158085"/>
                  </a:lnTo>
                  <a:lnTo>
                    <a:pt x="862631" y="2145731"/>
                  </a:lnTo>
                  <a:lnTo>
                    <a:pt x="804413" y="2130289"/>
                  </a:lnTo>
                  <a:lnTo>
                    <a:pt x="873003" y="2054860"/>
                  </a:lnTo>
                  <a:lnTo>
                    <a:pt x="1014969" y="2110204"/>
                  </a:lnTo>
                  <a:lnTo>
                    <a:pt x="1053121" y="2105527"/>
                  </a:lnTo>
                  <a:lnTo>
                    <a:pt x="1079204" y="2060216"/>
                  </a:lnTo>
                  <a:lnTo>
                    <a:pt x="1132762" y="2084032"/>
                  </a:lnTo>
                  <a:lnTo>
                    <a:pt x="1137814" y="2058859"/>
                  </a:lnTo>
                  <a:lnTo>
                    <a:pt x="1061047" y="2026724"/>
                  </a:lnTo>
                  <a:lnTo>
                    <a:pt x="1079650" y="1989680"/>
                  </a:lnTo>
                  <a:lnTo>
                    <a:pt x="1138029" y="1961901"/>
                  </a:lnTo>
                  <a:lnTo>
                    <a:pt x="1154721" y="1928569"/>
                  </a:lnTo>
                  <a:lnTo>
                    <a:pt x="1329679" y="1885883"/>
                  </a:lnTo>
                  <a:lnTo>
                    <a:pt x="1336659" y="1942620"/>
                  </a:lnTo>
                  <a:lnTo>
                    <a:pt x="1278263" y="1970238"/>
                  </a:lnTo>
                  <a:lnTo>
                    <a:pt x="1281315" y="1994946"/>
                  </a:lnTo>
                  <a:lnTo>
                    <a:pt x="1439652" y="1965400"/>
                  </a:lnTo>
                  <a:lnTo>
                    <a:pt x="1474233" y="1972398"/>
                  </a:lnTo>
                  <a:lnTo>
                    <a:pt x="1479446" y="2015030"/>
                  </a:lnTo>
                  <a:lnTo>
                    <a:pt x="1495639" y="2063894"/>
                  </a:lnTo>
                  <a:lnTo>
                    <a:pt x="1521061" y="2102313"/>
                  </a:lnTo>
                  <a:lnTo>
                    <a:pt x="1525060" y="2134859"/>
                  </a:lnTo>
                  <a:lnTo>
                    <a:pt x="1488319" y="2181937"/>
                  </a:lnTo>
                  <a:lnTo>
                    <a:pt x="1430012" y="2220606"/>
                  </a:lnTo>
                  <a:lnTo>
                    <a:pt x="1419300" y="2221909"/>
                  </a:lnTo>
                  <a:lnTo>
                    <a:pt x="1364135" y="2238209"/>
                  </a:lnTo>
                  <a:lnTo>
                    <a:pt x="1387593" y="2273629"/>
                  </a:lnTo>
                  <a:lnTo>
                    <a:pt x="1382112" y="2401794"/>
                  </a:lnTo>
                  <a:lnTo>
                    <a:pt x="1344122" y="2406561"/>
                  </a:lnTo>
                  <a:lnTo>
                    <a:pt x="1367134" y="2441267"/>
                  </a:lnTo>
                  <a:lnTo>
                    <a:pt x="1363028" y="2495664"/>
                  </a:lnTo>
                  <a:lnTo>
                    <a:pt x="1297901" y="2555489"/>
                  </a:lnTo>
                  <a:lnTo>
                    <a:pt x="1273978" y="2609387"/>
                  </a:lnTo>
                  <a:lnTo>
                    <a:pt x="1256554" y="2644004"/>
                  </a:lnTo>
                  <a:lnTo>
                    <a:pt x="1202781" y="2650591"/>
                  </a:lnTo>
                  <a:lnTo>
                    <a:pt x="1179715" y="2632578"/>
                  </a:lnTo>
                  <a:lnTo>
                    <a:pt x="1117962" y="2629864"/>
                  </a:lnTo>
                  <a:lnTo>
                    <a:pt x="1087469" y="2614493"/>
                  </a:lnTo>
                  <a:lnTo>
                    <a:pt x="1063886" y="2667623"/>
                  </a:lnTo>
                  <a:lnTo>
                    <a:pt x="931507" y="2683851"/>
                  </a:lnTo>
                  <a:lnTo>
                    <a:pt x="913654" y="2706703"/>
                  </a:lnTo>
                  <a:lnTo>
                    <a:pt x="870986" y="2711916"/>
                  </a:lnTo>
                  <a:lnTo>
                    <a:pt x="784846" y="2681209"/>
                  </a:lnTo>
                  <a:lnTo>
                    <a:pt x="691065" y="2692706"/>
                  </a:lnTo>
                  <a:lnTo>
                    <a:pt x="677997" y="2586410"/>
                  </a:lnTo>
                  <a:lnTo>
                    <a:pt x="729056" y="2531959"/>
                  </a:lnTo>
                  <a:lnTo>
                    <a:pt x="681193" y="2528389"/>
                  </a:lnTo>
                  <a:lnTo>
                    <a:pt x="676622" y="2490469"/>
                  </a:lnTo>
                  <a:close/>
                </a:path>
              </a:pathLst>
            </a:custGeom>
            <a:noFill/>
            <a:ln w="1785" cap="flat">
              <a:noFill/>
              <a:prstDash val="solid"/>
              <a:miter/>
            </a:ln>
          </p:spPr>
          <p:txBody>
            <a:bodyPr rtlCol="0" anchor="ctr"/>
            <a:lstStyle/>
            <a:p>
              <a:endParaRPr lang="de-AT"/>
            </a:p>
          </p:txBody>
        </p:sp>
        <p:sp>
          <p:nvSpPr>
            <p:cNvPr id="173" name="Freihandform: Form 172">
              <a:extLst>
                <a:ext uri="{FF2B5EF4-FFF2-40B4-BE49-F238E27FC236}">
                  <a16:creationId xmlns:a16="http://schemas.microsoft.com/office/drawing/2014/main" id="{A01FFC03-749C-4296-9955-556B6A6A296E}"/>
                </a:ext>
              </a:extLst>
            </p:cNvPr>
            <p:cNvSpPr/>
            <p:nvPr/>
          </p:nvSpPr>
          <p:spPr>
            <a:xfrm>
              <a:off x="3825959" y="1877016"/>
              <a:ext cx="834030" cy="811643"/>
            </a:xfrm>
            <a:custGeom>
              <a:avLst/>
              <a:gdLst>
                <a:gd name="connsiteX0" fmla="*/ 58914 w 834030"/>
                <a:gd name="connsiteY0" fmla="*/ 632847 h 811643"/>
                <a:gd name="connsiteX1" fmla="*/ 696 w 834030"/>
                <a:gd name="connsiteY1" fmla="*/ 694957 h 811643"/>
                <a:gd name="connsiteX2" fmla="*/ 12604 w 834030"/>
                <a:gd name="connsiteY2" fmla="*/ 791826 h 811643"/>
                <a:gd name="connsiteX3" fmla="*/ 101458 w 834030"/>
                <a:gd name="connsiteY3" fmla="*/ 780918 h 811643"/>
                <a:gd name="connsiteX4" fmla="*/ 187598 w 834030"/>
                <a:gd name="connsiteY4" fmla="*/ 811643 h 811643"/>
                <a:gd name="connsiteX5" fmla="*/ 226088 w 834030"/>
                <a:gd name="connsiteY5" fmla="*/ 806912 h 811643"/>
                <a:gd name="connsiteX6" fmla="*/ 243852 w 834030"/>
                <a:gd name="connsiteY6" fmla="*/ 784078 h 811643"/>
                <a:gd name="connsiteX7" fmla="*/ 375249 w 834030"/>
                <a:gd name="connsiteY7" fmla="*/ 767957 h 811643"/>
                <a:gd name="connsiteX8" fmla="*/ 400100 w 834030"/>
                <a:gd name="connsiteY8" fmla="*/ 711971 h 811643"/>
                <a:gd name="connsiteX9" fmla="*/ 435430 w 834030"/>
                <a:gd name="connsiteY9" fmla="*/ 729770 h 811643"/>
                <a:gd name="connsiteX10" fmla="*/ 497880 w 834030"/>
                <a:gd name="connsiteY10" fmla="*/ 732519 h 811643"/>
                <a:gd name="connsiteX11" fmla="*/ 520446 w 834030"/>
                <a:gd name="connsiteY11" fmla="*/ 750140 h 811643"/>
                <a:gd name="connsiteX12" fmla="*/ 568113 w 834030"/>
                <a:gd name="connsiteY12" fmla="*/ 744302 h 811643"/>
                <a:gd name="connsiteX13" fmla="*/ 583859 w 834030"/>
                <a:gd name="connsiteY13" fmla="*/ 712881 h 811643"/>
                <a:gd name="connsiteX14" fmla="*/ 608282 w 834030"/>
                <a:gd name="connsiteY14" fmla="*/ 657895 h 811643"/>
                <a:gd name="connsiteX15" fmla="*/ 672587 w 834030"/>
                <a:gd name="connsiteY15" fmla="*/ 598802 h 811643"/>
                <a:gd name="connsiteX16" fmla="*/ 676319 w 834030"/>
                <a:gd name="connsiteY16" fmla="*/ 549171 h 811643"/>
                <a:gd name="connsiteX17" fmla="*/ 648736 w 834030"/>
                <a:gd name="connsiteY17" fmla="*/ 507574 h 811643"/>
                <a:gd name="connsiteX18" fmla="*/ 691797 w 834030"/>
                <a:gd name="connsiteY18" fmla="*/ 502289 h 811643"/>
                <a:gd name="connsiteX19" fmla="*/ 696957 w 834030"/>
                <a:gd name="connsiteY19" fmla="*/ 381711 h 811643"/>
                <a:gd name="connsiteX20" fmla="*/ 669820 w 834030"/>
                <a:gd name="connsiteY20" fmla="*/ 340739 h 811643"/>
                <a:gd name="connsiteX21" fmla="*/ 734180 w 834030"/>
                <a:gd name="connsiteY21" fmla="*/ 321779 h 811643"/>
                <a:gd name="connsiteX22" fmla="*/ 743570 w 834030"/>
                <a:gd name="connsiteY22" fmla="*/ 320619 h 811643"/>
                <a:gd name="connsiteX23" fmla="*/ 799592 w 834030"/>
                <a:gd name="connsiteY23" fmla="*/ 283396 h 811643"/>
                <a:gd name="connsiteX24" fmla="*/ 834031 w 834030"/>
                <a:gd name="connsiteY24" fmla="*/ 239246 h 811643"/>
                <a:gd name="connsiteX25" fmla="*/ 830567 w 834030"/>
                <a:gd name="connsiteY25" fmla="*/ 210895 h 811643"/>
                <a:gd name="connsiteX26" fmla="*/ 805466 w 834030"/>
                <a:gd name="connsiteY26" fmla="*/ 173012 h 811643"/>
                <a:gd name="connsiteX27" fmla="*/ 805341 w 834030"/>
                <a:gd name="connsiteY27" fmla="*/ 172601 h 811643"/>
                <a:gd name="connsiteX28" fmla="*/ 788827 w 834030"/>
                <a:gd name="connsiteY28" fmla="*/ 122738 h 811643"/>
                <a:gd name="connsiteX29" fmla="*/ 784078 w 834030"/>
                <a:gd name="connsiteY29" fmla="*/ 84105 h 811643"/>
                <a:gd name="connsiteX30" fmla="*/ 755317 w 834030"/>
                <a:gd name="connsiteY30" fmla="*/ 78285 h 811643"/>
                <a:gd name="connsiteX31" fmla="*/ 591446 w 834030"/>
                <a:gd name="connsiteY31" fmla="*/ 108831 h 811643"/>
                <a:gd name="connsiteX32" fmla="*/ 587001 w 834030"/>
                <a:gd name="connsiteY32" fmla="*/ 72661 h 811643"/>
                <a:gd name="connsiteX33" fmla="*/ 645398 w 834030"/>
                <a:gd name="connsiteY33" fmla="*/ 44864 h 811643"/>
                <a:gd name="connsiteX34" fmla="*/ 639863 w 834030"/>
                <a:gd name="connsiteY34" fmla="*/ 0 h 811643"/>
                <a:gd name="connsiteX35" fmla="*/ 474885 w 834030"/>
                <a:gd name="connsiteY35" fmla="*/ 40240 h 811643"/>
                <a:gd name="connsiteX36" fmla="*/ 458532 w 834030"/>
                <a:gd name="connsiteY36" fmla="*/ 72875 h 811643"/>
                <a:gd name="connsiteX37" fmla="*/ 400171 w 834030"/>
                <a:gd name="connsiteY37" fmla="*/ 100672 h 811643"/>
                <a:gd name="connsiteX38" fmla="*/ 385675 w 834030"/>
                <a:gd name="connsiteY38" fmla="*/ 129522 h 811643"/>
                <a:gd name="connsiteX39" fmla="*/ 460924 w 834030"/>
                <a:gd name="connsiteY39" fmla="*/ 161122 h 811643"/>
                <a:gd name="connsiteX40" fmla="*/ 453230 w 834030"/>
                <a:gd name="connsiteY40" fmla="*/ 199416 h 811643"/>
                <a:gd name="connsiteX41" fmla="*/ 397725 w 834030"/>
                <a:gd name="connsiteY41" fmla="*/ 174690 h 811643"/>
                <a:gd name="connsiteX42" fmla="*/ 372963 w 834030"/>
                <a:gd name="connsiteY42" fmla="*/ 217929 h 811643"/>
                <a:gd name="connsiteX43" fmla="*/ 329938 w 834030"/>
                <a:gd name="connsiteY43" fmla="*/ 223196 h 811643"/>
                <a:gd name="connsiteX44" fmla="*/ 190615 w 834030"/>
                <a:gd name="connsiteY44" fmla="*/ 168799 h 811643"/>
                <a:gd name="connsiteX45" fmla="*/ 132200 w 834030"/>
                <a:gd name="connsiteY45" fmla="*/ 232872 h 811643"/>
                <a:gd name="connsiteX46" fmla="*/ 180510 w 834030"/>
                <a:gd name="connsiteY46" fmla="*/ 245691 h 811643"/>
                <a:gd name="connsiteX47" fmla="*/ 231837 w 834030"/>
                <a:gd name="connsiteY47" fmla="*/ 263990 h 811643"/>
                <a:gd name="connsiteX48" fmla="*/ 184527 w 834030"/>
                <a:gd name="connsiteY48" fmla="*/ 282146 h 811643"/>
                <a:gd name="connsiteX49" fmla="*/ 137610 w 834030"/>
                <a:gd name="connsiteY49" fmla="*/ 307979 h 811643"/>
                <a:gd name="connsiteX50" fmla="*/ 123488 w 834030"/>
                <a:gd name="connsiteY50" fmla="*/ 347755 h 811643"/>
                <a:gd name="connsiteX51" fmla="*/ 155552 w 834030"/>
                <a:gd name="connsiteY51" fmla="*/ 372856 h 811643"/>
                <a:gd name="connsiteX52" fmla="*/ 192561 w 834030"/>
                <a:gd name="connsiteY52" fmla="*/ 391477 h 811643"/>
                <a:gd name="connsiteX53" fmla="*/ 167763 w 834030"/>
                <a:gd name="connsiteY53" fmla="*/ 412811 h 811643"/>
                <a:gd name="connsiteX54" fmla="*/ 265186 w 834030"/>
                <a:gd name="connsiteY54" fmla="*/ 410615 h 811643"/>
                <a:gd name="connsiteX55" fmla="*/ 259045 w 834030"/>
                <a:gd name="connsiteY55" fmla="*/ 460817 h 811643"/>
                <a:gd name="connsiteX56" fmla="*/ 223785 w 834030"/>
                <a:gd name="connsiteY56" fmla="*/ 443054 h 811643"/>
                <a:gd name="connsiteX57" fmla="*/ 116757 w 834030"/>
                <a:gd name="connsiteY57" fmla="*/ 524552 h 811643"/>
                <a:gd name="connsiteX58" fmla="*/ 165406 w 834030"/>
                <a:gd name="connsiteY58" fmla="*/ 546225 h 811643"/>
                <a:gd name="connsiteX59" fmla="*/ 235532 w 834030"/>
                <a:gd name="connsiteY59" fmla="*/ 537620 h 811643"/>
                <a:gd name="connsiteX60" fmla="*/ 236943 w 834030"/>
                <a:gd name="connsiteY60" fmla="*/ 543904 h 811643"/>
                <a:gd name="connsiteX61" fmla="*/ 88907 w 834030"/>
                <a:gd name="connsiteY61" fmla="*/ 592910 h 811643"/>
                <a:gd name="connsiteX62" fmla="*/ 50006 w 834030"/>
                <a:gd name="connsiteY62" fmla="*/ 618761 h 811643"/>
                <a:gd name="connsiteX63" fmla="*/ 0 w 834030"/>
                <a:gd name="connsiteY63" fmla="*/ 605514 h 811643"/>
                <a:gd name="connsiteX64" fmla="*/ 2856 w 834030"/>
                <a:gd name="connsiteY64" fmla="*/ 628616 h 811643"/>
                <a:gd name="connsiteX65" fmla="*/ 58914 w 834030"/>
                <a:gd name="connsiteY65" fmla="*/ 632847 h 81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834030" h="811643">
                  <a:moveTo>
                    <a:pt x="58914" y="632847"/>
                  </a:moveTo>
                  <a:lnTo>
                    <a:pt x="696" y="694957"/>
                  </a:lnTo>
                  <a:lnTo>
                    <a:pt x="12604" y="791826"/>
                  </a:lnTo>
                  <a:lnTo>
                    <a:pt x="101458" y="780918"/>
                  </a:lnTo>
                  <a:lnTo>
                    <a:pt x="187598" y="811643"/>
                  </a:lnTo>
                  <a:lnTo>
                    <a:pt x="226088" y="806912"/>
                  </a:lnTo>
                  <a:lnTo>
                    <a:pt x="243852" y="784078"/>
                  </a:lnTo>
                  <a:lnTo>
                    <a:pt x="375249" y="767957"/>
                  </a:lnTo>
                  <a:lnTo>
                    <a:pt x="400100" y="711971"/>
                  </a:lnTo>
                  <a:lnTo>
                    <a:pt x="435430" y="729770"/>
                  </a:lnTo>
                  <a:lnTo>
                    <a:pt x="497880" y="732519"/>
                  </a:lnTo>
                  <a:lnTo>
                    <a:pt x="520446" y="750140"/>
                  </a:lnTo>
                  <a:lnTo>
                    <a:pt x="568113" y="744302"/>
                  </a:lnTo>
                  <a:lnTo>
                    <a:pt x="583859" y="712881"/>
                  </a:lnTo>
                  <a:lnTo>
                    <a:pt x="608282" y="657895"/>
                  </a:lnTo>
                  <a:lnTo>
                    <a:pt x="672587" y="598802"/>
                  </a:lnTo>
                  <a:lnTo>
                    <a:pt x="676319" y="549171"/>
                  </a:lnTo>
                  <a:lnTo>
                    <a:pt x="648736" y="507574"/>
                  </a:lnTo>
                  <a:lnTo>
                    <a:pt x="691797" y="502289"/>
                  </a:lnTo>
                  <a:lnTo>
                    <a:pt x="696957" y="381711"/>
                  </a:lnTo>
                  <a:lnTo>
                    <a:pt x="669820" y="340739"/>
                  </a:lnTo>
                  <a:lnTo>
                    <a:pt x="734180" y="321779"/>
                  </a:lnTo>
                  <a:lnTo>
                    <a:pt x="743570" y="320619"/>
                  </a:lnTo>
                  <a:lnTo>
                    <a:pt x="799592" y="283396"/>
                  </a:lnTo>
                  <a:lnTo>
                    <a:pt x="834031" y="239246"/>
                  </a:lnTo>
                  <a:lnTo>
                    <a:pt x="830567" y="210895"/>
                  </a:lnTo>
                  <a:lnTo>
                    <a:pt x="805466" y="173012"/>
                  </a:lnTo>
                  <a:lnTo>
                    <a:pt x="805341" y="172601"/>
                  </a:lnTo>
                  <a:lnTo>
                    <a:pt x="788827" y="122738"/>
                  </a:lnTo>
                  <a:lnTo>
                    <a:pt x="784078" y="84105"/>
                  </a:lnTo>
                  <a:lnTo>
                    <a:pt x="755317" y="78285"/>
                  </a:lnTo>
                  <a:lnTo>
                    <a:pt x="591446" y="108831"/>
                  </a:lnTo>
                  <a:lnTo>
                    <a:pt x="587001" y="72661"/>
                  </a:lnTo>
                  <a:lnTo>
                    <a:pt x="645398" y="44864"/>
                  </a:lnTo>
                  <a:lnTo>
                    <a:pt x="639863" y="0"/>
                  </a:lnTo>
                  <a:lnTo>
                    <a:pt x="474885" y="40240"/>
                  </a:lnTo>
                  <a:lnTo>
                    <a:pt x="458532" y="72875"/>
                  </a:lnTo>
                  <a:lnTo>
                    <a:pt x="400171" y="100672"/>
                  </a:lnTo>
                  <a:lnTo>
                    <a:pt x="385675" y="129522"/>
                  </a:lnTo>
                  <a:lnTo>
                    <a:pt x="460924" y="161122"/>
                  </a:lnTo>
                  <a:lnTo>
                    <a:pt x="453230" y="199416"/>
                  </a:lnTo>
                  <a:lnTo>
                    <a:pt x="397725" y="174690"/>
                  </a:lnTo>
                  <a:lnTo>
                    <a:pt x="372963" y="217929"/>
                  </a:lnTo>
                  <a:lnTo>
                    <a:pt x="329938" y="223196"/>
                  </a:lnTo>
                  <a:lnTo>
                    <a:pt x="190615" y="168799"/>
                  </a:lnTo>
                  <a:lnTo>
                    <a:pt x="132200" y="232872"/>
                  </a:lnTo>
                  <a:lnTo>
                    <a:pt x="180510" y="245691"/>
                  </a:lnTo>
                  <a:lnTo>
                    <a:pt x="231837" y="263990"/>
                  </a:lnTo>
                  <a:lnTo>
                    <a:pt x="184527" y="282146"/>
                  </a:lnTo>
                  <a:lnTo>
                    <a:pt x="137610" y="307979"/>
                  </a:lnTo>
                  <a:lnTo>
                    <a:pt x="123488" y="347755"/>
                  </a:lnTo>
                  <a:lnTo>
                    <a:pt x="155552" y="372856"/>
                  </a:lnTo>
                  <a:lnTo>
                    <a:pt x="192561" y="391477"/>
                  </a:lnTo>
                  <a:lnTo>
                    <a:pt x="167763" y="412811"/>
                  </a:lnTo>
                  <a:lnTo>
                    <a:pt x="265186" y="410615"/>
                  </a:lnTo>
                  <a:lnTo>
                    <a:pt x="259045" y="460817"/>
                  </a:lnTo>
                  <a:lnTo>
                    <a:pt x="223785" y="443054"/>
                  </a:lnTo>
                  <a:lnTo>
                    <a:pt x="116757" y="524552"/>
                  </a:lnTo>
                  <a:lnTo>
                    <a:pt x="165406" y="546225"/>
                  </a:lnTo>
                  <a:lnTo>
                    <a:pt x="235532" y="537620"/>
                  </a:lnTo>
                  <a:lnTo>
                    <a:pt x="236943" y="543904"/>
                  </a:lnTo>
                  <a:lnTo>
                    <a:pt x="88907" y="592910"/>
                  </a:lnTo>
                  <a:lnTo>
                    <a:pt x="50006" y="618761"/>
                  </a:lnTo>
                  <a:lnTo>
                    <a:pt x="0" y="605514"/>
                  </a:lnTo>
                  <a:lnTo>
                    <a:pt x="2856" y="628616"/>
                  </a:lnTo>
                  <a:lnTo>
                    <a:pt x="58914" y="632847"/>
                  </a:lnTo>
                  <a:close/>
                </a:path>
              </a:pathLst>
            </a:custGeom>
            <a:noFill/>
            <a:ln w="1785" cap="flat">
              <a:noFill/>
              <a:prstDash val="solid"/>
              <a:miter/>
            </a:ln>
          </p:spPr>
          <p:txBody>
            <a:bodyPr rtlCol="0" anchor="ctr"/>
            <a:lstStyle/>
            <a:p>
              <a:endParaRPr lang="de-AT"/>
            </a:p>
          </p:txBody>
        </p:sp>
        <p:sp>
          <p:nvSpPr>
            <p:cNvPr id="174" name="Freihandform: Form 173">
              <a:extLst>
                <a:ext uri="{FF2B5EF4-FFF2-40B4-BE49-F238E27FC236}">
                  <a16:creationId xmlns:a16="http://schemas.microsoft.com/office/drawing/2014/main" id="{63D37AE5-5EDF-4ACB-AEA4-1CBF45D4DBD1}"/>
                </a:ext>
              </a:extLst>
            </p:cNvPr>
            <p:cNvSpPr/>
            <p:nvPr/>
          </p:nvSpPr>
          <p:spPr>
            <a:xfrm>
              <a:off x="6393250" y="5541558"/>
              <a:ext cx="285913" cy="553955"/>
            </a:xfrm>
            <a:custGeom>
              <a:avLst/>
              <a:gdLst>
                <a:gd name="connsiteX0" fmla="*/ 37991 w 285913"/>
                <a:gd name="connsiteY0" fmla="*/ 289805 h 553955"/>
                <a:gd name="connsiteX1" fmla="*/ 21156 w 285913"/>
                <a:gd name="connsiteY1" fmla="*/ 417596 h 553955"/>
                <a:gd name="connsiteX2" fmla="*/ 39276 w 285913"/>
                <a:gd name="connsiteY2" fmla="*/ 480420 h 553955"/>
                <a:gd name="connsiteX3" fmla="*/ 43864 w 285913"/>
                <a:gd name="connsiteY3" fmla="*/ 501433 h 553955"/>
                <a:gd name="connsiteX4" fmla="*/ 102297 w 285913"/>
                <a:gd name="connsiteY4" fmla="*/ 553955 h 553955"/>
                <a:gd name="connsiteX5" fmla="*/ 178136 w 285913"/>
                <a:gd name="connsiteY5" fmla="*/ 527926 h 553955"/>
                <a:gd name="connsiteX6" fmla="*/ 191704 w 285913"/>
                <a:gd name="connsiteY6" fmla="*/ 455729 h 553955"/>
                <a:gd name="connsiteX7" fmla="*/ 243691 w 285913"/>
                <a:gd name="connsiteY7" fmla="*/ 467476 h 553955"/>
                <a:gd name="connsiteX8" fmla="*/ 274808 w 285913"/>
                <a:gd name="connsiteY8" fmla="*/ 404688 h 553955"/>
                <a:gd name="connsiteX9" fmla="*/ 272970 w 285913"/>
                <a:gd name="connsiteY9" fmla="*/ 287556 h 553955"/>
                <a:gd name="connsiteX10" fmla="*/ 274844 w 285913"/>
                <a:gd name="connsiteY10" fmla="*/ 200130 h 553955"/>
                <a:gd name="connsiteX11" fmla="*/ 285913 w 285913"/>
                <a:gd name="connsiteY11" fmla="*/ 81963 h 553955"/>
                <a:gd name="connsiteX12" fmla="*/ 228855 w 285913"/>
                <a:gd name="connsiteY12" fmla="*/ 0 h 553955"/>
                <a:gd name="connsiteX13" fmla="*/ 170798 w 285913"/>
                <a:gd name="connsiteY13" fmla="*/ 7891 h 553955"/>
                <a:gd name="connsiteX14" fmla="*/ 82516 w 285913"/>
                <a:gd name="connsiteY14" fmla="*/ 71269 h 553955"/>
                <a:gd name="connsiteX15" fmla="*/ 3535 w 285913"/>
                <a:gd name="connsiteY15" fmla="*/ 83890 h 553955"/>
                <a:gd name="connsiteX16" fmla="*/ 0 w 285913"/>
                <a:gd name="connsiteY16" fmla="*/ 144733 h 553955"/>
                <a:gd name="connsiteX17" fmla="*/ 50934 w 285913"/>
                <a:gd name="connsiteY17" fmla="*/ 199881 h 553955"/>
                <a:gd name="connsiteX18" fmla="*/ 37991 w 285913"/>
                <a:gd name="connsiteY18" fmla="*/ 289805 h 5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913" h="553955">
                  <a:moveTo>
                    <a:pt x="37991" y="289805"/>
                  </a:moveTo>
                  <a:lnTo>
                    <a:pt x="21156" y="417596"/>
                  </a:lnTo>
                  <a:lnTo>
                    <a:pt x="39276" y="480420"/>
                  </a:lnTo>
                  <a:lnTo>
                    <a:pt x="43864" y="501433"/>
                  </a:lnTo>
                  <a:lnTo>
                    <a:pt x="102297" y="553955"/>
                  </a:lnTo>
                  <a:lnTo>
                    <a:pt x="178136" y="527926"/>
                  </a:lnTo>
                  <a:lnTo>
                    <a:pt x="191704" y="455729"/>
                  </a:lnTo>
                  <a:lnTo>
                    <a:pt x="243691" y="467476"/>
                  </a:lnTo>
                  <a:lnTo>
                    <a:pt x="274808" y="404688"/>
                  </a:lnTo>
                  <a:lnTo>
                    <a:pt x="272970" y="287556"/>
                  </a:lnTo>
                  <a:lnTo>
                    <a:pt x="274844" y="200130"/>
                  </a:lnTo>
                  <a:lnTo>
                    <a:pt x="285913" y="81963"/>
                  </a:lnTo>
                  <a:lnTo>
                    <a:pt x="228855" y="0"/>
                  </a:lnTo>
                  <a:lnTo>
                    <a:pt x="170798" y="7891"/>
                  </a:lnTo>
                  <a:lnTo>
                    <a:pt x="82516" y="71269"/>
                  </a:lnTo>
                  <a:lnTo>
                    <a:pt x="3535" y="83890"/>
                  </a:lnTo>
                  <a:lnTo>
                    <a:pt x="0" y="144733"/>
                  </a:lnTo>
                  <a:lnTo>
                    <a:pt x="50934" y="199881"/>
                  </a:lnTo>
                  <a:lnTo>
                    <a:pt x="37991" y="289805"/>
                  </a:lnTo>
                  <a:close/>
                </a:path>
              </a:pathLst>
            </a:custGeom>
            <a:noFill/>
            <a:ln w="1785" cap="flat">
              <a:noFill/>
              <a:prstDash val="solid"/>
              <a:miter/>
            </a:ln>
          </p:spPr>
          <p:txBody>
            <a:bodyPr rtlCol="0" anchor="ctr"/>
            <a:lstStyle/>
            <a:p>
              <a:endParaRPr lang="de-AT"/>
            </a:p>
          </p:txBody>
        </p:sp>
        <p:sp>
          <p:nvSpPr>
            <p:cNvPr id="175" name="Freihandform: Form 174">
              <a:extLst>
                <a:ext uri="{FF2B5EF4-FFF2-40B4-BE49-F238E27FC236}">
                  <a16:creationId xmlns:a16="http://schemas.microsoft.com/office/drawing/2014/main" id="{6F7A1528-E54F-4A80-B0F8-FC4C0EC14DB3}"/>
                </a:ext>
              </a:extLst>
            </p:cNvPr>
            <p:cNvSpPr/>
            <p:nvPr/>
          </p:nvSpPr>
          <p:spPr>
            <a:xfrm>
              <a:off x="9278160" y="6595393"/>
              <a:ext cx="515589" cy="138359"/>
            </a:xfrm>
            <a:custGeom>
              <a:avLst/>
              <a:gdLst>
                <a:gd name="connsiteX0" fmla="*/ 166995 w 515589"/>
                <a:gd name="connsiteY0" fmla="*/ 109866 h 138359"/>
                <a:gd name="connsiteX1" fmla="*/ 247154 w 515589"/>
                <a:gd name="connsiteY1" fmla="*/ 138359 h 138359"/>
                <a:gd name="connsiteX2" fmla="*/ 345292 w 515589"/>
                <a:gd name="connsiteY2" fmla="*/ 126344 h 138359"/>
                <a:gd name="connsiteX3" fmla="*/ 469047 w 515589"/>
                <a:gd name="connsiteY3" fmla="*/ 73571 h 138359"/>
                <a:gd name="connsiteX4" fmla="*/ 515590 w 515589"/>
                <a:gd name="connsiteY4" fmla="*/ 19156 h 138359"/>
                <a:gd name="connsiteX5" fmla="*/ 458086 w 515589"/>
                <a:gd name="connsiteY5" fmla="*/ 0 h 138359"/>
                <a:gd name="connsiteX6" fmla="*/ 371625 w 515589"/>
                <a:gd name="connsiteY6" fmla="*/ 38580 h 138359"/>
                <a:gd name="connsiteX7" fmla="*/ 370679 w 515589"/>
                <a:gd name="connsiteY7" fmla="*/ 38419 h 138359"/>
                <a:gd name="connsiteX8" fmla="*/ 262544 w 515589"/>
                <a:gd name="connsiteY8" fmla="*/ 21495 h 138359"/>
                <a:gd name="connsiteX9" fmla="*/ 162604 w 515589"/>
                <a:gd name="connsiteY9" fmla="*/ 54237 h 138359"/>
                <a:gd name="connsiteX10" fmla="*/ 162282 w 515589"/>
                <a:gd name="connsiteY10" fmla="*/ 54255 h 138359"/>
                <a:gd name="connsiteX11" fmla="*/ 108384 w 515589"/>
                <a:gd name="connsiteY11" fmla="*/ 60646 h 138359"/>
                <a:gd name="connsiteX12" fmla="*/ 62217 w 515589"/>
                <a:gd name="connsiteY12" fmla="*/ 18924 h 138359"/>
                <a:gd name="connsiteX13" fmla="*/ 0 w 515589"/>
                <a:gd name="connsiteY13" fmla="*/ 33332 h 138359"/>
                <a:gd name="connsiteX14" fmla="*/ 8819 w 515589"/>
                <a:gd name="connsiteY14" fmla="*/ 124274 h 138359"/>
                <a:gd name="connsiteX15" fmla="*/ 166995 w 515589"/>
                <a:gd name="connsiteY15" fmla="*/ 109866 h 13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5589" h="138359">
                  <a:moveTo>
                    <a:pt x="166995" y="109866"/>
                  </a:moveTo>
                  <a:lnTo>
                    <a:pt x="247154" y="138359"/>
                  </a:lnTo>
                  <a:lnTo>
                    <a:pt x="345292" y="126344"/>
                  </a:lnTo>
                  <a:lnTo>
                    <a:pt x="469047" y="73571"/>
                  </a:lnTo>
                  <a:lnTo>
                    <a:pt x="515590" y="19156"/>
                  </a:lnTo>
                  <a:lnTo>
                    <a:pt x="458086" y="0"/>
                  </a:lnTo>
                  <a:lnTo>
                    <a:pt x="371625" y="38580"/>
                  </a:lnTo>
                  <a:lnTo>
                    <a:pt x="370679" y="38419"/>
                  </a:lnTo>
                  <a:lnTo>
                    <a:pt x="262544" y="21495"/>
                  </a:lnTo>
                  <a:lnTo>
                    <a:pt x="162604" y="54237"/>
                  </a:lnTo>
                  <a:lnTo>
                    <a:pt x="162282" y="54255"/>
                  </a:lnTo>
                  <a:lnTo>
                    <a:pt x="108384" y="60646"/>
                  </a:lnTo>
                  <a:lnTo>
                    <a:pt x="62217" y="18924"/>
                  </a:lnTo>
                  <a:lnTo>
                    <a:pt x="0" y="33332"/>
                  </a:lnTo>
                  <a:lnTo>
                    <a:pt x="8819" y="124274"/>
                  </a:lnTo>
                  <a:lnTo>
                    <a:pt x="166995" y="109866"/>
                  </a:lnTo>
                  <a:close/>
                </a:path>
              </a:pathLst>
            </a:custGeom>
            <a:noFill/>
            <a:ln w="1785" cap="flat">
              <a:noFill/>
              <a:prstDash val="solid"/>
              <a:miter/>
            </a:ln>
          </p:spPr>
          <p:txBody>
            <a:bodyPr rtlCol="0" anchor="ctr"/>
            <a:lstStyle/>
            <a:p>
              <a:endParaRPr lang="de-AT"/>
            </a:p>
          </p:txBody>
        </p:sp>
        <p:sp>
          <p:nvSpPr>
            <p:cNvPr id="176" name="Freihandform: Form 175">
              <a:extLst>
                <a:ext uri="{FF2B5EF4-FFF2-40B4-BE49-F238E27FC236}">
                  <a16:creationId xmlns:a16="http://schemas.microsoft.com/office/drawing/2014/main" id="{262DA777-6557-44FD-A99C-7DF9B9A55B89}"/>
                </a:ext>
              </a:extLst>
            </p:cNvPr>
            <p:cNvSpPr/>
            <p:nvPr/>
          </p:nvSpPr>
          <p:spPr>
            <a:xfrm>
              <a:off x="9335610" y="5541237"/>
              <a:ext cx="89817" cy="78177"/>
            </a:xfrm>
            <a:custGeom>
              <a:avLst/>
              <a:gdLst>
                <a:gd name="connsiteX0" fmla="*/ 63253 w 89817"/>
                <a:gd name="connsiteY0" fmla="*/ 78178 h 78177"/>
                <a:gd name="connsiteX1" fmla="*/ 86658 w 89817"/>
                <a:gd name="connsiteY1" fmla="*/ 56308 h 78177"/>
                <a:gd name="connsiteX2" fmla="*/ 89818 w 89817"/>
                <a:gd name="connsiteY2" fmla="*/ 23905 h 78177"/>
                <a:gd name="connsiteX3" fmla="*/ 63913 w 89817"/>
                <a:gd name="connsiteY3" fmla="*/ 0 h 78177"/>
                <a:gd name="connsiteX4" fmla="*/ 27119 w 89817"/>
                <a:gd name="connsiteY4" fmla="*/ 16639 h 78177"/>
                <a:gd name="connsiteX5" fmla="*/ 0 w 89817"/>
                <a:gd name="connsiteY5" fmla="*/ 47685 h 78177"/>
                <a:gd name="connsiteX6" fmla="*/ 26619 w 89817"/>
                <a:gd name="connsiteY6" fmla="*/ 78178 h 78177"/>
                <a:gd name="connsiteX7" fmla="*/ 63253 w 89817"/>
                <a:gd name="connsiteY7" fmla="*/ 78178 h 7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817" h="78177">
                  <a:moveTo>
                    <a:pt x="63253" y="78178"/>
                  </a:moveTo>
                  <a:lnTo>
                    <a:pt x="86658" y="56308"/>
                  </a:lnTo>
                  <a:lnTo>
                    <a:pt x="89818" y="23905"/>
                  </a:lnTo>
                  <a:lnTo>
                    <a:pt x="63913" y="0"/>
                  </a:lnTo>
                  <a:lnTo>
                    <a:pt x="27119" y="16639"/>
                  </a:lnTo>
                  <a:lnTo>
                    <a:pt x="0" y="47685"/>
                  </a:lnTo>
                  <a:lnTo>
                    <a:pt x="26619" y="78178"/>
                  </a:lnTo>
                  <a:lnTo>
                    <a:pt x="63253" y="78178"/>
                  </a:lnTo>
                  <a:close/>
                </a:path>
              </a:pathLst>
            </a:custGeom>
            <a:noFill/>
            <a:ln w="1785" cap="flat">
              <a:noFill/>
              <a:prstDash val="solid"/>
              <a:miter/>
            </a:ln>
          </p:spPr>
          <p:txBody>
            <a:bodyPr rtlCol="0" anchor="ctr"/>
            <a:lstStyle/>
            <a:p>
              <a:endParaRPr lang="de-AT"/>
            </a:p>
          </p:txBody>
        </p:sp>
        <p:sp>
          <p:nvSpPr>
            <p:cNvPr id="177" name="Freihandform: Form 176">
              <a:extLst>
                <a:ext uri="{FF2B5EF4-FFF2-40B4-BE49-F238E27FC236}">
                  <a16:creationId xmlns:a16="http://schemas.microsoft.com/office/drawing/2014/main" id="{5E17BB14-DD92-4866-94EE-3186CD0654C6}"/>
                </a:ext>
              </a:extLst>
            </p:cNvPr>
            <p:cNvSpPr/>
            <p:nvPr/>
          </p:nvSpPr>
          <p:spPr>
            <a:xfrm>
              <a:off x="7211409" y="6153946"/>
              <a:ext cx="592767" cy="368464"/>
            </a:xfrm>
            <a:custGeom>
              <a:avLst/>
              <a:gdLst>
                <a:gd name="connsiteX0" fmla="*/ 45061 w 592767"/>
                <a:gd name="connsiteY0" fmla="*/ 193168 h 368464"/>
                <a:gd name="connsiteX1" fmla="*/ 85212 w 592767"/>
                <a:gd name="connsiteY1" fmla="*/ 183099 h 368464"/>
                <a:gd name="connsiteX2" fmla="*/ 116686 w 592767"/>
                <a:gd name="connsiteY2" fmla="*/ 206182 h 368464"/>
                <a:gd name="connsiteX3" fmla="*/ 152749 w 592767"/>
                <a:gd name="connsiteY3" fmla="*/ 215144 h 368464"/>
                <a:gd name="connsiteX4" fmla="*/ 153391 w 592767"/>
                <a:gd name="connsiteY4" fmla="*/ 215769 h 368464"/>
                <a:gd name="connsiteX5" fmla="*/ 197880 w 592767"/>
                <a:gd name="connsiteY5" fmla="*/ 260027 h 368464"/>
                <a:gd name="connsiteX6" fmla="*/ 282378 w 592767"/>
                <a:gd name="connsiteY6" fmla="*/ 297339 h 368464"/>
                <a:gd name="connsiteX7" fmla="*/ 376373 w 592767"/>
                <a:gd name="connsiteY7" fmla="*/ 297143 h 368464"/>
                <a:gd name="connsiteX8" fmla="*/ 425826 w 592767"/>
                <a:gd name="connsiteY8" fmla="*/ 368465 h 368464"/>
                <a:gd name="connsiteX9" fmla="*/ 530158 w 592767"/>
                <a:gd name="connsiteY9" fmla="*/ 368465 h 368464"/>
                <a:gd name="connsiteX10" fmla="*/ 535406 w 592767"/>
                <a:gd name="connsiteY10" fmla="*/ 314121 h 368464"/>
                <a:gd name="connsiteX11" fmla="*/ 535639 w 592767"/>
                <a:gd name="connsiteY11" fmla="*/ 313603 h 368464"/>
                <a:gd name="connsiteX12" fmla="*/ 553438 w 592767"/>
                <a:gd name="connsiteY12" fmla="*/ 275898 h 368464"/>
                <a:gd name="connsiteX13" fmla="*/ 507270 w 592767"/>
                <a:gd name="connsiteY13" fmla="*/ 208253 h 368464"/>
                <a:gd name="connsiteX14" fmla="*/ 515732 w 592767"/>
                <a:gd name="connsiteY14" fmla="*/ 171637 h 368464"/>
                <a:gd name="connsiteX15" fmla="*/ 536352 w 592767"/>
                <a:gd name="connsiteY15" fmla="*/ 96816 h 368464"/>
                <a:gd name="connsiteX16" fmla="*/ 592768 w 592767"/>
                <a:gd name="connsiteY16" fmla="*/ 37295 h 368464"/>
                <a:gd name="connsiteX17" fmla="*/ 585716 w 592767"/>
                <a:gd name="connsiteY17" fmla="*/ 1000 h 368464"/>
                <a:gd name="connsiteX18" fmla="*/ 513733 w 592767"/>
                <a:gd name="connsiteY18" fmla="*/ 0 h 368464"/>
                <a:gd name="connsiteX19" fmla="*/ 429950 w 592767"/>
                <a:gd name="connsiteY19" fmla="*/ 39526 h 368464"/>
                <a:gd name="connsiteX20" fmla="*/ 284324 w 592767"/>
                <a:gd name="connsiteY20" fmla="*/ 93121 h 368464"/>
                <a:gd name="connsiteX21" fmla="*/ 219715 w 592767"/>
                <a:gd name="connsiteY21" fmla="*/ 82927 h 368464"/>
                <a:gd name="connsiteX22" fmla="*/ 151570 w 592767"/>
                <a:gd name="connsiteY22" fmla="*/ 49345 h 368464"/>
                <a:gd name="connsiteX23" fmla="*/ 93263 w 592767"/>
                <a:gd name="connsiteY23" fmla="*/ 98405 h 368464"/>
                <a:gd name="connsiteX24" fmla="*/ 61628 w 592767"/>
                <a:gd name="connsiteY24" fmla="*/ 56790 h 368464"/>
                <a:gd name="connsiteX25" fmla="*/ 0 w 592767"/>
                <a:gd name="connsiteY25" fmla="*/ 117490 h 368464"/>
                <a:gd name="connsiteX26" fmla="*/ 15264 w 592767"/>
                <a:gd name="connsiteY26" fmla="*/ 175083 h 368464"/>
                <a:gd name="connsiteX27" fmla="*/ 45061 w 592767"/>
                <a:gd name="connsiteY27" fmla="*/ 193168 h 368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2767" h="368464">
                  <a:moveTo>
                    <a:pt x="45061" y="193168"/>
                  </a:moveTo>
                  <a:lnTo>
                    <a:pt x="85212" y="183099"/>
                  </a:lnTo>
                  <a:lnTo>
                    <a:pt x="116686" y="206182"/>
                  </a:lnTo>
                  <a:lnTo>
                    <a:pt x="152749" y="215144"/>
                  </a:lnTo>
                  <a:lnTo>
                    <a:pt x="153391" y="215769"/>
                  </a:lnTo>
                  <a:lnTo>
                    <a:pt x="197880" y="260027"/>
                  </a:lnTo>
                  <a:lnTo>
                    <a:pt x="282378" y="297339"/>
                  </a:lnTo>
                  <a:lnTo>
                    <a:pt x="376373" y="297143"/>
                  </a:lnTo>
                  <a:lnTo>
                    <a:pt x="425826" y="368465"/>
                  </a:lnTo>
                  <a:lnTo>
                    <a:pt x="530158" y="368465"/>
                  </a:lnTo>
                  <a:lnTo>
                    <a:pt x="535406" y="314121"/>
                  </a:lnTo>
                  <a:lnTo>
                    <a:pt x="535639" y="313603"/>
                  </a:lnTo>
                  <a:lnTo>
                    <a:pt x="553438" y="275898"/>
                  </a:lnTo>
                  <a:lnTo>
                    <a:pt x="507270" y="208253"/>
                  </a:lnTo>
                  <a:lnTo>
                    <a:pt x="515732" y="171637"/>
                  </a:lnTo>
                  <a:lnTo>
                    <a:pt x="536352" y="96816"/>
                  </a:lnTo>
                  <a:lnTo>
                    <a:pt x="592768" y="37295"/>
                  </a:lnTo>
                  <a:lnTo>
                    <a:pt x="585716" y="1000"/>
                  </a:lnTo>
                  <a:lnTo>
                    <a:pt x="513733" y="0"/>
                  </a:lnTo>
                  <a:lnTo>
                    <a:pt x="429950" y="39526"/>
                  </a:lnTo>
                  <a:lnTo>
                    <a:pt x="284324" y="93121"/>
                  </a:lnTo>
                  <a:lnTo>
                    <a:pt x="219715" y="82927"/>
                  </a:lnTo>
                  <a:lnTo>
                    <a:pt x="151570" y="49345"/>
                  </a:lnTo>
                  <a:lnTo>
                    <a:pt x="93263" y="98405"/>
                  </a:lnTo>
                  <a:lnTo>
                    <a:pt x="61628" y="56790"/>
                  </a:lnTo>
                  <a:lnTo>
                    <a:pt x="0" y="117490"/>
                  </a:lnTo>
                  <a:lnTo>
                    <a:pt x="15264" y="175083"/>
                  </a:lnTo>
                  <a:lnTo>
                    <a:pt x="45061" y="193168"/>
                  </a:lnTo>
                  <a:close/>
                </a:path>
              </a:pathLst>
            </a:custGeom>
            <a:noFill/>
            <a:ln w="1785" cap="flat">
              <a:noFill/>
              <a:prstDash val="solid"/>
              <a:miter/>
            </a:ln>
          </p:spPr>
          <p:txBody>
            <a:bodyPr rtlCol="0" anchor="ctr"/>
            <a:lstStyle/>
            <a:p>
              <a:endParaRPr lang="de-AT"/>
            </a:p>
          </p:txBody>
        </p:sp>
        <p:sp>
          <p:nvSpPr>
            <p:cNvPr id="178" name="Freihandform: Form 177">
              <a:extLst>
                <a:ext uri="{FF2B5EF4-FFF2-40B4-BE49-F238E27FC236}">
                  <a16:creationId xmlns:a16="http://schemas.microsoft.com/office/drawing/2014/main" id="{2592AA25-B977-4441-8EF5-8C70D3EBCF56}"/>
                </a:ext>
              </a:extLst>
            </p:cNvPr>
            <p:cNvSpPr/>
            <p:nvPr/>
          </p:nvSpPr>
          <p:spPr>
            <a:xfrm>
              <a:off x="5094100" y="5910094"/>
              <a:ext cx="91138" cy="105438"/>
            </a:xfrm>
            <a:custGeom>
              <a:avLst/>
              <a:gdLst>
                <a:gd name="connsiteX0" fmla="*/ 91139 w 91138"/>
                <a:gd name="connsiteY0" fmla="*/ 67305 h 105438"/>
                <a:gd name="connsiteX1" fmla="*/ 91139 w 91138"/>
                <a:gd name="connsiteY1" fmla="*/ 0 h 105438"/>
                <a:gd name="connsiteX2" fmla="*/ 44935 w 91138"/>
                <a:gd name="connsiteY2" fmla="*/ 0 h 105438"/>
                <a:gd name="connsiteX3" fmla="*/ 22762 w 91138"/>
                <a:gd name="connsiteY3" fmla="*/ 15103 h 105438"/>
                <a:gd name="connsiteX4" fmla="*/ 0 w 91138"/>
                <a:gd name="connsiteY4" fmla="*/ 69286 h 105438"/>
                <a:gd name="connsiteX5" fmla="*/ 51380 w 91138"/>
                <a:gd name="connsiteY5" fmla="*/ 105438 h 105438"/>
                <a:gd name="connsiteX6" fmla="*/ 7998 w 91138"/>
                <a:gd name="connsiteY6" fmla="*/ 66984 h 105438"/>
                <a:gd name="connsiteX7" fmla="*/ 27993 w 91138"/>
                <a:gd name="connsiteY7" fmla="*/ 19370 h 105438"/>
                <a:gd name="connsiteX8" fmla="*/ 46935 w 91138"/>
                <a:gd name="connsiteY8" fmla="*/ 6480 h 105438"/>
                <a:gd name="connsiteX9" fmla="*/ 84694 w 91138"/>
                <a:gd name="connsiteY9" fmla="*/ 6480 h 105438"/>
                <a:gd name="connsiteX10" fmla="*/ 84694 w 91138"/>
                <a:gd name="connsiteY10" fmla="*/ 64591 h 105438"/>
                <a:gd name="connsiteX11" fmla="*/ 50773 w 91138"/>
                <a:gd name="connsiteY11" fmla="*/ 97101 h 10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38" h="105438">
                  <a:moveTo>
                    <a:pt x="91139" y="67305"/>
                  </a:moveTo>
                  <a:lnTo>
                    <a:pt x="91139" y="0"/>
                  </a:lnTo>
                  <a:lnTo>
                    <a:pt x="44935" y="0"/>
                  </a:lnTo>
                  <a:lnTo>
                    <a:pt x="22762" y="15103"/>
                  </a:lnTo>
                  <a:lnTo>
                    <a:pt x="0" y="69286"/>
                  </a:lnTo>
                  <a:lnTo>
                    <a:pt x="51380" y="105438"/>
                  </a:lnTo>
                  <a:close/>
                  <a:moveTo>
                    <a:pt x="7998" y="66984"/>
                  </a:moveTo>
                  <a:lnTo>
                    <a:pt x="27993" y="19370"/>
                  </a:lnTo>
                  <a:lnTo>
                    <a:pt x="46935" y="6480"/>
                  </a:lnTo>
                  <a:lnTo>
                    <a:pt x="84694" y="6480"/>
                  </a:lnTo>
                  <a:lnTo>
                    <a:pt x="84694" y="64591"/>
                  </a:lnTo>
                  <a:lnTo>
                    <a:pt x="50773" y="97101"/>
                  </a:lnTo>
                  <a:close/>
                </a:path>
              </a:pathLst>
            </a:custGeom>
            <a:solidFill>
              <a:srgbClr val="231F20"/>
            </a:solidFill>
            <a:ln w="1785" cap="flat">
              <a:noFill/>
              <a:prstDash val="solid"/>
              <a:miter/>
            </a:ln>
          </p:spPr>
          <p:txBody>
            <a:bodyPr rtlCol="0" anchor="ctr"/>
            <a:lstStyle/>
            <a:p>
              <a:endParaRPr lang="de-AT"/>
            </a:p>
          </p:txBody>
        </p:sp>
        <p:sp>
          <p:nvSpPr>
            <p:cNvPr id="179" name="Freihandform: Form 178">
              <a:extLst>
                <a:ext uri="{FF2B5EF4-FFF2-40B4-BE49-F238E27FC236}">
                  <a16:creationId xmlns:a16="http://schemas.microsoft.com/office/drawing/2014/main" id="{9BDE07C3-AEEC-4934-AED3-96CE5A7EBD1A}"/>
                </a:ext>
              </a:extLst>
            </p:cNvPr>
            <p:cNvSpPr/>
            <p:nvPr/>
          </p:nvSpPr>
          <p:spPr>
            <a:xfrm>
              <a:off x="7204054" y="6147447"/>
              <a:ext cx="607049" cy="381443"/>
            </a:xfrm>
            <a:custGeom>
              <a:avLst/>
              <a:gdLst>
                <a:gd name="connsiteX0" fmla="*/ 51363 w 607049"/>
                <a:gd name="connsiteY0" fmla="*/ 206611 h 381443"/>
                <a:gd name="connsiteX1" fmla="*/ 91192 w 607049"/>
                <a:gd name="connsiteY1" fmla="*/ 196631 h 381443"/>
                <a:gd name="connsiteX2" fmla="*/ 121239 w 607049"/>
                <a:gd name="connsiteY2" fmla="*/ 218661 h 381443"/>
                <a:gd name="connsiteX3" fmla="*/ 156819 w 607049"/>
                <a:gd name="connsiteY3" fmla="*/ 227498 h 381443"/>
                <a:gd name="connsiteX4" fmla="*/ 201451 w 607049"/>
                <a:gd name="connsiteY4" fmla="*/ 271952 h 381443"/>
                <a:gd name="connsiteX5" fmla="*/ 288341 w 607049"/>
                <a:gd name="connsiteY5" fmla="*/ 310336 h 381443"/>
                <a:gd name="connsiteX6" fmla="*/ 380283 w 607049"/>
                <a:gd name="connsiteY6" fmla="*/ 310139 h 381443"/>
                <a:gd name="connsiteX7" fmla="*/ 429735 w 607049"/>
                <a:gd name="connsiteY7" fmla="*/ 381443 h 381443"/>
                <a:gd name="connsiteX8" fmla="*/ 543351 w 607049"/>
                <a:gd name="connsiteY8" fmla="*/ 381443 h 381443"/>
                <a:gd name="connsiteX9" fmla="*/ 549064 w 607049"/>
                <a:gd name="connsiteY9" fmla="*/ 322369 h 381443"/>
                <a:gd name="connsiteX10" fmla="*/ 568202 w 607049"/>
                <a:gd name="connsiteY10" fmla="*/ 281824 h 381443"/>
                <a:gd name="connsiteX11" fmla="*/ 521535 w 607049"/>
                <a:gd name="connsiteY11" fmla="*/ 213466 h 381443"/>
                <a:gd name="connsiteX12" fmla="*/ 529336 w 607049"/>
                <a:gd name="connsiteY12" fmla="*/ 179724 h 381443"/>
                <a:gd name="connsiteX13" fmla="*/ 549474 w 607049"/>
                <a:gd name="connsiteY13" fmla="*/ 106528 h 381443"/>
                <a:gd name="connsiteX14" fmla="*/ 607050 w 607049"/>
                <a:gd name="connsiteY14" fmla="*/ 45828 h 381443"/>
                <a:gd name="connsiteX15" fmla="*/ 598374 w 607049"/>
                <a:gd name="connsiteY15" fmla="*/ 1071 h 381443"/>
                <a:gd name="connsiteX16" fmla="*/ 519625 w 607049"/>
                <a:gd name="connsiteY16" fmla="*/ 0 h 381443"/>
                <a:gd name="connsiteX17" fmla="*/ 434859 w 607049"/>
                <a:gd name="connsiteY17" fmla="*/ 40026 h 381443"/>
                <a:gd name="connsiteX18" fmla="*/ 290965 w 607049"/>
                <a:gd name="connsiteY18" fmla="*/ 92996 h 381443"/>
                <a:gd name="connsiteX19" fmla="*/ 228980 w 607049"/>
                <a:gd name="connsiteY19" fmla="*/ 83194 h 381443"/>
                <a:gd name="connsiteX20" fmla="*/ 157926 w 607049"/>
                <a:gd name="connsiteY20" fmla="*/ 48185 h 381443"/>
                <a:gd name="connsiteX21" fmla="*/ 101601 w 607049"/>
                <a:gd name="connsiteY21" fmla="*/ 95584 h 381443"/>
                <a:gd name="connsiteX22" fmla="*/ 69626 w 607049"/>
                <a:gd name="connsiteY22" fmla="*/ 53523 h 381443"/>
                <a:gd name="connsiteX23" fmla="*/ 0 w 607049"/>
                <a:gd name="connsiteY23" fmla="*/ 122042 h 381443"/>
                <a:gd name="connsiteX24" fmla="*/ 16907 w 607049"/>
                <a:gd name="connsiteY24" fmla="*/ 185812 h 381443"/>
                <a:gd name="connsiteX25" fmla="*/ 68984 w 607049"/>
                <a:gd name="connsiteY25" fmla="*/ 63270 h 381443"/>
                <a:gd name="connsiteX26" fmla="*/ 100637 w 607049"/>
                <a:gd name="connsiteY26" fmla="*/ 104903 h 381443"/>
                <a:gd name="connsiteX27" fmla="*/ 158926 w 607049"/>
                <a:gd name="connsiteY27" fmla="*/ 55862 h 381443"/>
                <a:gd name="connsiteX28" fmla="*/ 227070 w 607049"/>
                <a:gd name="connsiteY28" fmla="*/ 89443 h 381443"/>
                <a:gd name="connsiteX29" fmla="*/ 291680 w 607049"/>
                <a:gd name="connsiteY29" fmla="*/ 99637 h 381443"/>
                <a:gd name="connsiteX30" fmla="*/ 437305 w 607049"/>
                <a:gd name="connsiteY30" fmla="*/ 46078 h 381443"/>
                <a:gd name="connsiteX31" fmla="*/ 521089 w 607049"/>
                <a:gd name="connsiteY31" fmla="*/ 6552 h 381443"/>
                <a:gd name="connsiteX32" fmla="*/ 593053 w 607049"/>
                <a:gd name="connsiteY32" fmla="*/ 7534 h 381443"/>
                <a:gd name="connsiteX33" fmla="*/ 600105 w 607049"/>
                <a:gd name="connsiteY33" fmla="*/ 43847 h 381443"/>
                <a:gd name="connsiteX34" fmla="*/ 543762 w 607049"/>
                <a:gd name="connsiteY34" fmla="*/ 103332 h 381443"/>
                <a:gd name="connsiteX35" fmla="*/ 523124 w 607049"/>
                <a:gd name="connsiteY35" fmla="*/ 178153 h 381443"/>
                <a:gd name="connsiteX36" fmla="*/ 514661 w 607049"/>
                <a:gd name="connsiteY36" fmla="*/ 214770 h 381443"/>
                <a:gd name="connsiteX37" fmla="*/ 560829 w 607049"/>
                <a:gd name="connsiteY37" fmla="*/ 282414 h 381443"/>
                <a:gd name="connsiteX38" fmla="*/ 542976 w 607049"/>
                <a:gd name="connsiteY38" fmla="*/ 320119 h 381443"/>
                <a:gd name="connsiteX39" fmla="*/ 542726 w 607049"/>
                <a:gd name="connsiteY39" fmla="*/ 320619 h 381443"/>
                <a:gd name="connsiteX40" fmla="*/ 537495 w 607049"/>
                <a:gd name="connsiteY40" fmla="*/ 374981 h 381443"/>
                <a:gd name="connsiteX41" fmla="*/ 433074 w 607049"/>
                <a:gd name="connsiteY41" fmla="*/ 374981 h 381443"/>
                <a:gd name="connsiteX42" fmla="*/ 383622 w 607049"/>
                <a:gd name="connsiteY42" fmla="*/ 303659 h 381443"/>
                <a:gd name="connsiteX43" fmla="*/ 289644 w 607049"/>
                <a:gd name="connsiteY43" fmla="*/ 303855 h 381443"/>
                <a:gd name="connsiteX44" fmla="*/ 205129 w 607049"/>
                <a:gd name="connsiteY44" fmla="*/ 266543 h 381443"/>
                <a:gd name="connsiteX45" fmla="*/ 160640 w 607049"/>
                <a:gd name="connsiteY45" fmla="*/ 222286 h 381443"/>
                <a:gd name="connsiteX46" fmla="*/ 159997 w 607049"/>
                <a:gd name="connsiteY46" fmla="*/ 221643 h 381443"/>
                <a:gd name="connsiteX47" fmla="*/ 123935 w 607049"/>
                <a:gd name="connsiteY47" fmla="*/ 212716 h 381443"/>
                <a:gd name="connsiteX48" fmla="*/ 92531 w 607049"/>
                <a:gd name="connsiteY48" fmla="*/ 189651 h 381443"/>
                <a:gd name="connsiteX49" fmla="*/ 52362 w 607049"/>
                <a:gd name="connsiteY49" fmla="*/ 199719 h 381443"/>
                <a:gd name="connsiteX50" fmla="*/ 22584 w 607049"/>
                <a:gd name="connsiteY50" fmla="*/ 181635 h 381443"/>
                <a:gd name="connsiteX51" fmla="*/ 7302 w 607049"/>
                <a:gd name="connsiteY51" fmla="*/ 124041 h 38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7049" h="381443">
                  <a:moveTo>
                    <a:pt x="51363" y="206611"/>
                  </a:moveTo>
                  <a:lnTo>
                    <a:pt x="91192" y="196631"/>
                  </a:lnTo>
                  <a:lnTo>
                    <a:pt x="121239" y="218661"/>
                  </a:lnTo>
                  <a:lnTo>
                    <a:pt x="156819" y="227498"/>
                  </a:lnTo>
                  <a:lnTo>
                    <a:pt x="201451" y="271952"/>
                  </a:lnTo>
                  <a:lnTo>
                    <a:pt x="288341" y="310336"/>
                  </a:lnTo>
                  <a:lnTo>
                    <a:pt x="380283" y="310139"/>
                  </a:lnTo>
                  <a:lnTo>
                    <a:pt x="429735" y="381443"/>
                  </a:lnTo>
                  <a:lnTo>
                    <a:pt x="543351" y="381443"/>
                  </a:lnTo>
                  <a:lnTo>
                    <a:pt x="549064" y="322369"/>
                  </a:lnTo>
                  <a:lnTo>
                    <a:pt x="568202" y="281824"/>
                  </a:lnTo>
                  <a:lnTo>
                    <a:pt x="521535" y="213466"/>
                  </a:lnTo>
                  <a:lnTo>
                    <a:pt x="529336" y="179724"/>
                  </a:lnTo>
                  <a:lnTo>
                    <a:pt x="549474" y="106528"/>
                  </a:lnTo>
                  <a:lnTo>
                    <a:pt x="607050" y="45828"/>
                  </a:lnTo>
                  <a:lnTo>
                    <a:pt x="598374" y="1071"/>
                  </a:lnTo>
                  <a:lnTo>
                    <a:pt x="519625" y="0"/>
                  </a:lnTo>
                  <a:lnTo>
                    <a:pt x="434859" y="40026"/>
                  </a:lnTo>
                  <a:lnTo>
                    <a:pt x="290965" y="92996"/>
                  </a:lnTo>
                  <a:lnTo>
                    <a:pt x="228980" y="83194"/>
                  </a:lnTo>
                  <a:lnTo>
                    <a:pt x="157926" y="48185"/>
                  </a:lnTo>
                  <a:lnTo>
                    <a:pt x="101601" y="95584"/>
                  </a:lnTo>
                  <a:lnTo>
                    <a:pt x="69626" y="53523"/>
                  </a:lnTo>
                  <a:lnTo>
                    <a:pt x="0" y="122042"/>
                  </a:lnTo>
                  <a:lnTo>
                    <a:pt x="16907" y="185812"/>
                  </a:lnTo>
                  <a:close/>
                  <a:moveTo>
                    <a:pt x="68984" y="63270"/>
                  </a:moveTo>
                  <a:lnTo>
                    <a:pt x="100637" y="104903"/>
                  </a:lnTo>
                  <a:lnTo>
                    <a:pt x="158926" y="55862"/>
                  </a:lnTo>
                  <a:lnTo>
                    <a:pt x="227070" y="89443"/>
                  </a:lnTo>
                  <a:lnTo>
                    <a:pt x="291680" y="99637"/>
                  </a:lnTo>
                  <a:lnTo>
                    <a:pt x="437305" y="46078"/>
                  </a:lnTo>
                  <a:lnTo>
                    <a:pt x="521089" y="6552"/>
                  </a:lnTo>
                  <a:lnTo>
                    <a:pt x="593053" y="7534"/>
                  </a:lnTo>
                  <a:lnTo>
                    <a:pt x="600105" y="43847"/>
                  </a:lnTo>
                  <a:lnTo>
                    <a:pt x="543762" y="103332"/>
                  </a:lnTo>
                  <a:lnTo>
                    <a:pt x="523124" y="178153"/>
                  </a:lnTo>
                  <a:lnTo>
                    <a:pt x="514661" y="214770"/>
                  </a:lnTo>
                  <a:lnTo>
                    <a:pt x="560829" y="282414"/>
                  </a:lnTo>
                  <a:lnTo>
                    <a:pt x="542976" y="320119"/>
                  </a:lnTo>
                  <a:lnTo>
                    <a:pt x="542726" y="320619"/>
                  </a:lnTo>
                  <a:lnTo>
                    <a:pt x="537495" y="374981"/>
                  </a:lnTo>
                  <a:lnTo>
                    <a:pt x="433074" y="374981"/>
                  </a:lnTo>
                  <a:lnTo>
                    <a:pt x="383622" y="303659"/>
                  </a:lnTo>
                  <a:lnTo>
                    <a:pt x="289644" y="303855"/>
                  </a:lnTo>
                  <a:lnTo>
                    <a:pt x="205129" y="266543"/>
                  </a:lnTo>
                  <a:lnTo>
                    <a:pt x="160640" y="222286"/>
                  </a:lnTo>
                  <a:lnTo>
                    <a:pt x="159997" y="221643"/>
                  </a:lnTo>
                  <a:lnTo>
                    <a:pt x="123935" y="212716"/>
                  </a:lnTo>
                  <a:lnTo>
                    <a:pt x="92531" y="189651"/>
                  </a:lnTo>
                  <a:lnTo>
                    <a:pt x="52362" y="199719"/>
                  </a:lnTo>
                  <a:lnTo>
                    <a:pt x="22584" y="181635"/>
                  </a:lnTo>
                  <a:lnTo>
                    <a:pt x="7302" y="124041"/>
                  </a:lnTo>
                  <a:close/>
                </a:path>
              </a:pathLst>
            </a:custGeom>
            <a:solidFill>
              <a:srgbClr val="231F20"/>
            </a:solidFill>
            <a:ln w="1785" cap="flat">
              <a:noFill/>
              <a:prstDash val="solid"/>
              <a:miter/>
            </a:ln>
          </p:spPr>
          <p:txBody>
            <a:bodyPr rtlCol="0" anchor="ctr"/>
            <a:lstStyle/>
            <a:p>
              <a:endParaRPr lang="de-AT"/>
            </a:p>
          </p:txBody>
        </p:sp>
        <p:sp>
          <p:nvSpPr>
            <p:cNvPr id="180" name="Freihandform: Form 179">
              <a:extLst>
                <a:ext uri="{FF2B5EF4-FFF2-40B4-BE49-F238E27FC236}">
                  <a16:creationId xmlns:a16="http://schemas.microsoft.com/office/drawing/2014/main" id="{83253FAD-D29D-4E7E-B4A5-1B91E5F1FE21}"/>
                </a:ext>
              </a:extLst>
            </p:cNvPr>
            <p:cNvSpPr/>
            <p:nvPr/>
          </p:nvSpPr>
          <p:spPr>
            <a:xfrm>
              <a:off x="6386787" y="5534560"/>
              <a:ext cx="299231" cy="568344"/>
            </a:xfrm>
            <a:custGeom>
              <a:avLst/>
              <a:gdLst>
                <a:gd name="connsiteX0" fmla="*/ 38134 w 299231"/>
                <a:gd name="connsiteY0" fmla="*/ 295911 h 568344"/>
                <a:gd name="connsiteX1" fmla="*/ 21209 w 299231"/>
                <a:gd name="connsiteY1" fmla="*/ 424451 h 568344"/>
                <a:gd name="connsiteX2" fmla="*/ 21209 w 299231"/>
                <a:gd name="connsiteY2" fmla="*/ 425130 h 568344"/>
                <a:gd name="connsiteX3" fmla="*/ 39597 w 299231"/>
                <a:gd name="connsiteY3" fmla="*/ 488918 h 568344"/>
                <a:gd name="connsiteX4" fmla="*/ 44596 w 299231"/>
                <a:gd name="connsiteY4" fmla="*/ 511876 h 568344"/>
                <a:gd name="connsiteX5" fmla="*/ 107421 w 299231"/>
                <a:gd name="connsiteY5" fmla="*/ 568345 h 568344"/>
                <a:gd name="connsiteX6" fmla="*/ 190436 w 299231"/>
                <a:gd name="connsiteY6" fmla="*/ 539780 h 568344"/>
                <a:gd name="connsiteX7" fmla="*/ 203469 w 299231"/>
                <a:gd name="connsiteY7" fmla="*/ 470458 h 568344"/>
                <a:gd name="connsiteX8" fmla="*/ 253867 w 299231"/>
                <a:gd name="connsiteY8" fmla="*/ 481865 h 568344"/>
                <a:gd name="connsiteX9" fmla="*/ 287948 w 299231"/>
                <a:gd name="connsiteY9" fmla="*/ 413097 h 568344"/>
                <a:gd name="connsiteX10" fmla="*/ 286163 w 299231"/>
                <a:gd name="connsiteY10" fmla="*/ 294518 h 568344"/>
                <a:gd name="connsiteX11" fmla="*/ 287948 w 299231"/>
                <a:gd name="connsiteY11" fmla="*/ 207575 h 568344"/>
                <a:gd name="connsiteX12" fmla="*/ 299231 w 299231"/>
                <a:gd name="connsiteY12" fmla="*/ 87175 h 568344"/>
                <a:gd name="connsiteX13" fmla="*/ 238532 w 299231"/>
                <a:gd name="connsiteY13" fmla="*/ 0 h 568344"/>
                <a:gd name="connsiteX14" fmla="*/ 174958 w 299231"/>
                <a:gd name="connsiteY14" fmla="*/ 8641 h 568344"/>
                <a:gd name="connsiteX15" fmla="*/ 86622 w 299231"/>
                <a:gd name="connsiteY15" fmla="*/ 72054 h 568344"/>
                <a:gd name="connsiteX16" fmla="*/ 3999 w 299231"/>
                <a:gd name="connsiteY16" fmla="*/ 85247 h 568344"/>
                <a:gd name="connsiteX17" fmla="*/ 0 w 299231"/>
                <a:gd name="connsiteY17" fmla="*/ 154034 h 568344"/>
                <a:gd name="connsiteX18" fmla="*/ 50702 w 299231"/>
                <a:gd name="connsiteY18" fmla="*/ 208950 h 568344"/>
                <a:gd name="connsiteX19" fmla="*/ 6552 w 299231"/>
                <a:gd name="connsiteY19" fmla="*/ 151731 h 568344"/>
                <a:gd name="connsiteX20" fmla="*/ 10123 w 299231"/>
                <a:gd name="connsiteY20" fmla="*/ 90889 h 568344"/>
                <a:gd name="connsiteX21" fmla="*/ 89104 w 299231"/>
                <a:gd name="connsiteY21" fmla="*/ 78267 h 568344"/>
                <a:gd name="connsiteX22" fmla="*/ 177386 w 299231"/>
                <a:gd name="connsiteY22" fmla="*/ 14889 h 568344"/>
                <a:gd name="connsiteX23" fmla="*/ 235443 w 299231"/>
                <a:gd name="connsiteY23" fmla="*/ 6998 h 568344"/>
                <a:gd name="connsiteX24" fmla="*/ 292572 w 299231"/>
                <a:gd name="connsiteY24" fmla="*/ 88979 h 568344"/>
                <a:gd name="connsiteX25" fmla="*/ 281503 w 299231"/>
                <a:gd name="connsiteY25" fmla="*/ 207146 h 568344"/>
                <a:gd name="connsiteX26" fmla="*/ 279718 w 299231"/>
                <a:gd name="connsiteY26" fmla="*/ 294625 h 568344"/>
                <a:gd name="connsiteX27" fmla="*/ 281503 w 299231"/>
                <a:gd name="connsiteY27" fmla="*/ 411740 h 568344"/>
                <a:gd name="connsiteX28" fmla="*/ 250368 w 299231"/>
                <a:gd name="connsiteY28" fmla="*/ 474528 h 568344"/>
                <a:gd name="connsiteX29" fmla="*/ 198399 w 299231"/>
                <a:gd name="connsiteY29" fmla="*/ 462781 h 568344"/>
                <a:gd name="connsiteX30" fmla="*/ 184830 w 299231"/>
                <a:gd name="connsiteY30" fmla="*/ 534978 h 568344"/>
                <a:gd name="connsiteX31" fmla="*/ 108991 w 299231"/>
                <a:gd name="connsiteY31" fmla="*/ 561007 h 568344"/>
                <a:gd name="connsiteX32" fmla="*/ 50541 w 299231"/>
                <a:gd name="connsiteY32" fmla="*/ 508484 h 568344"/>
                <a:gd name="connsiteX33" fmla="*/ 45971 w 299231"/>
                <a:gd name="connsiteY33" fmla="*/ 487471 h 568344"/>
                <a:gd name="connsiteX34" fmla="*/ 27868 w 299231"/>
                <a:gd name="connsiteY34" fmla="*/ 424665 h 568344"/>
                <a:gd name="connsiteX35" fmla="*/ 44704 w 299231"/>
                <a:gd name="connsiteY35" fmla="*/ 296857 h 568344"/>
                <a:gd name="connsiteX36" fmla="*/ 57629 w 299231"/>
                <a:gd name="connsiteY36" fmla="*/ 206932 h 5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9231" h="568344">
                  <a:moveTo>
                    <a:pt x="38134" y="295911"/>
                  </a:moveTo>
                  <a:lnTo>
                    <a:pt x="21209" y="424451"/>
                  </a:lnTo>
                  <a:lnTo>
                    <a:pt x="21209" y="425130"/>
                  </a:lnTo>
                  <a:lnTo>
                    <a:pt x="39597" y="488918"/>
                  </a:lnTo>
                  <a:lnTo>
                    <a:pt x="44596" y="511876"/>
                  </a:lnTo>
                  <a:lnTo>
                    <a:pt x="107421" y="568345"/>
                  </a:lnTo>
                  <a:lnTo>
                    <a:pt x="190436" y="539780"/>
                  </a:lnTo>
                  <a:lnTo>
                    <a:pt x="203469" y="470458"/>
                  </a:lnTo>
                  <a:lnTo>
                    <a:pt x="253867" y="481865"/>
                  </a:lnTo>
                  <a:lnTo>
                    <a:pt x="287948" y="413097"/>
                  </a:lnTo>
                  <a:lnTo>
                    <a:pt x="286163" y="294518"/>
                  </a:lnTo>
                  <a:lnTo>
                    <a:pt x="287948" y="207575"/>
                  </a:lnTo>
                  <a:lnTo>
                    <a:pt x="299231" y="87175"/>
                  </a:lnTo>
                  <a:lnTo>
                    <a:pt x="238532" y="0"/>
                  </a:lnTo>
                  <a:lnTo>
                    <a:pt x="174958" y="8641"/>
                  </a:lnTo>
                  <a:lnTo>
                    <a:pt x="86622" y="72054"/>
                  </a:lnTo>
                  <a:lnTo>
                    <a:pt x="3999" y="85247"/>
                  </a:lnTo>
                  <a:lnTo>
                    <a:pt x="0" y="154034"/>
                  </a:lnTo>
                  <a:lnTo>
                    <a:pt x="50702" y="208950"/>
                  </a:lnTo>
                  <a:close/>
                  <a:moveTo>
                    <a:pt x="6552" y="151731"/>
                  </a:moveTo>
                  <a:lnTo>
                    <a:pt x="10123" y="90889"/>
                  </a:lnTo>
                  <a:lnTo>
                    <a:pt x="89104" y="78267"/>
                  </a:lnTo>
                  <a:lnTo>
                    <a:pt x="177386" y="14889"/>
                  </a:lnTo>
                  <a:lnTo>
                    <a:pt x="235443" y="6998"/>
                  </a:lnTo>
                  <a:lnTo>
                    <a:pt x="292572" y="88979"/>
                  </a:lnTo>
                  <a:lnTo>
                    <a:pt x="281503" y="207146"/>
                  </a:lnTo>
                  <a:lnTo>
                    <a:pt x="279718" y="294625"/>
                  </a:lnTo>
                  <a:lnTo>
                    <a:pt x="281503" y="411740"/>
                  </a:lnTo>
                  <a:lnTo>
                    <a:pt x="250368" y="474528"/>
                  </a:lnTo>
                  <a:lnTo>
                    <a:pt x="198399" y="462781"/>
                  </a:lnTo>
                  <a:lnTo>
                    <a:pt x="184830" y="534978"/>
                  </a:lnTo>
                  <a:lnTo>
                    <a:pt x="108991" y="561007"/>
                  </a:lnTo>
                  <a:lnTo>
                    <a:pt x="50541" y="508484"/>
                  </a:lnTo>
                  <a:lnTo>
                    <a:pt x="45971" y="487471"/>
                  </a:lnTo>
                  <a:lnTo>
                    <a:pt x="27868" y="424665"/>
                  </a:lnTo>
                  <a:lnTo>
                    <a:pt x="44704" y="296857"/>
                  </a:lnTo>
                  <a:lnTo>
                    <a:pt x="57629" y="206932"/>
                  </a:lnTo>
                  <a:close/>
                </a:path>
              </a:pathLst>
            </a:custGeom>
            <a:solidFill>
              <a:srgbClr val="231F20"/>
            </a:solidFill>
            <a:ln w="1785" cap="flat">
              <a:noFill/>
              <a:prstDash val="solid"/>
              <a:miter/>
            </a:ln>
          </p:spPr>
          <p:txBody>
            <a:bodyPr rtlCol="0" anchor="ctr"/>
            <a:lstStyle/>
            <a:p>
              <a:endParaRPr lang="de-AT"/>
            </a:p>
          </p:txBody>
        </p:sp>
        <p:sp>
          <p:nvSpPr>
            <p:cNvPr id="181" name="Freihandform: Form 180">
              <a:extLst>
                <a:ext uri="{FF2B5EF4-FFF2-40B4-BE49-F238E27FC236}">
                  <a16:creationId xmlns:a16="http://schemas.microsoft.com/office/drawing/2014/main" id="{EB63D3BB-D74C-4A99-A08A-9AB0153B7C81}"/>
                </a:ext>
              </a:extLst>
            </p:cNvPr>
            <p:cNvSpPr/>
            <p:nvPr/>
          </p:nvSpPr>
          <p:spPr>
            <a:xfrm>
              <a:off x="6452593" y="5107699"/>
              <a:ext cx="204254" cy="393440"/>
            </a:xfrm>
            <a:custGeom>
              <a:avLst/>
              <a:gdLst>
                <a:gd name="connsiteX0" fmla="*/ 38384 w 204254"/>
                <a:gd name="connsiteY0" fmla="*/ 299999 h 393440"/>
                <a:gd name="connsiteX1" fmla="*/ 43525 w 204254"/>
                <a:gd name="connsiteY1" fmla="*/ 345023 h 393440"/>
                <a:gd name="connsiteX2" fmla="*/ 102564 w 204254"/>
                <a:gd name="connsiteY2" fmla="*/ 393440 h 393440"/>
                <a:gd name="connsiteX3" fmla="*/ 136235 w 204254"/>
                <a:gd name="connsiteY3" fmla="*/ 388870 h 393440"/>
                <a:gd name="connsiteX4" fmla="*/ 178636 w 204254"/>
                <a:gd name="connsiteY4" fmla="*/ 280414 h 393440"/>
                <a:gd name="connsiteX5" fmla="*/ 178760 w 204254"/>
                <a:gd name="connsiteY5" fmla="*/ 280093 h 393440"/>
                <a:gd name="connsiteX6" fmla="*/ 192239 w 204254"/>
                <a:gd name="connsiteY6" fmla="*/ 199398 h 393440"/>
                <a:gd name="connsiteX7" fmla="*/ 204254 w 204254"/>
                <a:gd name="connsiteY7" fmla="*/ 127701 h 393440"/>
                <a:gd name="connsiteX8" fmla="*/ 185098 w 204254"/>
                <a:gd name="connsiteY8" fmla="*/ 32813 h 393440"/>
                <a:gd name="connsiteX9" fmla="*/ 185098 w 204254"/>
                <a:gd name="connsiteY9" fmla="*/ 32456 h 393440"/>
                <a:gd name="connsiteX10" fmla="*/ 170655 w 204254"/>
                <a:gd name="connsiteY10" fmla="*/ 0 h 393440"/>
                <a:gd name="connsiteX11" fmla="*/ 141252 w 204254"/>
                <a:gd name="connsiteY11" fmla="*/ 3999 h 393440"/>
                <a:gd name="connsiteX12" fmla="*/ 138163 w 204254"/>
                <a:gd name="connsiteY12" fmla="*/ 73000 h 393440"/>
                <a:gd name="connsiteX13" fmla="*/ 38741 w 204254"/>
                <a:gd name="connsiteY13" fmla="*/ 104671 h 393440"/>
                <a:gd name="connsiteX14" fmla="*/ 0 w 204254"/>
                <a:gd name="connsiteY14" fmla="*/ 135182 h 393440"/>
                <a:gd name="connsiteX15" fmla="*/ 11372 w 204254"/>
                <a:gd name="connsiteY15" fmla="*/ 192168 h 393440"/>
                <a:gd name="connsiteX16" fmla="*/ 41954 w 204254"/>
                <a:gd name="connsiteY16" fmla="*/ 110562 h 393440"/>
                <a:gd name="connsiteX17" fmla="*/ 144554 w 204254"/>
                <a:gd name="connsiteY17" fmla="*/ 77802 h 393440"/>
                <a:gd name="connsiteX18" fmla="*/ 147572 w 204254"/>
                <a:gd name="connsiteY18" fmla="*/ 9676 h 393440"/>
                <a:gd name="connsiteX19" fmla="*/ 166817 w 204254"/>
                <a:gd name="connsiteY19" fmla="*/ 7070 h 393440"/>
                <a:gd name="connsiteX20" fmla="*/ 178992 w 204254"/>
                <a:gd name="connsiteY20" fmla="*/ 34438 h 393440"/>
                <a:gd name="connsiteX21" fmla="*/ 197845 w 204254"/>
                <a:gd name="connsiteY21" fmla="*/ 127808 h 393440"/>
                <a:gd name="connsiteX22" fmla="*/ 186026 w 204254"/>
                <a:gd name="connsiteY22" fmla="*/ 198327 h 393440"/>
                <a:gd name="connsiteX23" fmla="*/ 172655 w 204254"/>
                <a:gd name="connsiteY23" fmla="*/ 278361 h 393440"/>
                <a:gd name="connsiteX24" fmla="*/ 131772 w 204254"/>
                <a:gd name="connsiteY24" fmla="*/ 382978 h 393440"/>
                <a:gd name="connsiteX25" fmla="*/ 104689 w 204254"/>
                <a:gd name="connsiteY25" fmla="*/ 386674 h 393440"/>
                <a:gd name="connsiteX26" fmla="*/ 49845 w 204254"/>
                <a:gd name="connsiteY26" fmla="*/ 341703 h 393440"/>
                <a:gd name="connsiteX27" fmla="*/ 44971 w 204254"/>
                <a:gd name="connsiteY27" fmla="*/ 299070 h 393440"/>
                <a:gd name="connsiteX28" fmla="*/ 44971 w 204254"/>
                <a:gd name="connsiteY28" fmla="*/ 298856 h 393440"/>
                <a:gd name="connsiteX29" fmla="*/ 17871 w 204254"/>
                <a:gd name="connsiteY29" fmla="*/ 190918 h 393440"/>
                <a:gd name="connsiteX30" fmla="*/ 7266 w 204254"/>
                <a:gd name="connsiteY30" fmla="*/ 137913 h 39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4254" h="393440">
                  <a:moveTo>
                    <a:pt x="38384" y="299999"/>
                  </a:moveTo>
                  <a:lnTo>
                    <a:pt x="43525" y="345023"/>
                  </a:lnTo>
                  <a:lnTo>
                    <a:pt x="102564" y="393440"/>
                  </a:lnTo>
                  <a:lnTo>
                    <a:pt x="136235" y="388870"/>
                  </a:lnTo>
                  <a:lnTo>
                    <a:pt x="178636" y="280414"/>
                  </a:lnTo>
                  <a:lnTo>
                    <a:pt x="178760" y="280093"/>
                  </a:lnTo>
                  <a:lnTo>
                    <a:pt x="192239" y="199398"/>
                  </a:lnTo>
                  <a:lnTo>
                    <a:pt x="204254" y="127701"/>
                  </a:lnTo>
                  <a:lnTo>
                    <a:pt x="185098" y="32813"/>
                  </a:lnTo>
                  <a:lnTo>
                    <a:pt x="185098" y="32456"/>
                  </a:lnTo>
                  <a:lnTo>
                    <a:pt x="170655" y="0"/>
                  </a:lnTo>
                  <a:lnTo>
                    <a:pt x="141252" y="3999"/>
                  </a:lnTo>
                  <a:lnTo>
                    <a:pt x="138163" y="73000"/>
                  </a:lnTo>
                  <a:lnTo>
                    <a:pt x="38741" y="104671"/>
                  </a:lnTo>
                  <a:lnTo>
                    <a:pt x="0" y="135182"/>
                  </a:lnTo>
                  <a:lnTo>
                    <a:pt x="11372" y="192168"/>
                  </a:lnTo>
                  <a:close/>
                  <a:moveTo>
                    <a:pt x="41954" y="110562"/>
                  </a:moveTo>
                  <a:lnTo>
                    <a:pt x="144554" y="77802"/>
                  </a:lnTo>
                  <a:lnTo>
                    <a:pt x="147572" y="9676"/>
                  </a:lnTo>
                  <a:lnTo>
                    <a:pt x="166817" y="7070"/>
                  </a:lnTo>
                  <a:lnTo>
                    <a:pt x="178992" y="34438"/>
                  </a:lnTo>
                  <a:lnTo>
                    <a:pt x="197845" y="127808"/>
                  </a:lnTo>
                  <a:lnTo>
                    <a:pt x="186026" y="198327"/>
                  </a:lnTo>
                  <a:lnTo>
                    <a:pt x="172655" y="278361"/>
                  </a:lnTo>
                  <a:lnTo>
                    <a:pt x="131772" y="382978"/>
                  </a:lnTo>
                  <a:lnTo>
                    <a:pt x="104689" y="386674"/>
                  </a:lnTo>
                  <a:lnTo>
                    <a:pt x="49845" y="341703"/>
                  </a:lnTo>
                  <a:lnTo>
                    <a:pt x="44971" y="299070"/>
                  </a:lnTo>
                  <a:lnTo>
                    <a:pt x="44971" y="298856"/>
                  </a:lnTo>
                  <a:lnTo>
                    <a:pt x="17871" y="190918"/>
                  </a:lnTo>
                  <a:lnTo>
                    <a:pt x="7266" y="137913"/>
                  </a:lnTo>
                  <a:close/>
                </a:path>
              </a:pathLst>
            </a:custGeom>
            <a:solidFill>
              <a:srgbClr val="231F20"/>
            </a:solidFill>
            <a:ln w="1785" cap="flat">
              <a:noFill/>
              <a:prstDash val="solid"/>
              <a:miter/>
            </a:ln>
          </p:spPr>
          <p:txBody>
            <a:bodyPr rtlCol="0" anchor="ctr"/>
            <a:lstStyle/>
            <a:p>
              <a:endParaRPr lang="de-AT"/>
            </a:p>
          </p:txBody>
        </p:sp>
        <p:sp>
          <p:nvSpPr>
            <p:cNvPr id="182" name="Freihandform: Form 181">
              <a:extLst>
                <a:ext uri="{FF2B5EF4-FFF2-40B4-BE49-F238E27FC236}">
                  <a16:creationId xmlns:a16="http://schemas.microsoft.com/office/drawing/2014/main" id="{CAC80D15-F9AE-4199-AD97-2247016C25E0}"/>
                </a:ext>
              </a:extLst>
            </p:cNvPr>
            <p:cNvSpPr/>
            <p:nvPr/>
          </p:nvSpPr>
          <p:spPr>
            <a:xfrm>
              <a:off x="5294444" y="5768414"/>
              <a:ext cx="236460" cy="147036"/>
            </a:xfrm>
            <a:custGeom>
              <a:avLst/>
              <a:gdLst>
                <a:gd name="connsiteX0" fmla="*/ 94816 w 236460"/>
                <a:gd name="connsiteY0" fmla="*/ 111652 h 147036"/>
                <a:gd name="connsiteX1" fmla="*/ 98815 w 236460"/>
                <a:gd name="connsiteY1" fmla="*/ 131111 h 147036"/>
                <a:gd name="connsiteX2" fmla="*/ 172530 w 236460"/>
                <a:gd name="connsiteY2" fmla="*/ 147036 h 147036"/>
                <a:gd name="connsiteX3" fmla="*/ 236461 w 236460"/>
                <a:gd name="connsiteY3" fmla="*/ 101243 h 147036"/>
                <a:gd name="connsiteX4" fmla="*/ 236461 w 236460"/>
                <a:gd name="connsiteY4" fmla="*/ 0 h 147036"/>
                <a:gd name="connsiteX5" fmla="*/ 145858 w 236460"/>
                <a:gd name="connsiteY5" fmla="*/ 1357 h 147036"/>
                <a:gd name="connsiteX6" fmla="*/ 58611 w 236460"/>
                <a:gd name="connsiteY6" fmla="*/ 47256 h 147036"/>
                <a:gd name="connsiteX7" fmla="*/ 0 w 236460"/>
                <a:gd name="connsiteY7" fmla="*/ 72375 h 147036"/>
                <a:gd name="connsiteX8" fmla="*/ 56361 w 236460"/>
                <a:gd name="connsiteY8" fmla="*/ 111652 h 147036"/>
                <a:gd name="connsiteX9" fmla="*/ 94816 w 236460"/>
                <a:gd name="connsiteY9" fmla="*/ 111652 h 147036"/>
                <a:gd name="connsiteX10" fmla="*/ 61289 w 236460"/>
                <a:gd name="connsiteY10" fmla="*/ 53184 h 147036"/>
                <a:gd name="connsiteX11" fmla="*/ 147500 w 236460"/>
                <a:gd name="connsiteY11" fmla="*/ 7838 h 147036"/>
                <a:gd name="connsiteX12" fmla="*/ 229998 w 236460"/>
                <a:gd name="connsiteY12" fmla="*/ 6605 h 147036"/>
                <a:gd name="connsiteX13" fmla="*/ 229998 w 236460"/>
                <a:gd name="connsiteY13" fmla="*/ 97923 h 147036"/>
                <a:gd name="connsiteX14" fmla="*/ 171084 w 236460"/>
                <a:gd name="connsiteY14" fmla="*/ 140109 h 147036"/>
                <a:gd name="connsiteX15" fmla="*/ 104296 w 236460"/>
                <a:gd name="connsiteY15" fmla="*/ 125666 h 147036"/>
                <a:gd name="connsiteX16" fmla="*/ 100083 w 236460"/>
                <a:gd name="connsiteY16" fmla="*/ 105171 h 147036"/>
                <a:gd name="connsiteX17" fmla="*/ 58414 w 236460"/>
                <a:gd name="connsiteY17" fmla="*/ 105171 h 147036"/>
                <a:gd name="connsiteX18" fmla="*/ 13282 w 236460"/>
                <a:gd name="connsiteY18" fmla="*/ 73768 h 14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460" h="147036">
                  <a:moveTo>
                    <a:pt x="94816" y="111652"/>
                  </a:moveTo>
                  <a:lnTo>
                    <a:pt x="98815" y="131111"/>
                  </a:lnTo>
                  <a:lnTo>
                    <a:pt x="172530" y="147036"/>
                  </a:lnTo>
                  <a:lnTo>
                    <a:pt x="236461" y="101243"/>
                  </a:lnTo>
                  <a:lnTo>
                    <a:pt x="236461" y="0"/>
                  </a:lnTo>
                  <a:lnTo>
                    <a:pt x="145858" y="1357"/>
                  </a:lnTo>
                  <a:lnTo>
                    <a:pt x="58611" y="47256"/>
                  </a:lnTo>
                  <a:lnTo>
                    <a:pt x="0" y="72375"/>
                  </a:lnTo>
                  <a:lnTo>
                    <a:pt x="56361" y="111652"/>
                  </a:lnTo>
                  <a:lnTo>
                    <a:pt x="94816" y="111652"/>
                  </a:lnTo>
                  <a:close/>
                  <a:moveTo>
                    <a:pt x="61289" y="53184"/>
                  </a:moveTo>
                  <a:lnTo>
                    <a:pt x="147500" y="7838"/>
                  </a:lnTo>
                  <a:lnTo>
                    <a:pt x="229998" y="6605"/>
                  </a:lnTo>
                  <a:lnTo>
                    <a:pt x="229998" y="97923"/>
                  </a:lnTo>
                  <a:lnTo>
                    <a:pt x="171084" y="140109"/>
                  </a:lnTo>
                  <a:lnTo>
                    <a:pt x="104296" y="125666"/>
                  </a:lnTo>
                  <a:lnTo>
                    <a:pt x="100083" y="105171"/>
                  </a:lnTo>
                  <a:lnTo>
                    <a:pt x="58414" y="105171"/>
                  </a:lnTo>
                  <a:lnTo>
                    <a:pt x="13282" y="73768"/>
                  </a:lnTo>
                  <a:close/>
                </a:path>
              </a:pathLst>
            </a:custGeom>
            <a:solidFill>
              <a:srgbClr val="231F20"/>
            </a:solidFill>
            <a:ln w="1785" cap="flat">
              <a:noFill/>
              <a:prstDash val="solid"/>
              <a:miter/>
            </a:ln>
          </p:spPr>
          <p:txBody>
            <a:bodyPr rtlCol="0" anchor="ctr"/>
            <a:lstStyle/>
            <a:p>
              <a:endParaRPr lang="de-AT"/>
            </a:p>
          </p:txBody>
        </p:sp>
        <p:sp>
          <p:nvSpPr>
            <p:cNvPr id="183" name="Freihandform: Form 182">
              <a:extLst>
                <a:ext uri="{FF2B5EF4-FFF2-40B4-BE49-F238E27FC236}">
                  <a16:creationId xmlns:a16="http://schemas.microsoft.com/office/drawing/2014/main" id="{27E30059-B712-4EE8-9B70-B310231F658E}"/>
                </a:ext>
              </a:extLst>
            </p:cNvPr>
            <p:cNvSpPr/>
            <p:nvPr/>
          </p:nvSpPr>
          <p:spPr>
            <a:xfrm>
              <a:off x="5581892" y="5742849"/>
              <a:ext cx="104849" cy="76892"/>
            </a:xfrm>
            <a:custGeom>
              <a:avLst/>
              <a:gdLst>
                <a:gd name="connsiteX0" fmla="*/ 90353 w 104849"/>
                <a:gd name="connsiteY0" fmla="*/ 76892 h 76892"/>
                <a:gd name="connsiteX1" fmla="*/ 104850 w 104849"/>
                <a:gd name="connsiteY1" fmla="*/ 36974 h 76892"/>
                <a:gd name="connsiteX2" fmla="*/ 46649 w 104849"/>
                <a:gd name="connsiteY2" fmla="*/ 0 h 76892"/>
                <a:gd name="connsiteX3" fmla="*/ 1250 w 104849"/>
                <a:gd name="connsiteY3" fmla="*/ 1071 h 76892"/>
                <a:gd name="connsiteX4" fmla="*/ 0 w 104849"/>
                <a:gd name="connsiteY4" fmla="*/ 43579 h 76892"/>
                <a:gd name="connsiteX5" fmla="*/ 62110 w 104849"/>
                <a:gd name="connsiteY5" fmla="*/ 73714 h 76892"/>
                <a:gd name="connsiteX6" fmla="*/ 7516 w 104849"/>
                <a:gd name="connsiteY6" fmla="*/ 7409 h 76892"/>
                <a:gd name="connsiteX7" fmla="*/ 44793 w 104849"/>
                <a:gd name="connsiteY7" fmla="*/ 6517 h 76892"/>
                <a:gd name="connsiteX8" fmla="*/ 96941 w 104849"/>
                <a:gd name="connsiteY8" fmla="*/ 39651 h 76892"/>
                <a:gd name="connsiteX9" fmla="*/ 85944 w 104849"/>
                <a:gd name="connsiteY9" fmla="*/ 69876 h 76892"/>
                <a:gd name="connsiteX10" fmla="*/ 63877 w 104849"/>
                <a:gd name="connsiteY10" fmla="*/ 67412 h 76892"/>
                <a:gd name="connsiteX11" fmla="*/ 6552 w 104849"/>
                <a:gd name="connsiteY11" fmla="*/ 39580 h 7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849" h="76892">
                  <a:moveTo>
                    <a:pt x="90353" y="76892"/>
                  </a:moveTo>
                  <a:lnTo>
                    <a:pt x="104850" y="36974"/>
                  </a:lnTo>
                  <a:lnTo>
                    <a:pt x="46649" y="0"/>
                  </a:lnTo>
                  <a:lnTo>
                    <a:pt x="1250" y="1071"/>
                  </a:lnTo>
                  <a:lnTo>
                    <a:pt x="0" y="43579"/>
                  </a:lnTo>
                  <a:lnTo>
                    <a:pt x="62110" y="73714"/>
                  </a:lnTo>
                  <a:close/>
                  <a:moveTo>
                    <a:pt x="7516" y="7409"/>
                  </a:moveTo>
                  <a:lnTo>
                    <a:pt x="44793" y="6517"/>
                  </a:lnTo>
                  <a:lnTo>
                    <a:pt x="96941" y="39651"/>
                  </a:lnTo>
                  <a:lnTo>
                    <a:pt x="85944" y="69876"/>
                  </a:lnTo>
                  <a:lnTo>
                    <a:pt x="63877" y="67412"/>
                  </a:lnTo>
                  <a:lnTo>
                    <a:pt x="6552" y="39580"/>
                  </a:lnTo>
                  <a:close/>
                </a:path>
              </a:pathLst>
            </a:custGeom>
            <a:solidFill>
              <a:srgbClr val="231F20"/>
            </a:solidFill>
            <a:ln w="1785" cap="flat">
              <a:noFill/>
              <a:prstDash val="solid"/>
              <a:miter/>
            </a:ln>
          </p:spPr>
          <p:txBody>
            <a:bodyPr rtlCol="0" anchor="ctr"/>
            <a:lstStyle/>
            <a:p>
              <a:endParaRPr lang="de-AT"/>
            </a:p>
          </p:txBody>
        </p:sp>
        <p:sp>
          <p:nvSpPr>
            <p:cNvPr id="184" name="Freihandform: Form 183">
              <a:extLst>
                <a:ext uri="{FF2B5EF4-FFF2-40B4-BE49-F238E27FC236}">
                  <a16:creationId xmlns:a16="http://schemas.microsoft.com/office/drawing/2014/main" id="{94F31554-66C4-40F0-94E2-7243E8C6F57A}"/>
                </a:ext>
              </a:extLst>
            </p:cNvPr>
            <p:cNvSpPr/>
            <p:nvPr/>
          </p:nvSpPr>
          <p:spPr>
            <a:xfrm>
              <a:off x="9271322" y="6588537"/>
              <a:ext cx="533674" cy="151873"/>
            </a:xfrm>
            <a:custGeom>
              <a:avLst/>
              <a:gdLst>
                <a:gd name="connsiteX0" fmla="*/ 172994 w 533674"/>
                <a:gd name="connsiteY0" fmla="*/ 123309 h 151873"/>
                <a:gd name="connsiteX1" fmla="*/ 253331 w 533674"/>
                <a:gd name="connsiteY1" fmla="*/ 151874 h 151873"/>
                <a:gd name="connsiteX2" fmla="*/ 353468 w 533674"/>
                <a:gd name="connsiteY2" fmla="*/ 139609 h 151873"/>
                <a:gd name="connsiteX3" fmla="*/ 353914 w 533674"/>
                <a:gd name="connsiteY3" fmla="*/ 139609 h 151873"/>
                <a:gd name="connsiteX4" fmla="*/ 479884 w 533674"/>
                <a:gd name="connsiteY4" fmla="*/ 85890 h 151873"/>
                <a:gd name="connsiteX5" fmla="*/ 533675 w 533674"/>
                <a:gd name="connsiteY5" fmla="*/ 22994 h 151873"/>
                <a:gd name="connsiteX6" fmla="*/ 464637 w 533674"/>
                <a:gd name="connsiteY6" fmla="*/ 0 h 151873"/>
                <a:gd name="connsiteX7" fmla="*/ 377658 w 533674"/>
                <a:gd name="connsiteY7" fmla="*/ 38812 h 151873"/>
                <a:gd name="connsiteX8" fmla="*/ 268917 w 533674"/>
                <a:gd name="connsiteY8" fmla="*/ 21709 h 151873"/>
                <a:gd name="connsiteX9" fmla="*/ 168120 w 533674"/>
                <a:gd name="connsiteY9" fmla="*/ 54719 h 151873"/>
                <a:gd name="connsiteX10" fmla="*/ 117453 w 533674"/>
                <a:gd name="connsiteY10" fmla="*/ 60735 h 151873"/>
                <a:gd name="connsiteX11" fmla="*/ 71036 w 533674"/>
                <a:gd name="connsiteY11" fmla="*/ 18710 h 151873"/>
                <a:gd name="connsiteX12" fmla="*/ 0 w 533674"/>
                <a:gd name="connsiteY12" fmla="*/ 35170 h 151873"/>
                <a:gd name="connsiteX13" fmla="*/ 9979 w 533674"/>
                <a:gd name="connsiteY13" fmla="*/ 138181 h 151873"/>
                <a:gd name="connsiteX14" fmla="*/ 69055 w 533674"/>
                <a:gd name="connsiteY14" fmla="*/ 25779 h 151873"/>
                <a:gd name="connsiteX15" fmla="*/ 115222 w 533674"/>
                <a:gd name="connsiteY15" fmla="*/ 67501 h 151873"/>
                <a:gd name="connsiteX16" fmla="*/ 169120 w 533674"/>
                <a:gd name="connsiteY16" fmla="*/ 61128 h 151873"/>
                <a:gd name="connsiteX17" fmla="*/ 169441 w 533674"/>
                <a:gd name="connsiteY17" fmla="*/ 61128 h 151873"/>
                <a:gd name="connsiteX18" fmla="*/ 269417 w 533674"/>
                <a:gd name="connsiteY18" fmla="*/ 28404 h 151873"/>
                <a:gd name="connsiteX19" fmla="*/ 377569 w 533674"/>
                <a:gd name="connsiteY19" fmla="*/ 45328 h 151873"/>
                <a:gd name="connsiteX20" fmla="*/ 378515 w 533674"/>
                <a:gd name="connsiteY20" fmla="*/ 45489 h 151873"/>
                <a:gd name="connsiteX21" fmla="*/ 464977 w 533674"/>
                <a:gd name="connsiteY21" fmla="*/ 6909 h 151873"/>
                <a:gd name="connsiteX22" fmla="*/ 522481 w 533674"/>
                <a:gd name="connsiteY22" fmla="*/ 26065 h 151873"/>
                <a:gd name="connsiteX23" fmla="*/ 475920 w 533674"/>
                <a:gd name="connsiteY23" fmla="*/ 80498 h 151873"/>
                <a:gd name="connsiteX24" fmla="*/ 352182 w 533674"/>
                <a:gd name="connsiteY24" fmla="*/ 133253 h 151873"/>
                <a:gd name="connsiteX25" fmla="*/ 253992 w 533674"/>
                <a:gd name="connsiteY25" fmla="*/ 145286 h 151873"/>
                <a:gd name="connsiteX26" fmla="*/ 173833 w 533674"/>
                <a:gd name="connsiteY26" fmla="*/ 116722 h 151873"/>
                <a:gd name="connsiteX27" fmla="*/ 15657 w 533674"/>
                <a:gd name="connsiteY27" fmla="*/ 131129 h 151873"/>
                <a:gd name="connsiteX28" fmla="*/ 6837 w 533674"/>
                <a:gd name="connsiteY28" fmla="*/ 40187 h 15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3674" h="151873">
                  <a:moveTo>
                    <a:pt x="172994" y="123309"/>
                  </a:moveTo>
                  <a:lnTo>
                    <a:pt x="253331" y="151874"/>
                  </a:lnTo>
                  <a:lnTo>
                    <a:pt x="353468" y="139609"/>
                  </a:lnTo>
                  <a:lnTo>
                    <a:pt x="353914" y="139609"/>
                  </a:lnTo>
                  <a:lnTo>
                    <a:pt x="479884" y="85890"/>
                  </a:lnTo>
                  <a:lnTo>
                    <a:pt x="533675" y="22994"/>
                  </a:lnTo>
                  <a:lnTo>
                    <a:pt x="464637" y="0"/>
                  </a:lnTo>
                  <a:lnTo>
                    <a:pt x="377658" y="38812"/>
                  </a:lnTo>
                  <a:lnTo>
                    <a:pt x="268917" y="21709"/>
                  </a:lnTo>
                  <a:lnTo>
                    <a:pt x="168120" y="54719"/>
                  </a:lnTo>
                  <a:lnTo>
                    <a:pt x="117453" y="60735"/>
                  </a:lnTo>
                  <a:lnTo>
                    <a:pt x="71036" y="18710"/>
                  </a:lnTo>
                  <a:lnTo>
                    <a:pt x="0" y="35170"/>
                  </a:lnTo>
                  <a:lnTo>
                    <a:pt x="9979" y="138181"/>
                  </a:lnTo>
                  <a:close/>
                  <a:moveTo>
                    <a:pt x="69055" y="25779"/>
                  </a:moveTo>
                  <a:lnTo>
                    <a:pt x="115222" y="67501"/>
                  </a:lnTo>
                  <a:lnTo>
                    <a:pt x="169120" y="61128"/>
                  </a:lnTo>
                  <a:lnTo>
                    <a:pt x="169441" y="61128"/>
                  </a:lnTo>
                  <a:lnTo>
                    <a:pt x="269417" y="28404"/>
                  </a:lnTo>
                  <a:lnTo>
                    <a:pt x="377569" y="45328"/>
                  </a:lnTo>
                  <a:lnTo>
                    <a:pt x="378515" y="45489"/>
                  </a:lnTo>
                  <a:lnTo>
                    <a:pt x="464977" y="6909"/>
                  </a:lnTo>
                  <a:lnTo>
                    <a:pt x="522481" y="26065"/>
                  </a:lnTo>
                  <a:lnTo>
                    <a:pt x="475920" y="80498"/>
                  </a:lnTo>
                  <a:lnTo>
                    <a:pt x="352182" y="133253"/>
                  </a:lnTo>
                  <a:lnTo>
                    <a:pt x="253992" y="145286"/>
                  </a:lnTo>
                  <a:lnTo>
                    <a:pt x="173833" y="116722"/>
                  </a:lnTo>
                  <a:lnTo>
                    <a:pt x="15657" y="131129"/>
                  </a:lnTo>
                  <a:lnTo>
                    <a:pt x="6837" y="40187"/>
                  </a:lnTo>
                  <a:close/>
                </a:path>
              </a:pathLst>
            </a:custGeom>
            <a:solidFill>
              <a:srgbClr val="231F20"/>
            </a:solidFill>
            <a:ln w="1785" cap="flat">
              <a:noFill/>
              <a:prstDash val="solid"/>
              <a:miter/>
            </a:ln>
          </p:spPr>
          <p:txBody>
            <a:bodyPr rtlCol="0" anchor="ctr"/>
            <a:lstStyle/>
            <a:p>
              <a:endParaRPr lang="de-AT"/>
            </a:p>
          </p:txBody>
        </p:sp>
        <p:sp>
          <p:nvSpPr>
            <p:cNvPr id="185" name="Freihandform: Form 184">
              <a:extLst>
                <a:ext uri="{FF2B5EF4-FFF2-40B4-BE49-F238E27FC236}">
                  <a16:creationId xmlns:a16="http://schemas.microsoft.com/office/drawing/2014/main" id="{2D4462D6-9A0D-43F7-A2F0-8A22977E26E9}"/>
                </a:ext>
              </a:extLst>
            </p:cNvPr>
            <p:cNvSpPr/>
            <p:nvPr/>
          </p:nvSpPr>
          <p:spPr>
            <a:xfrm>
              <a:off x="9396899" y="6186099"/>
              <a:ext cx="64091" cy="62181"/>
            </a:xfrm>
            <a:custGeom>
              <a:avLst/>
              <a:gdLst>
                <a:gd name="connsiteX0" fmla="*/ 64092 w 64091"/>
                <a:gd name="connsiteY0" fmla="*/ 19120 h 62181"/>
                <a:gd name="connsiteX1" fmla="*/ 0 w 64091"/>
                <a:gd name="connsiteY1" fmla="*/ 0 h 62181"/>
                <a:gd name="connsiteX2" fmla="*/ 0 w 64091"/>
                <a:gd name="connsiteY2" fmla="*/ 62182 h 62181"/>
                <a:gd name="connsiteX3" fmla="*/ 59236 w 64091"/>
                <a:gd name="connsiteY3" fmla="*/ 62182 h 62181"/>
                <a:gd name="connsiteX4" fmla="*/ 53380 w 64091"/>
                <a:gd name="connsiteY4" fmla="*/ 55701 h 62181"/>
                <a:gd name="connsiteX5" fmla="*/ 6409 w 64091"/>
                <a:gd name="connsiteY5" fmla="*/ 55701 h 62181"/>
                <a:gd name="connsiteX6" fmla="*/ 6409 w 64091"/>
                <a:gd name="connsiteY6" fmla="*/ 8677 h 62181"/>
                <a:gd name="connsiteX7" fmla="*/ 56986 w 64091"/>
                <a:gd name="connsiteY7" fmla="*/ 23780 h 6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091" h="62181">
                  <a:moveTo>
                    <a:pt x="64092" y="19120"/>
                  </a:moveTo>
                  <a:lnTo>
                    <a:pt x="0" y="0"/>
                  </a:lnTo>
                  <a:lnTo>
                    <a:pt x="0" y="62182"/>
                  </a:lnTo>
                  <a:lnTo>
                    <a:pt x="59236" y="62182"/>
                  </a:lnTo>
                  <a:close/>
                  <a:moveTo>
                    <a:pt x="53380" y="55701"/>
                  </a:moveTo>
                  <a:lnTo>
                    <a:pt x="6409" y="55701"/>
                  </a:lnTo>
                  <a:lnTo>
                    <a:pt x="6409" y="8677"/>
                  </a:lnTo>
                  <a:lnTo>
                    <a:pt x="56986" y="23780"/>
                  </a:lnTo>
                  <a:close/>
                </a:path>
              </a:pathLst>
            </a:custGeom>
            <a:solidFill>
              <a:srgbClr val="231F20"/>
            </a:solidFill>
            <a:ln w="1785" cap="flat">
              <a:noFill/>
              <a:prstDash val="solid"/>
              <a:miter/>
            </a:ln>
          </p:spPr>
          <p:txBody>
            <a:bodyPr rtlCol="0" anchor="ctr"/>
            <a:lstStyle/>
            <a:p>
              <a:endParaRPr lang="de-AT"/>
            </a:p>
          </p:txBody>
        </p:sp>
        <p:sp>
          <p:nvSpPr>
            <p:cNvPr id="186" name="Freihandform: Form 185">
              <a:extLst>
                <a:ext uri="{FF2B5EF4-FFF2-40B4-BE49-F238E27FC236}">
                  <a16:creationId xmlns:a16="http://schemas.microsoft.com/office/drawing/2014/main" id="{A36DDF46-5E45-44D8-82CE-5C7582CE42EB}"/>
                </a:ext>
              </a:extLst>
            </p:cNvPr>
            <p:cNvSpPr/>
            <p:nvPr/>
          </p:nvSpPr>
          <p:spPr>
            <a:xfrm>
              <a:off x="9448726" y="6102387"/>
              <a:ext cx="84854" cy="58717"/>
            </a:xfrm>
            <a:custGeom>
              <a:avLst/>
              <a:gdLst>
                <a:gd name="connsiteX0" fmla="*/ 14836 w 84854"/>
                <a:gd name="connsiteY0" fmla="*/ 45096 h 58717"/>
                <a:gd name="connsiteX1" fmla="*/ 71965 w 84854"/>
                <a:gd name="connsiteY1" fmla="*/ 58718 h 58717"/>
                <a:gd name="connsiteX2" fmla="*/ 84855 w 84854"/>
                <a:gd name="connsiteY2" fmla="*/ 6641 h 58717"/>
                <a:gd name="connsiteX3" fmla="*/ 0 w 84854"/>
                <a:gd name="connsiteY3" fmla="*/ 0 h 58717"/>
                <a:gd name="connsiteX4" fmla="*/ 67127 w 84854"/>
                <a:gd name="connsiteY4" fmla="*/ 50916 h 58717"/>
                <a:gd name="connsiteX5" fmla="*/ 19853 w 84854"/>
                <a:gd name="connsiteY5" fmla="*/ 39633 h 58717"/>
                <a:gd name="connsiteX6" fmla="*/ 9141 w 84854"/>
                <a:gd name="connsiteY6" fmla="*/ 7195 h 58717"/>
                <a:gd name="connsiteX7" fmla="*/ 76642 w 84854"/>
                <a:gd name="connsiteY7" fmla="*/ 12551 h 5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854" h="58717">
                  <a:moveTo>
                    <a:pt x="14836" y="45096"/>
                  </a:moveTo>
                  <a:lnTo>
                    <a:pt x="71965" y="58718"/>
                  </a:lnTo>
                  <a:lnTo>
                    <a:pt x="84855" y="6641"/>
                  </a:lnTo>
                  <a:lnTo>
                    <a:pt x="0" y="0"/>
                  </a:lnTo>
                  <a:close/>
                  <a:moveTo>
                    <a:pt x="67127" y="50916"/>
                  </a:moveTo>
                  <a:lnTo>
                    <a:pt x="19853" y="39633"/>
                  </a:lnTo>
                  <a:lnTo>
                    <a:pt x="9141" y="7195"/>
                  </a:lnTo>
                  <a:lnTo>
                    <a:pt x="76642" y="12551"/>
                  </a:lnTo>
                  <a:close/>
                </a:path>
              </a:pathLst>
            </a:custGeom>
            <a:solidFill>
              <a:srgbClr val="231F20"/>
            </a:solidFill>
            <a:ln w="1785" cap="flat">
              <a:noFill/>
              <a:prstDash val="solid"/>
              <a:miter/>
            </a:ln>
          </p:spPr>
          <p:txBody>
            <a:bodyPr rtlCol="0" anchor="ctr"/>
            <a:lstStyle/>
            <a:p>
              <a:endParaRPr lang="de-AT"/>
            </a:p>
          </p:txBody>
        </p:sp>
        <p:sp>
          <p:nvSpPr>
            <p:cNvPr id="187" name="Freihandform: Form 186">
              <a:extLst>
                <a:ext uri="{FF2B5EF4-FFF2-40B4-BE49-F238E27FC236}">
                  <a16:creationId xmlns:a16="http://schemas.microsoft.com/office/drawing/2014/main" id="{CD5A4E63-0759-4AB8-A355-4549106867F8}"/>
                </a:ext>
              </a:extLst>
            </p:cNvPr>
            <p:cNvSpPr/>
            <p:nvPr/>
          </p:nvSpPr>
          <p:spPr>
            <a:xfrm>
              <a:off x="9392328" y="6039232"/>
              <a:ext cx="97209" cy="63244"/>
            </a:xfrm>
            <a:custGeom>
              <a:avLst/>
              <a:gdLst>
                <a:gd name="connsiteX0" fmla="*/ 36206 w 97209"/>
                <a:gd name="connsiteY0" fmla="*/ 81 h 63244"/>
                <a:gd name="connsiteX1" fmla="*/ 2018 w 97209"/>
                <a:gd name="connsiteY1" fmla="*/ 17237 h 63244"/>
                <a:gd name="connsiteX2" fmla="*/ 0 w 97209"/>
                <a:gd name="connsiteY2" fmla="*/ 18612 h 63244"/>
                <a:gd name="connsiteX3" fmla="*/ 15086 w 97209"/>
                <a:gd name="connsiteY3" fmla="*/ 63244 h 63244"/>
                <a:gd name="connsiteX4" fmla="*/ 97209 w 97209"/>
                <a:gd name="connsiteY4" fmla="*/ 62137 h 63244"/>
                <a:gd name="connsiteX5" fmla="*/ 63164 w 97209"/>
                <a:gd name="connsiteY5" fmla="*/ 14470 h 63244"/>
                <a:gd name="connsiteX6" fmla="*/ 38527 w 97209"/>
                <a:gd name="connsiteY6" fmla="*/ 1188 h 63244"/>
                <a:gd name="connsiteX7" fmla="*/ 36206 w 97209"/>
                <a:gd name="connsiteY7" fmla="*/ 81 h 63244"/>
                <a:gd name="connsiteX8" fmla="*/ 84694 w 97209"/>
                <a:gd name="connsiteY8" fmla="*/ 55817 h 63244"/>
                <a:gd name="connsiteX9" fmla="*/ 19710 w 97209"/>
                <a:gd name="connsiteY9" fmla="*/ 56692 h 63244"/>
                <a:gd name="connsiteX10" fmla="*/ 7713 w 97209"/>
                <a:gd name="connsiteY10" fmla="*/ 21219 h 63244"/>
                <a:gd name="connsiteX11" fmla="*/ 34635 w 97209"/>
                <a:gd name="connsiteY11" fmla="*/ 6454 h 63244"/>
                <a:gd name="connsiteX12" fmla="*/ 58647 w 97209"/>
                <a:gd name="connsiteY12" fmla="*/ 19362 h 6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209" h="63244">
                  <a:moveTo>
                    <a:pt x="36206" y="81"/>
                  </a:moveTo>
                  <a:cubicBezTo>
                    <a:pt x="29903" y="-1133"/>
                    <a:pt x="10194" y="11667"/>
                    <a:pt x="2018" y="17237"/>
                  </a:cubicBezTo>
                  <a:lnTo>
                    <a:pt x="0" y="18612"/>
                  </a:lnTo>
                  <a:lnTo>
                    <a:pt x="15086" y="63244"/>
                  </a:lnTo>
                  <a:lnTo>
                    <a:pt x="97209" y="62137"/>
                  </a:lnTo>
                  <a:lnTo>
                    <a:pt x="63164" y="14470"/>
                  </a:lnTo>
                  <a:lnTo>
                    <a:pt x="38527" y="1188"/>
                  </a:lnTo>
                  <a:cubicBezTo>
                    <a:pt x="37866" y="616"/>
                    <a:pt x="37062" y="224"/>
                    <a:pt x="36206" y="81"/>
                  </a:cubicBezTo>
                  <a:close/>
                  <a:moveTo>
                    <a:pt x="84694" y="55817"/>
                  </a:moveTo>
                  <a:lnTo>
                    <a:pt x="19710" y="56692"/>
                  </a:lnTo>
                  <a:lnTo>
                    <a:pt x="7713" y="21219"/>
                  </a:lnTo>
                  <a:cubicBezTo>
                    <a:pt x="18514" y="14077"/>
                    <a:pt x="31028" y="6936"/>
                    <a:pt x="34635" y="6454"/>
                  </a:cubicBezTo>
                  <a:lnTo>
                    <a:pt x="58647" y="19362"/>
                  </a:lnTo>
                  <a:close/>
                </a:path>
              </a:pathLst>
            </a:custGeom>
            <a:solidFill>
              <a:srgbClr val="231F20"/>
            </a:solidFill>
            <a:ln w="1785" cap="flat">
              <a:noFill/>
              <a:prstDash val="solid"/>
              <a:miter/>
            </a:ln>
          </p:spPr>
          <p:txBody>
            <a:bodyPr rtlCol="0" anchor="ctr"/>
            <a:lstStyle/>
            <a:p>
              <a:endParaRPr lang="de-AT"/>
            </a:p>
          </p:txBody>
        </p:sp>
        <p:sp>
          <p:nvSpPr>
            <p:cNvPr id="188" name="Freihandform: Form 187">
              <a:extLst>
                <a:ext uri="{FF2B5EF4-FFF2-40B4-BE49-F238E27FC236}">
                  <a16:creationId xmlns:a16="http://schemas.microsoft.com/office/drawing/2014/main" id="{24AB5F4D-72B3-49A3-ACB0-FDA5761F5A6F}"/>
                </a:ext>
              </a:extLst>
            </p:cNvPr>
            <p:cNvSpPr/>
            <p:nvPr/>
          </p:nvSpPr>
          <p:spPr>
            <a:xfrm>
              <a:off x="9327005" y="5533596"/>
              <a:ext cx="105170" cy="92299"/>
            </a:xfrm>
            <a:custGeom>
              <a:avLst/>
              <a:gdLst>
                <a:gd name="connsiteX0" fmla="*/ 74410 w 105170"/>
                <a:gd name="connsiteY0" fmla="*/ 92282 h 92299"/>
                <a:gd name="connsiteX1" fmla="*/ 101475 w 105170"/>
                <a:gd name="connsiteY1" fmla="*/ 67020 h 92299"/>
                <a:gd name="connsiteX2" fmla="*/ 105171 w 105170"/>
                <a:gd name="connsiteY2" fmla="*/ 28993 h 92299"/>
                <a:gd name="connsiteX3" fmla="*/ 73768 w 105170"/>
                <a:gd name="connsiteY3" fmla="*/ 0 h 92299"/>
                <a:gd name="connsiteX4" fmla="*/ 31778 w 105170"/>
                <a:gd name="connsiteY4" fmla="*/ 18978 h 92299"/>
                <a:gd name="connsiteX5" fmla="*/ 0 w 105170"/>
                <a:gd name="connsiteY5" fmla="*/ 55344 h 92299"/>
                <a:gd name="connsiteX6" fmla="*/ 32278 w 105170"/>
                <a:gd name="connsiteY6" fmla="*/ 92299 h 92299"/>
                <a:gd name="connsiteX7" fmla="*/ 74410 w 105170"/>
                <a:gd name="connsiteY7" fmla="*/ 92299 h 92299"/>
                <a:gd name="connsiteX8" fmla="*/ 35724 w 105170"/>
                <a:gd name="connsiteY8" fmla="*/ 24280 h 92299"/>
                <a:gd name="connsiteX9" fmla="*/ 72518 w 105170"/>
                <a:gd name="connsiteY9" fmla="*/ 7641 h 92299"/>
                <a:gd name="connsiteX10" fmla="*/ 98422 w 105170"/>
                <a:gd name="connsiteY10" fmla="*/ 31546 h 92299"/>
                <a:gd name="connsiteX11" fmla="*/ 95280 w 105170"/>
                <a:gd name="connsiteY11" fmla="*/ 63931 h 92299"/>
                <a:gd name="connsiteX12" fmla="*/ 71876 w 105170"/>
                <a:gd name="connsiteY12" fmla="*/ 85819 h 92299"/>
                <a:gd name="connsiteX13" fmla="*/ 35241 w 105170"/>
                <a:gd name="connsiteY13" fmla="*/ 85819 h 92299"/>
                <a:gd name="connsiteX14" fmla="*/ 8623 w 105170"/>
                <a:gd name="connsiteY14" fmla="*/ 55326 h 9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170" h="92299">
                  <a:moveTo>
                    <a:pt x="74410" y="92282"/>
                  </a:moveTo>
                  <a:lnTo>
                    <a:pt x="101475" y="67020"/>
                  </a:lnTo>
                  <a:lnTo>
                    <a:pt x="105171" y="28993"/>
                  </a:lnTo>
                  <a:lnTo>
                    <a:pt x="73768" y="0"/>
                  </a:lnTo>
                  <a:lnTo>
                    <a:pt x="31778" y="18978"/>
                  </a:lnTo>
                  <a:lnTo>
                    <a:pt x="0" y="55344"/>
                  </a:lnTo>
                  <a:lnTo>
                    <a:pt x="32278" y="92299"/>
                  </a:lnTo>
                  <a:lnTo>
                    <a:pt x="74410" y="92299"/>
                  </a:lnTo>
                  <a:close/>
                  <a:moveTo>
                    <a:pt x="35724" y="24280"/>
                  </a:moveTo>
                  <a:lnTo>
                    <a:pt x="72518" y="7641"/>
                  </a:lnTo>
                  <a:lnTo>
                    <a:pt x="98422" y="31546"/>
                  </a:lnTo>
                  <a:lnTo>
                    <a:pt x="95280" y="63931"/>
                  </a:lnTo>
                  <a:lnTo>
                    <a:pt x="71876" y="85819"/>
                  </a:lnTo>
                  <a:lnTo>
                    <a:pt x="35241" y="85819"/>
                  </a:lnTo>
                  <a:lnTo>
                    <a:pt x="8623" y="55326"/>
                  </a:lnTo>
                  <a:close/>
                </a:path>
              </a:pathLst>
            </a:custGeom>
            <a:solidFill>
              <a:srgbClr val="231F20"/>
            </a:solidFill>
            <a:ln w="1785" cap="flat">
              <a:noFill/>
              <a:prstDash val="solid"/>
              <a:miter/>
            </a:ln>
          </p:spPr>
          <p:txBody>
            <a:bodyPr rtlCol="0" anchor="ctr"/>
            <a:lstStyle/>
            <a:p>
              <a:endParaRPr lang="de-AT"/>
            </a:p>
          </p:txBody>
        </p:sp>
        <p:sp>
          <p:nvSpPr>
            <p:cNvPr id="189" name="Freihandform: Form 188">
              <a:extLst>
                <a:ext uri="{FF2B5EF4-FFF2-40B4-BE49-F238E27FC236}">
                  <a16:creationId xmlns:a16="http://schemas.microsoft.com/office/drawing/2014/main" id="{8E2B2866-EF8C-4F85-BFD0-E7FD4C2CEF22}"/>
                </a:ext>
              </a:extLst>
            </p:cNvPr>
            <p:cNvSpPr/>
            <p:nvPr/>
          </p:nvSpPr>
          <p:spPr>
            <a:xfrm>
              <a:off x="4364044" y="1198162"/>
              <a:ext cx="1183856" cy="1992178"/>
            </a:xfrm>
            <a:custGeom>
              <a:avLst/>
              <a:gdLst>
                <a:gd name="connsiteX0" fmla="*/ 376070 w 1183856"/>
                <a:gd name="connsiteY0" fmla="*/ 685013 h 1992178"/>
                <a:gd name="connsiteX1" fmla="*/ 396672 w 1183856"/>
                <a:gd name="connsiteY1" fmla="*/ 626902 h 1992178"/>
                <a:gd name="connsiteX2" fmla="*/ 421416 w 1183856"/>
                <a:gd name="connsiteY2" fmla="*/ 678979 h 1992178"/>
                <a:gd name="connsiteX3" fmla="*/ 454747 w 1183856"/>
                <a:gd name="connsiteY3" fmla="*/ 705044 h 1992178"/>
                <a:gd name="connsiteX4" fmla="*/ 449945 w 1183856"/>
                <a:gd name="connsiteY4" fmla="*/ 744445 h 1992178"/>
                <a:gd name="connsiteX5" fmla="*/ 381354 w 1183856"/>
                <a:gd name="connsiteY5" fmla="*/ 855775 h 1992178"/>
                <a:gd name="connsiteX6" fmla="*/ 366769 w 1183856"/>
                <a:gd name="connsiteY6" fmla="*/ 911119 h 1992178"/>
                <a:gd name="connsiteX7" fmla="*/ 397225 w 1183856"/>
                <a:gd name="connsiteY7" fmla="*/ 946646 h 1992178"/>
                <a:gd name="connsiteX8" fmla="*/ 399903 w 1183856"/>
                <a:gd name="connsiteY8" fmla="*/ 884429 h 1992178"/>
                <a:gd name="connsiteX9" fmla="*/ 419024 w 1183856"/>
                <a:gd name="connsiteY9" fmla="*/ 906656 h 1992178"/>
                <a:gd name="connsiteX10" fmla="*/ 456622 w 1183856"/>
                <a:gd name="connsiteY10" fmla="*/ 925669 h 1992178"/>
                <a:gd name="connsiteX11" fmla="*/ 461746 w 1183856"/>
                <a:gd name="connsiteY11" fmla="*/ 883786 h 1992178"/>
                <a:gd name="connsiteX12" fmla="*/ 491470 w 1183856"/>
                <a:gd name="connsiteY12" fmla="*/ 898747 h 1992178"/>
                <a:gd name="connsiteX13" fmla="*/ 599320 w 1183856"/>
                <a:gd name="connsiteY13" fmla="*/ 885518 h 1992178"/>
                <a:gd name="connsiteX14" fmla="*/ 587037 w 1183856"/>
                <a:gd name="connsiteY14" fmla="*/ 932078 h 1992178"/>
                <a:gd name="connsiteX15" fmla="*/ 557187 w 1183856"/>
                <a:gd name="connsiteY15" fmla="*/ 935649 h 1992178"/>
                <a:gd name="connsiteX16" fmla="*/ 530211 w 1183856"/>
                <a:gd name="connsiteY16" fmla="*/ 982798 h 1992178"/>
                <a:gd name="connsiteX17" fmla="*/ 546957 w 1183856"/>
                <a:gd name="connsiteY17" fmla="*/ 1033322 h 1992178"/>
                <a:gd name="connsiteX18" fmla="*/ 553491 w 1183856"/>
                <a:gd name="connsiteY18" fmla="*/ 1086541 h 1992178"/>
                <a:gd name="connsiteX19" fmla="*/ 614691 w 1183856"/>
                <a:gd name="connsiteY19" fmla="*/ 1089183 h 1992178"/>
                <a:gd name="connsiteX20" fmla="*/ 604104 w 1183856"/>
                <a:gd name="connsiteY20" fmla="*/ 1156810 h 1992178"/>
                <a:gd name="connsiteX21" fmla="*/ 563792 w 1183856"/>
                <a:gd name="connsiteY21" fmla="*/ 1161737 h 1992178"/>
                <a:gd name="connsiteX22" fmla="*/ 548939 w 1183856"/>
                <a:gd name="connsiteY22" fmla="*/ 1218098 h 1992178"/>
                <a:gd name="connsiteX23" fmla="*/ 565006 w 1183856"/>
                <a:gd name="connsiteY23" fmla="*/ 1266908 h 1992178"/>
                <a:gd name="connsiteX24" fmla="*/ 551510 w 1183856"/>
                <a:gd name="connsiteY24" fmla="*/ 1284189 h 1992178"/>
                <a:gd name="connsiteX25" fmla="*/ 538816 w 1183856"/>
                <a:gd name="connsiteY25" fmla="*/ 1257410 h 1992178"/>
                <a:gd name="connsiteX26" fmla="*/ 375302 w 1183856"/>
                <a:gd name="connsiteY26" fmla="*/ 1287921 h 1992178"/>
                <a:gd name="connsiteX27" fmla="*/ 374784 w 1183856"/>
                <a:gd name="connsiteY27" fmla="*/ 1287921 h 1992178"/>
                <a:gd name="connsiteX28" fmla="*/ 276398 w 1183856"/>
                <a:gd name="connsiteY28" fmla="*/ 1342068 h 1992178"/>
                <a:gd name="connsiteX29" fmla="*/ 270667 w 1183856"/>
                <a:gd name="connsiteY29" fmla="*/ 1388950 h 1992178"/>
                <a:gd name="connsiteX30" fmla="*/ 327367 w 1183856"/>
                <a:gd name="connsiteY30" fmla="*/ 1393413 h 1992178"/>
                <a:gd name="connsiteX31" fmla="*/ 355111 w 1183856"/>
                <a:gd name="connsiteY31" fmla="*/ 1369508 h 1992178"/>
                <a:gd name="connsiteX32" fmla="*/ 381087 w 1183856"/>
                <a:gd name="connsiteY32" fmla="*/ 1374757 h 1992178"/>
                <a:gd name="connsiteX33" fmla="*/ 365733 w 1183856"/>
                <a:gd name="connsiteY33" fmla="*/ 1405392 h 1992178"/>
                <a:gd name="connsiteX34" fmla="*/ 379248 w 1183856"/>
                <a:gd name="connsiteY34" fmla="*/ 1433814 h 1992178"/>
                <a:gd name="connsiteX35" fmla="*/ 297982 w 1183856"/>
                <a:gd name="connsiteY35" fmla="*/ 1503761 h 1992178"/>
                <a:gd name="connsiteX36" fmla="*/ 135432 w 1183856"/>
                <a:gd name="connsiteY36" fmla="*/ 1534111 h 1992178"/>
                <a:gd name="connsiteX37" fmla="*/ 129826 w 1183856"/>
                <a:gd name="connsiteY37" fmla="*/ 1579761 h 1992178"/>
                <a:gd name="connsiteX38" fmla="*/ 179956 w 1183856"/>
                <a:gd name="connsiteY38" fmla="*/ 1638157 h 1992178"/>
                <a:gd name="connsiteX39" fmla="*/ 222803 w 1183856"/>
                <a:gd name="connsiteY39" fmla="*/ 1632802 h 1992178"/>
                <a:gd name="connsiteX40" fmla="*/ 270238 w 1183856"/>
                <a:gd name="connsiteY40" fmla="*/ 1606826 h 1992178"/>
                <a:gd name="connsiteX41" fmla="*/ 366411 w 1183856"/>
                <a:gd name="connsiteY41" fmla="*/ 1655278 h 1992178"/>
                <a:gd name="connsiteX42" fmla="*/ 381586 w 1183856"/>
                <a:gd name="connsiteY42" fmla="*/ 1694715 h 1992178"/>
                <a:gd name="connsiteX43" fmla="*/ 438519 w 1183856"/>
                <a:gd name="connsiteY43" fmla="*/ 1720120 h 1992178"/>
                <a:gd name="connsiteX44" fmla="*/ 555705 w 1183856"/>
                <a:gd name="connsiteY44" fmla="*/ 1670471 h 1992178"/>
                <a:gd name="connsiteX45" fmla="*/ 498576 w 1183856"/>
                <a:gd name="connsiteY45" fmla="*/ 1716888 h 1992178"/>
                <a:gd name="connsiteX46" fmla="*/ 469315 w 1183856"/>
                <a:gd name="connsiteY46" fmla="*/ 1742079 h 1992178"/>
                <a:gd name="connsiteX47" fmla="*/ 472886 w 1183856"/>
                <a:gd name="connsiteY47" fmla="*/ 1770643 h 1992178"/>
                <a:gd name="connsiteX48" fmla="*/ 404795 w 1183856"/>
                <a:gd name="connsiteY48" fmla="*/ 1769304 h 1992178"/>
                <a:gd name="connsiteX49" fmla="*/ 330438 w 1183856"/>
                <a:gd name="connsiteY49" fmla="*/ 1747684 h 1992178"/>
                <a:gd name="connsiteX50" fmla="*/ 280950 w 1183856"/>
                <a:gd name="connsiteY50" fmla="*/ 1741257 h 1992178"/>
                <a:gd name="connsiteX51" fmla="*/ 294590 w 1183856"/>
                <a:gd name="connsiteY51" fmla="*/ 1761842 h 1992178"/>
                <a:gd name="connsiteX52" fmla="*/ 248172 w 1183856"/>
                <a:gd name="connsiteY52" fmla="*/ 1767537 h 1992178"/>
                <a:gd name="connsiteX53" fmla="*/ 99208 w 1183856"/>
                <a:gd name="connsiteY53" fmla="*/ 1899648 h 1992178"/>
                <a:gd name="connsiteX54" fmla="*/ 70911 w 1183856"/>
                <a:gd name="connsiteY54" fmla="*/ 1913073 h 1992178"/>
                <a:gd name="connsiteX55" fmla="*/ 29475 w 1183856"/>
                <a:gd name="connsiteY55" fmla="*/ 1918161 h 1992178"/>
                <a:gd name="connsiteX56" fmla="*/ 0 w 1183856"/>
                <a:gd name="connsiteY56" fmla="*/ 1955991 h 1992178"/>
                <a:gd name="connsiteX57" fmla="*/ 26922 w 1183856"/>
                <a:gd name="connsiteY57" fmla="*/ 1977058 h 1992178"/>
                <a:gd name="connsiteX58" fmla="*/ 56094 w 1183856"/>
                <a:gd name="connsiteY58" fmla="*/ 1963168 h 1992178"/>
                <a:gd name="connsiteX59" fmla="*/ 64859 w 1183856"/>
                <a:gd name="connsiteY59" fmla="*/ 1970006 h 1992178"/>
                <a:gd name="connsiteX60" fmla="*/ 67591 w 1183856"/>
                <a:gd name="connsiteY60" fmla="*/ 1992179 h 1992178"/>
                <a:gd name="connsiteX61" fmla="*/ 81712 w 1183856"/>
                <a:gd name="connsiteY61" fmla="*/ 1990394 h 1992178"/>
                <a:gd name="connsiteX62" fmla="*/ 120275 w 1183856"/>
                <a:gd name="connsiteY62" fmla="*/ 1964703 h 1992178"/>
                <a:gd name="connsiteX63" fmla="*/ 167834 w 1183856"/>
                <a:gd name="connsiteY63" fmla="*/ 1938531 h 1992178"/>
                <a:gd name="connsiteX64" fmla="*/ 216323 w 1183856"/>
                <a:gd name="connsiteY64" fmla="*/ 1932586 h 1992178"/>
                <a:gd name="connsiteX65" fmla="*/ 251814 w 1183856"/>
                <a:gd name="connsiteY65" fmla="*/ 1969488 h 1992178"/>
                <a:gd name="connsiteX66" fmla="*/ 273238 w 1183856"/>
                <a:gd name="connsiteY66" fmla="*/ 1966864 h 1992178"/>
                <a:gd name="connsiteX67" fmla="*/ 338400 w 1183856"/>
                <a:gd name="connsiteY67" fmla="*/ 1980075 h 1992178"/>
                <a:gd name="connsiteX68" fmla="*/ 365001 w 1183856"/>
                <a:gd name="connsiteY68" fmla="*/ 1933657 h 1992178"/>
                <a:gd name="connsiteX69" fmla="*/ 380587 w 1183856"/>
                <a:gd name="connsiteY69" fmla="*/ 1902593 h 1992178"/>
                <a:gd name="connsiteX70" fmla="*/ 420577 w 1183856"/>
                <a:gd name="connsiteY70" fmla="*/ 1907539 h 1992178"/>
                <a:gd name="connsiteX71" fmla="*/ 479831 w 1183856"/>
                <a:gd name="connsiteY71" fmla="*/ 1900273 h 1992178"/>
                <a:gd name="connsiteX72" fmla="*/ 505092 w 1183856"/>
                <a:gd name="connsiteY72" fmla="*/ 1938388 h 1992178"/>
                <a:gd name="connsiteX73" fmla="*/ 537227 w 1183856"/>
                <a:gd name="connsiteY73" fmla="*/ 1934443 h 1992178"/>
                <a:gd name="connsiteX74" fmla="*/ 602908 w 1183856"/>
                <a:gd name="connsiteY74" fmla="*/ 1937317 h 1992178"/>
                <a:gd name="connsiteX75" fmla="*/ 601587 w 1183856"/>
                <a:gd name="connsiteY75" fmla="*/ 1926606 h 1992178"/>
                <a:gd name="connsiteX76" fmla="*/ 629187 w 1183856"/>
                <a:gd name="connsiteY76" fmla="*/ 1923214 h 1992178"/>
                <a:gd name="connsiteX77" fmla="*/ 668214 w 1183856"/>
                <a:gd name="connsiteY77" fmla="*/ 1908181 h 1992178"/>
                <a:gd name="connsiteX78" fmla="*/ 719755 w 1183856"/>
                <a:gd name="connsiteY78" fmla="*/ 1912109 h 1992178"/>
                <a:gd name="connsiteX79" fmla="*/ 767404 w 1183856"/>
                <a:gd name="connsiteY79" fmla="*/ 1906271 h 1992178"/>
                <a:gd name="connsiteX80" fmla="*/ 757049 w 1183856"/>
                <a:gd name="connsiteY80" fmla="*/ 1913162 h 1992178"/>
                <a:gd name="connsiteX81" fmla="*/ 772545 w 1183856"/>
                <a:gd name="connsiteY81" fmla="*/ 1936567 h 1992178"/>
                <a:gd name="connsiteX82" fmla="*/ 864523 w 1183856"/>
                <a:gd name="connsiteY82" fmla="*/ 1925267 h 1992178"/>
                <a:gd name="connsiteX83" fmla="*/ 887036 w 1183856"/>
                <a:gd name="connsiteY83" fmla="*/ 1942887 h 1992178"/>
                <a:gd name="connsiteX84" fmla="*/ 940594 w 1183856"/>
                <a:gd name="connsiteY84" fmla="*/ 1946976 h 1992178"/>
                <a:gd name="connsiteX85" fmla="*/ 990386 w 1183856"/>
                <a:gd name="connsiteY85" fmla="*/ 1930462 h 1992178"/>
                <a:gd name="connsiteX86" fmla="*/ 1021271 w 1183856"/>
                <a:gd name="connsiteY86" fmla="*/ 1926695 h 1992178"/>
                <a:gd name="connsiteX87" fmla="*/ 1059690 w 1183856"/>
                <a:gd name="connsiteY87" fmla="*/ 1901147 h 1992178"/>
                <a:gd name="connsiteX88" fmla="*/ 1100073 w 1183856"/>
                <a:gd name="connsiteY88" fmla="*/ 1885633 h 1992178"/>
                <a:gd name="connsiteX89" fmla="*/ 1108214 w 1183856"/>
                <a:gd name="connsiteY89" fmla="*/ 1862675 h 1992178"/>
                <a:gd name="connsiteX90" fmla="*/ 1115356 w 1183856"/>
                <a:gd name="connsiteY90" fmla="*/ 1827362 h 1992178"/>
                <a:gd name="connsiteX91" fmla="*/ 1079989 w 1183856"/>
                <a:gd name="connsiteY91" fmla="*/ 1820220 h 1992178"/>
                <a:gd name="connsiteX92" fmla="*/ 1049943 w 1183856"/>
                <a:gd name="connsiteY92" fmla="*/ 1823916 h 1992178"/>
                <a:gd name="connsiteX93" fmla="*/ 1002722 w 1183856"/>
                <a:gd name="connsiteY93" fmla="*/ 1802868 h 1992178"/>
                <a:gd name="connsiteX94" fmla="*/ 1055923 w 1183856"/>
                <a:gd name="connsiteY94" fmla="*/ 1777535 h 1992178"/>
                <a:gd name="connsiteX95" fmla="*/ 1071009 w 1183856"/>
                <a:gd name="connsiteY95" fmla="*/ 1735080 h 1992178"/>
                <a:gd name="connsiteX96" fmla="*/ 1121247 w 1183856"/>
                <a:gd name="connsiteY96" fmla="*/ 1728921 h 1992178"/>
                <a:gd name="connsiteX97" fmla="*/ 1165647 w 1183856"/>
                <a:gd name="connsiteY97" fmla="*/ 1659902 h 1992178"/>
                <a:gd name="connsiteX98" fmla="*/ 1183857 w 1183856"/>
                <a:gd name="connsiteY98" fmla="*/ 1553232 h 1992178"/>
                <a:gd name="connsiteX99" fmla="*/ 1165629 w 1183856"/>
                <a:gd name="connsiteY99" fmla="*/ 1491496 h 1992178"/>
                <a:gd name="connsiteX100" fmla="*/ 1119444 w 1183856"/>
                <a:gd name="connsiteY100" fmla="*/ 1464949 h 1992178"/>
                <a:gd name="connsiteX101" fmla="*/ 1034982 w 1183856"/>
                <a:gd name="connsiteY101" fmla="*/ 1464717 h 1992178"/>
                <a:gd name="connsiteX102" fmla="*/ 1007917 w 1183856"/>
                <a:gd name="connsiteY102" fmla="*/ 1487926 h 1992178"/>
                <a:gd name="connsiteX103" fmla="*/ 957929 w 1183856"/>
                <a:gd name="connsiteY103" fmla="*/ 1457094 h 1992178"/>
                <a:gd name="connsiteX104" fmla="*/ 982370 w 1183856"/>
                <a:gd name="connsiteY104" fmla="*/ 1436064 h 1992178"/>
                <a:gd name="connsiteX105" fmla="*/ 1022271 w 1183856"/>
                <a:gd name="connsiteY105" fmla="*/ 1409552 h 1992178"/>
                <a:gd name="connsiteX106" fmla="*/ 986137 w 1183856"/>
                <a:gd name="connsiteY106" fmla="*/ 1286939 h 1992178"/>
                <a:gd name="connsiteX107" fmla="*/ 938969 w 1183856"/>
                <a:gd name="connsiteY107" fmla="*/ 1250037 h 1992178"/>
                <a:gd name="connsiteX108" fmla="*/ 918564 w 1183856"/>
                <a:gd name="connsiteY108" fmla="*/ 1248484 h 1992178"/>
                <a:gd name="connsiteX109" fmla="*/ 936417 w 1183856"/>
                <a:gd name="connsiteY109" fmla="*/ 1246306 h 1992178"/>
                <a:gd name="connsiteX110" fmla="*/ 966481 w 1183856"/>
                <a:gd name="connsiteY110" fmla="*/ 1252429 h 1992178"/>
                <a:gd name="connsiteX111" fmla="*/ 996831 w 1183856"/>
                <a:gd name="connsiteY111" fmla="*/ 1287689 h 1992178"/>
                <a:gd name="connsiteX112" fmla="*/ 981727 w 1183856"/>
                <a:gd name="connsiteY112" fmla="*/ 1164808 h 1992178"/>
                <a:gd name="connsiteX113" fmla="*/ 925973 w 1183856"/>
                <a:gd name="connsiteY113" fmla="*/ 1047372 h 1992178"/>
                <a:gd name="connsiteX114" fmla="*/ 925651 w 1183856"/>
                <a:gd name="connsiteY114" fmla="*/ 1046693 h 1992178"/>
                <a:gd name="connsiteX115" fmla="*/ 890088 w 1183856"/>
                <a:gd name="connsiteY115" fmla="*/ 1018879 h 1992178"/>
                <a:gd name="connsiteX116" fmla="*/ 840279 w 1183856"/>
                <a:gd name="connsiteY116" fmla="*/ 1015094 h 1992178"/>
                <a:gd name="connsiteX117" fmla="*/ 842814 w 1183856"/>
                <a:gd name="connsiteY117" fmla="*/ 955108 h 1992178"/>
                <a:gd name="connsiteX118" fmla="*/ 816035 w 1183856"/>
                <a:gd name="connsiteY118" fmla="*/ 906602 h 1992178"/>
                <a:gd name="connsiteX119" fmla="*/ 813678 w 1183856"/>
                <a:gd name="connsiteY119" fmla="*/ 887285 h 1992178"/>
                <a:gd name="connsiteX120" fmla="*/ 824104 w 1183856"/>
                <a:gd name="connsiteY120" fmla="*/ 802520 h 1992178"/>
                <a:gd name="connsiteX121" fmla="*/ 727271 w 1183856"/>
                <a:gd name="connsiteY121" fmla="*/ 689815 h 1992178"/>
                <a:gd name="connsiteX122" fmla="*/ 712256 w 1183856"/>
                <a:gd name="connsiteY122" fmla="*/ 658269 h 1992178"/>
                <a:gd name="connsiteX123" fmla="*/ 670499 w 1183856"/>
                <a:gd name="connsiteY123" fmla="*/ 674337 h 1992178"/>
                <a:gd name="connsiteX124" fmla="*/ 646487 w 1183856"/>
                <a:gd name="connsiteY124" fmla="*/ 677283 h 1992178"/>
                <a:gd name="connsiteX125" fmla="*/ 659555 w 1183856"/>
                <a:gd name="connsiteY125" fmla="*/ 651289 h 1992178"/>
                <a:gd name="connsiteX126" fmla="*/ 754300 w 1183856"/>
                <a:gd name="connsiteY126" fmla="*/ 639667 h 1992178"/>
                <a:gd name="connsiteX127" fmla="*/ 738232 w 1183856"/>
                <a:gd name="connsiteY127" fmla="*/ 615440 h 1992178"/>
                <a:gd name="connsiteX128" fmla="*/ 689708 w 1183856"/>
                <a:gd name="connsiteY128" fmla="*/ 593839 h 1992178"/>
                <a:gd name="connsiteX129" fmla="*/ 752193 w 1183856"/>
                <a:gd name="connsiteY129" fmla="*/ 567363 h 1992178"/>
                <a:gd name="connsiteX130" fmla="*/ 923045 w 1183856"/>
                <a:gd name="connsiteY130" fmla="*/ 348380 h 1992178"/>
                <a:gd name="connsiteX131" fmla="*/ 894480 w 1183856"/>
                <a:gd name="connsiteY131" fmla="*/ 296268 h 1992178"/>
                <a:gd name="connsiteX132" fmla="*/ 843564 w 1183856"/>
                <a:gd name="connsiteY132" fmla="*/ 302498 h 1992178"/>
                <a:gd name="connsiteX133" fmla="*/ 830817 w 1183856"/>
                <a:gd name="connsiteY133" fmla="*/ 283414 h 1992178"/>
                <a:gd name="connsiteX134" fmla="*/ 779437 w 1183856"/>
                <a:gd name="connsiteY134" fmla="*/ 289698 h 1992178"/>
                <a:gd name="connsiteX135" fmla="*/ 768047 w 1183856"/>
                <a:gd name="connsiteY135" fmla="*/ 280771 h 1992178"/>
                <a:gd name="connsiteX136" fmla="*/ 747766 w 1183856"/>
                <a:gd name="connsiteY136" fmla="*/ 283271 h 1992178"/>
                <a:gd name="connsiteX137" fmla="*/ 736340 w 1183856"/>
                <a:gd name="connsiteY137" fmla="*/ 274344 h 1992178"/>
                <a:gd name="connsiteX138" fmla="*/ 716059 w 1183856"/>
                <a:gd name="connsiteY138" fmla="*/ 276826 h 1992178"/>
                <a:gd name="connsiteX139" fmla="*/ 704241 w 1183856"/>
                <a:gd name="connsiteY139" fmla="*/ 267560 h 1992178"/>
                <a:gd name="connsiteX140" fmla="*/ 597124 w 1183856"/>
                <a:gd name="connsiteY140" fmla="*/ 311460 h 1992178"/>
                <a:gd name="connsiteX141" fmla="*/ 587662 w 1183856"/>
                <a:gd name="connsiteY141" fmla="*/ 297178 h 1992178"/>
                <a:gd name="connsiteX142" fmla="*/ 676158 w 1183856"/>
                <a:gd name="connsiteY142" fmla="*/ 232658 h 1992178"/>
                <a:gd name="connsiteX143" fmla="*/ 637703 w 1183856"/>
                <a:gd name="connsiteY143" fmla="*/ 224874 h 1992178"/>
                <a:gd name="connsiteX144" fmla="*/ 614798 w 1183856"/>
                <a:gd name="connsiteY144" fmla="*/ 213341 h 1992178"/>
                <a:gd name="connsiteX145" fmla="*/ 636596 w 1183856"/>
                <a:gd name="connsiteY145" fmla="*/ 210681 h 1992178"/>
                <a:gd name="connsiteX146" fmla="*/ 644219 w 1183856"/>
                <a:gd name="connsiteY146" fmla="*/ 189115 h 1992178"/>
                <a:gd name="connsiteX147" fmla="*/ 684174 w 1183856"/>
                <a:gd name="connsiteY147" fmla="*/ 184223 h 1992178"/>
                <a:gd name="connsiteX148" fmla="*/ 693100 w 1183856"/>
                <a:gd name="connsiteY148" fmla="*/ 172797 h 1992178"/>
                <a:gd name="connsiteX149" fmla="*/ 702687 w 1183856"/>
                <a:gd name="connsiteY149" fmla="*/ 171619 h 1992178"/>
                <a:gd name="connsiteX150" fmla="*/ 722772 w 1183856"/>
                <a:gd name="connsiteY150" fmla="*/ 158247 h 1992178"/>
                <a:gd name="connsiteX151" fmla="*/ 731216 w 1183856"/>
                <a:gd name="connsiteY151" fmla="*/ 147536 h 1992178"/>
                <a:gd name="connsiteX152" fmla="*/ 741928 w 1183856"/>
                <a:gd name="connsiteY152" fmla="*/ 146215 h 1992178"/>
                <a:gd name="connsiteX153" fmla="*/ 749587 w 1183856"/>
                <a:gd name="connsiteY153" fmla="*/ 124648 h 1992178"/>
                <a:gd name="connsiteX154" fmla="*/ 790148 w 1183856"/>
                <a:gd name="connsiteY154" fmla="*/ 119685 h 1992178"/>
                <a:gd name="connsiteX155" fmla="*/ 798682 w 1183856"/>
                <a:gd name="connsiteY155" fmla="*/ 95513 h 1992178"/>
                <a:gd name="connsiteX156" fmla="*/ 794933 w 1183856"/>
                <a:gd name="connsiteY156" fmla="*/ 64824 h 1992178"/>
                <a:gd name="connsiteX157" fmla="*/ 801967 w 1183856"/>
                <a:gd name="connsiteY157" fmla="*/ 29993 h 1992178"/>
                <a:gd name="connsiteX158" fmla="*/ 580592 w 1183856"/>
                <a:gd name="connsiteY158" fmla="*/ 15264 h 1992178"/>
                <a:gd name="connsiteX159" fmla="*/ 523052 w 1183856"/>
                <a:gd name="connsiteY159" fmla="*/ 0 h 1992178"/>
                <a:gd name="connsiteX160" fmla="*/ 528408 w 1183856"/>
                <a:gd name="connsiteY160" fmla="*/ 44418 h 1992178"/>
                <a:gd name="connsiteX161" fmla="*/ 513037 w 1183856"/>
                <a:gd name="connsiteY161" fmla="*/ 74946 h 1992178"/>
                <a:gd name="connsiteX162" fmla="*/ 481098 w 1183856"/>
                <a:gd name="connsiteY162" fmla="*/ 78856 h 1992178"/>
                <a:gd name="connsiteX163" fmla="*/ 490024 w 1183856"/>
                <a:gd name="connsiteY163" fmla="*/ 150731 h 1992178"/>
                <a:gd name="connsiteX164" fmla="*/ 422184 w 1183856"/>
                <a:gd name="connsiteY164" fmla="*/ 179439 h 1992178"/>
                <a:gd name="connsiteX165" fmla="*/ 401224 w 1183856"/>
                <a:gd name="connsiteY165" fmla="*/ 266596 h 1992178"/>
                <a:gd name="connsiteX166" fmla="*/ 408669 w 1183856"/>
                <a:gd name="connsiteY166" fmla="*/ 327296 h 1992178"/>
                <a:gd name="connsiteX167" fmla="*/ 351201 w 1183856"/>
                <a:gd name="connsiteY167" fmla="*/ 448124 h 1992178"/>
                <a:gd name="connsiteX168" fmla="*/ 367965 w 1183856"/>
                <a:gd name="connsiteY168" fmla="*/ 491702 h 1992178"/>
                <a:gd name="connsiteX169" fmla="*/ 446981 w 1183856"/>
                <a:gd name="connsiteY169" fmla="*/ 465495 h 1992178"/>
                <a:gd name="connsiteX170" fmla="*/ 389852 w 1183856"/>
                <a:gd name="connsiteY170" fmla="*/ 503450 h 1992178"/>
                <a:gd name="connsiteX171" fmla="*/ 377034 w 1183856"/>
                <a:gd name="connsiteY171" fmla="*/ 567113 h 1992178"/>
                <a:gd name="connsiteX172" fmla="*/ 348594 w 1183856"/>
                <a:gd name="connsiteY172" fmla="*/ 591589 h 1992178"/>
                <a:gd name="connsiteX173" fmla="*/ 354861 w 1183856"/>
                <a:gd name="connsiteY173" fmla="*/ 643594 h 1992178"/>
                <a:gd name="connsiteX174" fmla="*/ 340328 w 1183856"/>
                <a:gd name="connsiteY174" fmla="*/ 715773 h 1992178"/>
                <a:gd name="connsiteX175" fmla="*/ 355361 w 1183856"/>
                <a:gd name="connsiteY175" fmla="*/ 594267 h 1992178"/>
                <a:gd name="connsiteX176" fmla="*/ 382854 w 1183856"/>
                <a:gd name="connsiteY176" fmla="*/ 570594 h 1992178"/>
                <a:gd name="connsiteX177" fmla="*/ 395583 w 1183856"/>
                <a:gd name="connsiteY177" fmla="*/ 507395 h 1992178"/>
                <a:gd name="connsiteX178" fmla="*/ 490739 w 1183856"/>
                <a:gd name="connsiteY178" fmla="*/ 444196 h 1992178"/>
                <a:gd name="connsiteX179" fmla="*/ 371821 w 1183856"/>
                <a:gd name="connsiteY179" fmla="*/ 483562 h 1992178"/>
                <a:gd name="connsiteX180" fmla="*/ 358271 w 1183856"/>
                <a:gd name="connsiteY180" fmla="*/ 448356 h 1992178"/>
                <a:gd name="connsiteX181" fmla="*/ 415400 w 1183856"/>
                <a:gd name="connsiteY181" fmla="*/ 328331 h 1992178"/>
                <a:gd name="connsiteX182" fmla="*/ 407848 w 1183856"/>
                <a:gd name="connsiteY182" fmla="*/ 266989 h 1992178"/>
                <a:gd name="connsiteX183" fmla="*/ 427789 w 1183856"/>
                <a:gd name="connsiteY183" fmla="*/ 184134 h 1992178"/>
                <a:gd name="connsiteX184" fmla="*/ 496969 w 1183856"/>
                <a:gd name="connsiteY184" fmla="*/ 154820 h 1992178"/>
                <a:gd name="connsiteX185" fmla="*/ 488311 w 1183856"/>
                <a:gd name="connsiteY185" fmla="*/ 84515 h 1992178"/>
                <a:gd name="connsiteX186" fmla="*/ 517232 w 1183856"/>
                <a:gd name="connsiteY186" fmla="*/ 80945 h 1992178"/>
                <a:gd name="connsiteX187" fmla="*/ 535085 w 1183856"/>
                <a:gd name="connsiteY187" fmla="*/ 45543 h 1992178"/>
                <a:gd name="connsiteX188" fmla="*/ 530568 w 1183856"/>
                <a:gd name="connsiteY188" fmla="*/ 8676 h 1992178"/>
                <a:gd name="connsiteX189" fmla="*/ 579146 w 1183856"/>
                <a:gd name="connsiteY189" fmla="*/ 21548 h 1992178"/>
                <a:gd name="connsiteX190" fmla="*/ 579449 w 1183856"/>
                <a:gd name="connsiteY190" fmla="*/ 21548 h 1992178"/>
                <a:gd name="connsiteX191" fmla="*/ 794112 w 1183856"/>
                <a:gd name="connsiteY191" fmla="*/ 35831 h 1992178"/>
                <a:gd name="connsiteX192" fmla="*/ 788363 w 1183856"/>
                <a:gd name="connsiteY192" fmla="*/ 64395 h 1992178"/>
                <a:gd name="connsiteX193" fmla="*/ 792059 w 1183856"/>
                <a:gd name="connsiteY193" fmla="*/ 94602 h 1992178"/>
                <a:gd name="connsiteX194" fmla="*/ 785328 w 1183856"/>
                <a:gd name="connsiteY194" fmla="*/ 113562 h 1992178"/>
                <a:gd name="connsiteX195" fmla="*/ 744749 w 1183856"/>
                <a:gd name="connsiteY195" fmla="*/ 118721 h 1992178"/>
                <a:gd name="connsiteX196" fmla="*/ 737090 w 1183856"/>
                <a:gd name="connsiteY196" fmla="*/ 140145 h 1992178"/>
                <a:gd name="connsiteX197" fmla="*/ 727628 w 1183856"/>
                <a:gd name="connsiteY197" fmla="*/ 141305 h 1992178"/>
                <a:gd name="connsiteX198" fmla="*/ 718166 w 1183856"/>
                <a:gd name="connsiteY198" fmla="*/ 153338 h 1992178"/>
                <a:gd name="connsiteX199" fmla="*/ 700224 w 1183856"/>
                <a:gd name="connsiteY199" fmla="*/ 165299 h 1992178"/>
                <a:gd name="connsiteX200" fmla="*/ 689512 w 1183856"/>
                <a:gd name="connsiteY200" fmla="*/ 166603 h 1992178"/>
                <a:gd name="connsiteX201" fmla="*/ 680586 w 1183856"/>
                <a:gd name="connsiteY201" fmla="*/ 178028 h 1992178"/>
                <a:gd name="connsiteX202" fmla="*/ 639310 w 1183856"/>
                <a:gd name="connsiteY202" fmla="*/ 183099 h 1992178"/>
                <a:gd name="connsiteX203" fmla="*/ 631687 w 1183856"/>
                <a:gd name="connsiteY203" fmla="*/ 204647 h 1992178"/>
                <a:gd name="connsiteX204" fmla="*/ 592660 w 1183856"/>
                <a:gd name="connsiteY204" fmla="*/ 209431 h 1992178"/>
                <a:gd name="connsiteX205" fmla="*/ 635507 w 1183856"/>
                <a:gd name="connsiteY205" fmla="*/ 231016 h 1992178"/>
                <a:gd name="connsiteX206" fmla="*/ 660394 w 1183856"/>
                <a:gd name="connsiteY206" fmla="*/ 236068 h 1992178"/>
                <a:gd name="connsiteX207" fmla="*/ 578771 w 1183856"/>
                <a:gd name="connsiteY207" fmla="*/ 295571 h 1992178"/>
                <a:gd name="connsiteX208" fmla="*/ 594606 w 1183856"/>
                <a:gd name="connsiteY208" fmla="*/ 319441 h 1992178"/>
                <a:gd name="connsiteX209" fmla="*/ 703152 w 1183856"/>
                <a:gd name="connsiteY209" fmla="*/ 274951 h 1992178"/>
                <a:gd name="connsiteX210" fmla="*/ 714131 w 1183856"/>
                <a:gd name="connsiteY210" fmla="*/ 283556 h 1992178"/>
                <a:gd name="connsiteX211" fmla="*/ 734412 w 1183856"/>
                <a:gd name="connsiteY211" fmla="*/ 281182 h 1992178"/>
                <a:gd name="connsiteX212" fmla="*/ 745856 w 1183856"/>
                <a:gd name="connsiteY212" fmla="*/ 290108 h 1992178"/>
                <a:gd name="connsiteX213" fmla="*/ 766136 w 1183856"/>
                <a:gd name="connsiteY213" fmla="*/ 287627 h 1992178"/>
                <a:gd name="connsiteX214" fmla="*/ 777526 w 1183856"/>
                <a:gd name="connsiteY214" fmla="*/ 296553 h 1992178"/>
                <a:gd name="connsiteX215" fmla="*/ 827514 w 1183856"/>
                <a:gd name="connsiteY215" fmla="*/ 290430 h 1992178"/>
                <a:gd name="connsiteX216" fmla="*/ 840154 w 1183856"/>
                <a:gd name="connsiteY216" fmla="*/ 309497 h 1992178"/>
                <a:gd name="connsiteX217" fmla="*/ 890678 w 1183856"/>
                <a:gd name="connsiteY217" fmla="*/ 303320 h 1992178"/>
                <a:gd name="connsiteX218" fmla="*/ 915136 w 1183856"/>
                <a:gd name="connsiteY218" fmla="*/ 347845 h 1992178"/>
                <a:gd name="connsiteX219" fmla="*/ 747926 w 1183856"/>
                <a:gd name="connsiteY219" fmla="*/ 562078 h 1992178"/>
                <a:gd name="connsiteX220" fmla="*/ 673480 w 1183856"/>
                <a:gd name="connsiteY220" fmla="*/ 593606 h 1992178"/>
                <a:gd name="connsiteX221" fmla="*/ 733894 w 1183856"/>
                <a:gd name="connsiteY221" fmla="*/ 620493 h 1992178"/>
                <a:gd name="connsiteX222" fmla="*/ 743088 w 1183856"/>
                <a:gd name="connsiteY222" fmla="*/ 634418 h 1992178"/>
                <a:gd name="connsiteX223" fmla="*/ 655306 w 1183856"/>
                <a:gd name="connsiteY223" fmla="*/ 645130 h 1992178"/>
                <a:gd name="connsiteX224" fmla="*/ 635257 w 1183856"/>
                <a:gd name="connsiteY224" fmla="*/ 685013 h 1992178"/>
                <a:gd name="connsiteX225" fmla="*/ 672070 w 1183856"/>
                <a:gd name="connsiteY225" fmla="*/ 680514 h 1992178"/>
                <a:gd name="connsiteX226" fmla="*/ 708972 w 1183856"/>
                <a:gd name="connsiteY226" fmla="*/ 666232 h 1992178"/>
                <a:gd name="connsiteX227" fmla="*/ 721772 w 1183856"/>
                <a:gd name="connsiteY227" fmla="*/ 693154 h 1992178"/>
                <a:gd name="connsiteX228" fmla="*/ 817249 w 1183856"/>
                <a:gd name="connsiteY228" fmla="*/ 804359 h 1992178"/>
                <a:gd name="connsiteX229" fmla="*/ 807126 w 1183856"/>
                <a:gd name="connsiteY229" fmla="*/ 886679 h 1992178"/>
                <a:gd name="connsiteX230" fmla="*/ 807126 w 1183856"/>
                <a:gd name="connsiteY230" fmla="*/ 887071 h 1992178"/>
                <a:gd name="connsiteX231" fmla="*/ 809751 w 1183856"/>
                <a:gd name="connsiteY231" fmla="*/ 908495 h 1992178"/>
                <a:gd name="connsiteX232" fmla="*/ 836173 w 1183856"/>
                <a:gd name="connsiteY232" fmla="*/ 956519 h 1992178"/>
                <a:gd name="connsiteX233" fmla="*/ 833459 w 1183856"/>
                <a:gd name="connsiteY233" fmla="*/ 1020950 h 1992178"/>
                <a:gd name="connsiteX234" fmla="*/ 887536 w 1183856"/>
                <a:gd name="connsiteY234" fmla="*/ 1025074 h 1992178"/>
                <a:gd name="connsiteX235" fmla="*/ 920367 w 1183856"/>
                <a:gd name="connsiteY235" fmla="*/ 1050728 h 1992178"/>
                <a:gd name="connsiteX236" fmla="*/ 975354 w 1183856"/>
                <a:gd name="connsiteY236" fmla="*/ 1166539 h 1992178"/>
                <a:gd name="connsiteX237" fmla="*/ 987708 w 1183856"/>
                <a:gd name="connsiteY237" fmla="*/ 1267086 h 1992178"/>
                <a:gd name="connsiteX238" fmla="*/ 969944 w 1183856"/>
                <a:gd name="connsiteY238" fmla="*/ 1246413 h 1992178"/>
                <a:gd name="connsiteX239" fmla="*/ 936649 w 1183856"/>
                <a:gd name="connsiteY239" fmla="*/ 1239629 h 1992178"/>
                <a:gd name="connsiteX240" fmla="*/ 885429 w 1183856"/>
                <a:gd name="connsiteY240" fmla="*/ 1245895 h 1992178"/>
                <a:gd name="connsiteX241" fmla="*/ 885572 w 1183856"/>
                <a:gd name="connsiteY241" fmla="*/ 1252340 h 1992178"/>
                <a:gd name="connsiteX242" fmla="*/ 936559 w 1183856"/>
                <a:gd name="connsiteY242" fmla="*/ 1256232 h 1992178"/>
                <a:gd name="connsiteX243" fmla="*/ 980549 w 1183856"/>
                <a:gd name="connsiteY243" fmla="*/ 1290652 h 1992178"/>
                <a:gd name="connsiteX244" fmla="*/ 1014826 w 1183856"/>
                <a:gd name="connsiteY244" fmla="*/ 1406695 h 1992178"/>
                <a:gd name="connsiteX245" fmla="*/ 978674 w 1183856"/>
                <a:gd name="connsiteY245" fmla="*/ 1430904 h 1992178"/>
                <a:gd name="connsiteX246" fmla="*/ 947075 w 1183856"/>
                <a:gd name="connsiteY246" fmla="*/ 1458076 h 1992178"/>
                <a:gd name="connsiteX247" fmla="*/ 1008560 w 1183856"/>
                <a:gd name="connsiteY247" fmla="*/ 1496049 h 1992178"/>
                <a:gd name="connsiteX248" fmla="*/ 1037392 w 1183856"/>
                <a:gd name="connsiteY248" fmla="*/ 1471251 h 1992178"/>
                <a:gd name="connsiteX249" fmla="*/ 1117730 w 1183856"/>
                <a:gd name="connsiteY249" fmla="*/ 1471466 h 1992178"/>
                <a:gd name="connsiteX250" fmla="*/ 1160166 w 1183856"/>
                <a:gd name="connsiteY250" fmla="*/ 1495870 h 1992178"/>
                <a:gd name="connsiteX251" fmla="*/ 1177234 w 1183856"/>
                <a:gd name="connsiteY251" fmla="*/ 1553678 h 1992178"/>
                <a:gd name="connsiteX252" fmla="*/ 1159506 w 1183856"/>
                <a:gd name="connsiteY252" fmla="*/ 1657563 h 1992178"/>
                <a:gd name="connsiteX253" fmla="*/ 1117480 w 1183856"/>
                <a:gd name="connsiteY253" fmla="*/ 1722923 h 1992178"/>
                <a:gd name="connsiteX254" fmla="*/ 1066278 w 1183856"/>
                <a:gd name="connsiteY254" fmla="*/ 1729189 h 1992178"/>
                <a:gd name="connsiteX255" fmla="*/ 1050746 w 1183856"/>
                <a:gd name="connsiteY255" fmla="*/ 1772893 h 1992178"/>
                <a:gd name="connsiteX256" fmla="*/ 987279 w 1183856"/>
                <a:gd name="connsiteY256" fmla="*/ 1803118 h 1992178"/>
                <a:gd name="connsiteX257" fmla="*/ 1048979 w 1183856"/>
                <a:gd name="connsiteY257" fmla="*/ 1830593 h 1992178"/>
                <a:gd name="connsiteX258" fmla="*/ 1079775 w 1183856"/>
                <a:gd name="connsiteY258" fmla="*/ 1826826 h 1992178"/>
                <a:gd name="connsiteX259" fmla="*/ 1107750 w 1183856"/>
                <a:gd name="connsiteY259" fmla="*/ 1832521 h 1992178"/>
                <a:gd name="connsiteX260" fmla="*/ 1102037 w 1183856"/>
                <a:gd name="connsiteY260" fmla="*/ 1860836 h 1992178"/>
                <a:gd name="connsiteX261" fmla="*/ 1094896 w 1183856"/>
                <a:gd name="connsiteY261" fmla="*/ 1880759 h 1992178"/>
                <a:gd name="connsiteX262" fmla="*/ 1056620 w 1183856"/>
                <a:gd name="connsiteY262" fmla="*/ 1895488 h 1992178"/>
                <a:gd name="connsiteX263" fmla="*/ 1018879 w 1183856"/>
                <a:gd name="connsiteY263" fmla="*/ 1920482 h 1992178"/>
                <a:gd name="connsiteX264" fmla="*/ 988868 w 1183856"/>
                <a:gd name="connsiteY264" fmla="*/ 1924160 h 1992178"/>
                <a:gd name="connsiteX265" fmla="*/ 939719 w 1183856"/>
                <a:gd name="connsiteY265" fmla="*/ 1940459 h 1992178"/>
                <a:gd name="connsiteX266" fmla="*/ 889374 w 1183856"/>
                <a:gd name="connsiteY266" fmla="*/ 1936621 h 1992178"/>
                <a:gd name="connsiteX267" fmla="*/ 866291 w 1183856"/>
                <a:gd name="connsiteY267" fmla="*/ 1918572 h 1992178"/>
                <a:gd name="connsiteX268" fmla="*/ 775634 w 1183856"/>
                <a:gd name="connsiteY268" fmla="*/ 1929694 h 1992178"/>
                <a:gd name="connsiteX269" fmla="*/ 765922 w 1183856"/>
                <a:gd name="connsiteY269" fmla="*/ 1915019 h 1992178"/>
                <a:gd name="connsiteX270" fmla="*/ 793612 w 1183856"/>
                <a:gd name="connsiteY270" fmla="*/ 1896577 h 1992178"/>
                <a:gd name="connsiteX271" fmla="*/ 719594 w 1183856"/>
                <a:gd name="connsiteY271" fmla="*/ 1905789 h 1992178"/>
                <a:gd name="connsiteX272" fmla="*/ 667232 w 1183856"/>
                <a:gd name="connsiteY272" fmla="*/ 1901790 h 1992178"/>
                <a:gd name="connsiteX273" fmla="*/ 627598 w 1183856"/>
                <a:gd name="connsiteY273" fmla="*/ 1917054 h 1992178"/>
                <a:gd name="connsiteX274" fmla="*/ 594356 w 1183856"/>
                <a:gd name="connsiteY274" fmla="*/ 1921143 h 1992178"/>
                <a:gd name="connsiteX275" fmla="*/ 595535 w 1183856"/>
                <a:gd name="connsiteY275" fmla="*/ 1930747 h 1992178"/>
                <a:gd name="connsiteX276" fmla="*/ 536942 w 1183856"/>
                <a:gd name="connsiteY276" fmla="*/ 1928177 h 1992178"/>
                <a:gd name="connsiteX277" fmla="*/ 508199 w 1183856"/>
                <a:gd name="connsiteY277" fmla="*/ 1931747 h 1992178"/>
                <a:gd name="connsiteX278" fmla="*/ 482937 w 1183856"/>
                <a:gd name="connsiteY278" fmla="*/ 1893631 h 1992178"/>
                <a:gd name="connsiteX279" fmla="*/ 420452 w 1183856"/>
                <a:gd name="connsiteY279" fmla="*/ 1901290 h 1992178"/>
                <a:gd name="connsiteX280" fmla="*/ 376730 w 1183856"/>
                <a:gd name="connsiteY280" fmla="*/ 1895934 h 1992178"/>
                <a:gd name="connsiteX281" fmla="*/ 359217 w 1183856"/>
                <a:gd name="connsiteY281" fmla="*/ 1930837 h 1992178"/>
                <a:gd name="connsiteX282" fmla="*/ 334991 w 1183856"/>
                <a:gd name="connsiteY282" fmla="*/ 1973076 h 1992178"/>
                <a:gd name="connsiteX283" fmla="*/ 273380 w 1183856"/>
                <a:gd name="connsiteY283" fmla="*/ 1960579 h 1992178"/>
                <a:gd name="connsiteX284" fmla="*/ 254171 w 1183856"/>
                <a:gd name="connsiteY284" fmla="*/ 1962793 h 1992178"/>
                <a:gd name="connsiteX285" fmla="*/ 218697 w 1183856"/>
                <a:gd name="connsiteY285" fmla="*/ 1925891 h 1992178"/>
                <a:gd name="connsiteX286" fmla="*/ 165746 w 1183856"/>
                <a:gd name="connsiteY286" fmla="*/ 1932372 h 1992178"/>
                <a:gd name="connsiteX287" fmla="*/ 116972 w 1183856"/>
                <a:gd name="connsiteY287" fmla="*/ 1959151 h 1992178"/>
                <a:gd name="connsiteX288" fmla="*/ 79320 w 1183856"/>
                <a:gd name="connsiteY288" fmla="*/ 1984145 h 1992178"/>
                <a:gd name="connsiteX289" fmla="*/ 73143 w 1183856"/>
                <a:gd name="connsiteY289" fmla="*/ 1984913 h 1992178"/>
                <a:gd name="connsiteX290" fmla="*/ 70947 w 1183856"/>
                <a:gd name="connsiteY290" fmla="*/ 1966489 h 1992178"/>
                <a:gd name="connsiteX291" fmla="*/ 56915 w 1183856"/>
                <a:gd name="connsiteY291" fmla="*/ 1955563 h 1992178"/>
                <a:gd name="connsiteX292" fmla="*/ 27743 w 1183856"/>
                <a:gd name="connsiteY292" fmla="*/ 1969417 h 1992178"/>
                <a:gd name="connsiteX293" fmla="*/ 9069 w 1183856"/>
                <a:gd name="connsiteY293" fmla="*/ 1954813 h 1992178"/>
                <a:gd name="connsiteX294" fmla="*/ 32921 w 1183856"/>
                <a:gd name="connsiteY294" fmla="*/ 1924196 h 1992178"/>
                <a:gd name="connsiteX295" fmla="*/ 72732 w 1183856"/>
                <a:gd name="connsiteY295" fmla="*/ 1919304 h 1992178"/>
                <a:gd name="connsiteX296" fmla="*/ 102797 w 1183856"/>
                <a:gd name="connsiteY296" fmla="*/ 1905021 h 1992178"/>
                <a:gd name="connsiteX297" fmla="*/ 250975 w 1183856"/>
                <a:gd name="connsiteY297" fmla="*/ 1773696 h 1992178"/>
                <a:gd name="connsiteX298" fmla="*/ 305890 w 1183856"/>
                <a:gd name="connsiteY298" fmla="*/ 1766948 h 1992178"/>
                <a:gd name="connsiteX299" fmla="*/ 294250 w 1183856"/>
                <a:gd name="connsiteY299" fmla="*/ 1749398 h 1992178"/>
                <a:gd name="connsiteX300" fmla="*/ 328813 w 1183856"/>
                <a:gd name="connsiteY300" fmla="*/ 1753737 h 1992178"/>
                <a:gd name="connsiteX301" fmla="*/ 403795 w 1183856"/>
                <a:gd name="connsiteY301" fmla="*/ 1775535 h 1992178"/>
                <a:gd name="connsiteX302" fmla="*/ 480187 w 1183856"/>
                <a:gd name="connsiteY302" fmla="*/ 1777017 h 1992178"/>
                <a:gd name="connsiteX303" fmla="*/ 476224 w 1183856"/>
                <a:gd name="connsiteY303" fmla="*/ 1744560 h 1992178"/>
                <a:gd name="connsiteX304" fmla="*/ 502771 w 1183856"/>
                <a:gd name="connsiteY304" fmla="*/ 1721709 h 1992178"/>
                <a:gd name="connsiteX305" fmla="*/ 595517 w 1183856"/>
                <a:gd name="connsiteY305" fmla="*/ 1646548 h 1992178"/>
                <a:gd name="connsiteX306" fmla="*/ 438662 w 1183856"/>
                <a:gd name="connsiteY306" fmla="*/ 1712997 h 1992178"/>
                <a:gd name="connsiteX307" fmla="*/ 386710 w 1183856"/>
                <a:gd name="connsiteY307" fmla="*/ 1689788 h 1992178"/>
                <a:gd name="connsiteX308" fmla="*/ 371589 w 1183856"/>
                <a:gd name="connsiteY308" fmla="*/ 1650512 h 1992178"/>
                <a:gd name="connsiteX309" fmla="*/ 270131 w 1183856"/>
                <a:gd name="connsiteY309" fmla="*/ 1599381 h 1992178"/>
                <a:gd name="connsiteX310" fmla="*/ 220947 w 1183856"/>
                <a:gd name="connsiteY310" fmla="*/ 1626446 h 1992178"/>
                <a:gd name="connsiteX311" fmla="*/ 182706 w 1183856"/>
                <a:gd name="connsiteY311" fmla="*/ 1631141 h 1992178"/>
                <a:gd name="connsiteX312" fmla="*/ 136699 w 1183856"/>
                <a:gd name="connsiteY312" fmla="*/ 1577583 h 1992178"/>
                <a:gd name="connsiteX313" fmla="*/ 141377 w 1183856"/>
                <a:gd name="connsiteY313" fmla="*/ 1539485 h 1992178"/>
                <a:gd name="connsiteX314" fmla="*/ 300999 w 1183856"/>
                <a:gd name="connsiteY314" fmla="*/ 1509724 h 1992178"/>
                <a:gd name="connsiteX315" fmla="*/ 387317 w 1183856"/>
                <a:gd name="connsiteY315" fmla="*/ 1435385 h 1992178"/>
                <a:gd name="connsiteX316" fmla="*/ 373035 w 1183856"/>
                <a:gd name="connsiteY316" fmla="*/ 1405374 h 1992178"/>
                <a:gd name="connsiteX317" fmla="*/ 390763 w 1183856"/>
                <a:gd name="connsiteY317" fmla="*/ 1369990 h 1992178"/>
                <a:gd name="connsiteX318" fmla="*/ 353379 w 1183856"/>
                <a:gd name="connsiteY318" fmla="*/ 1362421 h 1992178"/>
                <a:gd name="connsiteX319" fmla="*/ 325279 w 1183856"/>
                <a:gd name="connsiteY319" fmla="*/ 1386629 h 1992178"/>
                <a:gd name="connsiteX320" fmla="*/ 278040 w 1183856"/>
                <a:gd name="connsiteY320" fmla="*/ 1383058 h 1992178"/>
                <a:gd name="connsiteX321" fmla="*/ 282539 w 1183856"/>
                <a:gd name="connsiteY321" fmla="*/ 1346175 h 1992178"/>
                <a:gd name="connsiteX322" fmla="*/ 377159 w 1183856"/>
                <a:gd name="connsiteY322" fmla="*/ 1294151 h 1992178"/>
                <a:gd name="connsiteX323" fmla="*/ 535264 w 1183856"/>
                <a:gd name="connsiteY323" fmla="*/ 1264641 h 1992178"/>
                <a:gd name="connsiteX324" fmla="*/ 550331 w 1183856"/>
                <a:gd name="connsiteY324" fmla="*/ 1296365 h 1992178"/>
                <a:gd name="connsiteX325" fmla="*/ 572415 w 1183856"/>
                <a:gd name="connsiteY325" fmla="*/ 1268068 h 1992178"/>
                <a:gd name="connsiteX326" fmla="*/ 555776 w 1183856"/>
                <a:gd name="connsiteY326" fmla="*/ 1217813 h 1992178"/>
                <a:gd name="connsiteX327" fmla="*/ 569023 w 1183856"/>
                <a:gd name="connsiteY327" fmla="*/ 1167539 h 1992178"/>
                <a:gd name="connsiteX328" fmla="*/ 609835 w 1183856"/>
                <a:gd name="connsiteY328" fmla="*/ 1162540 h 1992178"/>
                <a:gd name="connsiteX329" fmla="*/ 622332 w 1183856"/>
                <a:gd name="connsiteY329" fmla="*/ 1082917 h 1992178"/>
                <a:gd name="connsiteX330" fmla="*/ 559383 w 1183856"/>
                <a:gd name="connsiteY330" fmla="*/ 1080203 h 1992178"/>
                <a:gd name="connsiteX331" fmla="*/ 553456 w 1183856"/>
                <a:gd name="connsiteY331" fmla="*/ 1032125 h 1992178"/>
                <a:gd name="connsiteX332" fmla="*/ 553456 w 1183856"/>
                <a:gd name="connsiteY332" fmla="*/ 1031804 h 1992178"/>
                <a:gd name="connsiteX333" fmla="*/ 537388 w 1183856"/>
                <a:gd name="connsiteY333" fmla="*/ 983352 h 1992178"/>
                <a:gd name="connsiteX334" fmla="*/ 561239 w 1183856"/>
                <a:gd name="connsiteY334" fmla="*/ 941737 h 1992178"/>
                <a:gd name="connsiteX335" fmla="*/ 592232 w 1183856"/>
                <a:gd name="connsiteY335" fmla="*/ 937952 h 1992178"/>
                <a:gd name="connsiteX336" fmla="*/ 608067 w 1183856"/>
                <a:gd name="connsiteY336" fmla="*/ 877913 h 1992178"/>
                <a:gd name="connsiteX337" fmla="*/ 492684 w 1183856"/>
                <a:gd name="connsiteY337" fmla="*/ 892070 h 1992178"/>
                <a:gd name="connsiteX338" fmla="*/ 456425 w 1183856"/>
                <a:gd name="connsiteY338" fmla="*/ 873896 h 1992178"/>
                <a:gd name="connsiteX339" fmla="*/ 451320 w 1183856"/>
                <a:gd name="connsiteY339" fmla="*/ 915778 h 1992178"/>
                <a:gd name="connsiteX340" fmla="*/ 423094 w 1183856"/>
                <a:gd name="connsiteY340" fmla="*/ 901496 h 1992178"/>
                <a:gd name="connsiteX341" fmla="*/ 394119 w 1183856"/>
                <a:gd name="connsiteY341" fmla="*/ 867790 h 1992178"/>
                <a:gd name="connsiteX342" fmla="*/ 391459 w 1183856"/>
                <a:gd name="connsiteY342" fmla="*/ 929972 h 1992178"/>
                <a:gd name="connsiteX343" fmla="*/ 373892 w 1183856"/>
                <a:gd name="connsiteY343" fmla="*/ 909494 h 1992178"/>
                <a:gd name="connsiteX344" fmla="*/ 387371 w 1183856"/>
                <a:gd name="connsiteY344" fmla="*/ 858328 h 1992178"/>
                <a:gd name="connsiteX345" fmla="*/ 455908 w 1183856"/>
                <a:gd name="connsiteY345" fmla="*/ 747141 h 1992178"/>
                <a:gd name="connsiteX346" fmla="*/ 456283 w 1183856"/>
                <a:gd name="connsiteY346" fmla="*/ 746534 h 1992178"/>
                <a:gd name="connsiteX347" fmla="*/ 461728 w 1183856"/>
                <a:gd name="connsiteY347" fmla="*/ 702098 h 1992178"/>
                <a:gd name="connsiteX348" fmla="*/ 426700 w 1183856"/>
                <a:gd name="connsiteY348" fmla="*/ 674712 h 1992178"/>
                <a:gd name="connsiteX349" fmla="*/ 395869 w 1183856"/>
                <a:gd name="connsiteY349" fmla="*/ 609888 h 1992178"/>
                <a:gd name="connsiteX350" fmla="*/ 370607 w 1183856"/>
                <a:gd name="connsiteY350" fmla="*/ 681139 h 1992178"/>
                <a:gd name="connsiteX351" fmla="*/ 350469 w 1183856"/>
                <a:gd name="connsiteY351" fmla="*/ 698474 h 1992178"/>
                <a:gd name="connsiteX352" fmla="*/ 361484 w 1183856"/>
                <a:gd name="connsiteY352" fmla="*/ 643755 h 199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1183856" h="1992178">
                  <a:moveTo>
                    <a:pt x="376070" y="685013"/>
                  </a:moveTo>
                  <a:lnTo>
                    <a:pt x="396672" y="626902"/>
                  </a:lnTo>
                  <a:lnTo>
                    <a:pt x="421416" y="678979"/>
                  </a:lnTo>
                  <a:lnTo>
                    <a:pt x="454747" y="705044"/>
                  </a:lnTo>
                  <a:lnTo>
                    <a:pt x="449945" y="744445"/>
                  </a:lnTo>
                  <a:lnTo>
                    <a:pt x="381354" y="855775"/>
                  </a:lnTo>
                  <a:lnTo>
                    <a:pt x="366769" y="911119"/>
                  </a:lnTo>
                  <a:lnTo>
                    <a:pt x="397225" y="946646"/>
                  </a:lnTo>
                  <a:lnTo>
                    <a:pt x="399903" y="884429"/>
                  </a:lnTo>
                  <a:lnTo>
                    <a:pt x="419024" y="906656"/>
                  </a:lnTo>
                  <a:lnTo>
                    <a:pt x="456622" y="925669"/>
                  </a:lnTo>
                  <a:lnTo>
                    <a:pt x="461746" y="883786"/>
                  </a:lnTo>
                  <a:lnTo>
                    <a:pt x="491470" y="898747"/>
                  </a:lnTo>
                  <a:lnTo>
                    <a:pt x="599320" y="885518"/>
                  </a:lnTo>
                  <a:lnTo>
                    <a:pt x="587037" y="932078"/>
                  </a:lnTo>
                  <a:lnTo>
                    <a:pt x="557187" y="935649"/>
                  </a:lnTo>
                  <a:lnTo>
                    <a:pt x="530211" y="982798"/>
                  </a:lnTo>
                  <a:lnTo>
                    <a:pt x="546957" y="1033322"/>
                  </a:lnTo>
                  <a:lnTo>
                    <a:pt x="553491" y="1086541"/>
                  </a:lnTo>
                  <a:lnTo>
                    <a:pt x="614691" y="1089183"/>
                  </a:lnTo>
                  <a:lnTo>
                    <a:pt x="604104" y="1156810"/>
                  </a:lnTo>
                  <a:lnTo>
                    <a:pt x="563792" y="1161737"/>
                  </a:lnTo>
                  <a:lnTo>
                    <a:pt x="548939" y="1218098"/>
                  </a:lnTo>
                  <a:lnTo>
                    <a:pt x="565006" y="1266908"/>
                  </a:lnTo>
                  <a:lnTo>
                    <a:pt x="551510" y="1284189"/>
                  </a:lnTo>
                  <a:lnTo>
                    <a:pt x="538816" y="1257410"/>
                  </a:lnTo>
                  <a:lnTo>
                    <a:pt x="375302" y="1287921"/>
                  </a:lnTo>
                  <a:lnTo>
                    <a:pt x="374784" y="1287921"/>
                  </a:lnTo>
                  <a:lnTo>
                    <a:pt x="276398" y="1342068"/>
                  </a:lnTo>
                  <a:lnTo>
                    <a:pt x="270667" y="1388950"/>
                  </a:lnTo>
                  <a:lnTo>
                    <a:pt x="327367" y="1393413"/>
                  </a:lnTo>
                  <a:lnTo>
                    <a:pt x="355111" y="1369508"/>
                  </a:lnTo>
                  <a:lnTo>
                    <a:pt x="381087" y="1374757"/>
                  </a:lnTo>
                  <a:lnTo>
                    <a:pt x="365733" y="1405392"/>
                  </a:lnTo>
                  <a:lnTo>
                    <a:pt x="379248" y="1433814"/>
                  </a:lnTo>
                  <a:lnTo>
                    <a:pt x="297982" y="1503761"/>
                  </a:lnTo>
                  <a:lnTo>
                    <a:pt x="135432" y="1534111"/>
                  </a:lnTo>
                  <a:lnTo>
                    <a:pt x="129826" y="1579761"/>
                  </a:lnTo>
                  <a:lnTo>
                    <a:pt x="179956" y="1638157"/>
                  </a:lnTo>
                  <a:lnTo>
                    <a:pt x="222803" y="1632802"/>
                  </a:lnTo>
                  <a:lnTo>
                    <a:pt x="270238" y="1606826"/>
                  </a:lnTo>
                  <a:lnTo>
                    <a:pt x="366411" y="1655278"/>
                  </a:lnTo>
                  <a:lnTo>
                    <a:pt x="381586" y="1694715"/>
                  </a:lnTo>
                  <a:lnTo>
                    <a:pt x="438519" y="1720120"/>
                  </a:lnTo>
                  <a:lnTo>
                    <a:pt x="555705" y="1670471"/>
                  </a:lnTo>
                  <a:lnTo>
                    <a:pt x="498576" y="1716888"/>
                  </a:lnTo>
                  <a:lnTo>
                    <a:pt x="469315" y="1742079"/>
                  </a:lnTo>
                  <a:lnTo>
                    <a:pt x="472886" y="1770643"/>
                  </a:lnTo>
                  <a:lnTo>
                    <a:pt x="404795" y="1769304"/>
                  </a:lnTo>
                  <a:lnTo>
                    <a:pt x="330438" y="1747684"/>
                  </a:lnTo>
                  <a:lnTo>
                    <a:pt x="280950" y="1741257"/>
                  </a:lnTo>
                  <a:lnTo>
                    <a:pt x="294590" y="1761842"/>
                  </a:lnTo>
                  <a:lnTo>
                    <a:pt x="248172" y="1767537"/>
                  </a:lnTo>
                  <a:lnTo>
                    <a:pt x="99208" y="1899648"/>
                  </a:lnTo>
                  <a:lnTo>
                    <a:pt x="70911" y="1913073"/>
                  </a:lnTo>
                  <a:lnTo>
                    <a:pt x="29475" y="1918161"/>
                  </a:lnTo>
                  <a:lnTo>
                    <a:pt x="0" y="1955991"/>
                  </a:lnTo>
                  <a:lnTo>
                    <a:pt x="26922" y="1977058"/>
                  </a:lnTo>
                  <a:lnTo>
                    <a:pt x="56094" y="1963168"/>
                  </a:lnTo>
                  <a:lnTo>
                    <a:pt x="64859" y="1970006"/>
                  </a:lnTo>
                  <a:lnTo>
                    <a:pt x="67591" y="1992179"/>
                  </a:lnTo>
                  <a:lnTo>
                    <a:pt x="81712" y="1990394"/>
                  </a:lnTo>
                  <a:lnTo>
                    <a:pt x="120275" y="1964703"/>
                  </a:lnTo>
                  <a:lnTo>
                    <a:pt x="167834" y="1938531"/>
                  </a:lnTo>
                  <a:lnTo>
                    <a:pt x="216323" y="1932586"/>
                  </a:lnTo>
                  <a:lnTo>
                    <a:pt x="251814" y="1969488"/>
                  </a:lnTo>
                  <a:lnTo>
                    <a:pt x="273238" y="1966864"/>
                  </a:lnTo>
                  <a:lnTo>
                    <a:pt x="338400" y="1980075"/>
                  </a:lnTo>
                  <a:lnTo>
                    <a:pt x="365001" y="1933657"/>
                  </a:lnTo>
                  <a:lnTo>
                    <a:pt x="380587" y="1902593"/>
                  </a:lnTo>
                  <a:lnTo>
                    <a:pt x="420577" y="1907539"/>
                  </a:lnTo>
                  <a:lnTo>
                    <a:pt x="479831" y="1900273"/>
                  </a:lnTo>
                  <a:lnTo>
                    <a:pt x="505092" y="1938388"/>
                  </a:lnTo>
                  <a:lnTo>
                    <a:pt x="537227" y="1934443"/>
                  </a:lnTo>
                  <a:lnTo>
                    <a:pt x="602908" y="1937317"/>
                  </a:lnTo>
                  <a:lnTo>
                    <a:pt x="601587" y="1926606"/>
                  </a:lnTo>
                  <a:lnTo>
                    <a:pt x="629187" y="1923214"/>
                  </a:lnTo>
                  <a:lnTo>
                    <a:pt x="668214" y="1908181"/>
                  </a:lnTo>
                  <a:lnTo>
                    <a:pt x="719755" y="1912109"/>
                  </a:lnTo>
                  <a:lnTo>
                    <a:pt x="767404" y="1906271"/>
                  </a:lnTo>
                  <a:lnTo>
                    <a:pt x="757049" y="1913162"/>
                  </a:lnTo>
                  <a:lnTo>
                    <a:pt x="772545" y="1936567"/>
                  </a:lnTo>
                  <a:lnTo>
                    <a:pt x="864523" y="1925267"/>
                  </a:lnTo>
                  <a:lnTo>
                    <a:pt x="887036" y="1942887"/>
                  </a:lnTo>
                  <a:lnTo>
                    <a:pt x="940594" y="1946976"/>
                  </a:lnTo>
                  <a:lnTo>
                    <a:pt x="990386" y="1930462"/>
                  </a:lnTo>
                  <a:lnTo>
                    <a:pt x="1021271" y="1926695"/>
                  </a:lnTo>
                  <a:lnTo>
                    <a:pt x="1059690" y="1901147"/>
                  </a:lnTo>
                  <a:lnTo>
                    <a:pt x="1100073" y="1885633"/>
                  </a:lnTo>
                  <a:lnTo>
                    <a:pt x="1108214" y="1862675"/>
                  </a:lnTo>
                  <a:lnTo>
                    <a:pt x="1115356" y="1827362"/>
                  </a:lnTo>
                  <a:lnTo>
                    <a:pt x="1079989" y="1820220"/>
                  </a:lnTo>
                  <a:lnTo>
                    <a:pt x="1049943" y="1823916"/>
                  </a:lnTo>
                  <a:lnTo>
                    <a:pt x="1002722" y="1802868"/>
                  </a:lnTo>
                  <a:lnTo>
                    <a:pt x="1055923" y="1777535"/>
                  </a:lnTo>
                  <a:lnTo>
                    <a:pt x="1071009" y="1735080"/>
                  </a:lnTo>
                  <a:lnTo>
                    <a:pt x="1121247" y="1728921"/>
                  </a:lnTo>
                  <a:lnTo>
                    <a:pt x="1165647" y="1659902"/>
                  </a:lnTo>
                  <a:lnTo>
                    <a:pt x="1183857" y="1553232"/>
                  </a:lnTo>
                  <a:lnTo>
                    <a:pt x="1165629" y="1491496"/>
                  </a:lnTo>
                  <a:lnTo>
                    <a:pt x="1119444" y="1464949"/>
                  </a:lnTo>
                  <a:lnTo>
                    <a:pt x="1034982" y="1464717"/>
                  </a:lnTo>
                  <a:lnTo>
                    <a:pt x="1007917" y="1487926"/>
                  </a:lnTo>
                  <a:lnTo>
                    <a:pt x="957929" y="1457094"/>
                  </a:lnTo>
                  <a:lnTo>
                    <a:pt x="982370" y="1436064"/>
                  </a:lnTo>
                  <a:lnTo>
                    <a:pt x="1022271" y="1409552"/>
                  </a:lnTo>
                  <a:lnTo>
                    <a:pt x="986137" y="1286939"/>
                  </a:lnTo>
                  <a:lnTo>
                    <a:pt x="938969" y="1250037"/>
                  </a:lnTo>
                  <a:lnTo>
                    <a:pt x="918564" y="1248484"/>
                  </a:lnTo>
                  <a:lnTo>
                    <a:pt x="936417" y="1246306"/>
                  </a:lnTo>
                  <a:lnTo>
                    <a:pt x="966481" y="1252429"/>
                  </a:lnTo>
                  <a:lnTo>
                    <a:pt x="996831" y="1287689"/>
                  </a:lnTo>
                  <a:lnTo>
                    <a:pt x="981727" y="1164808"/>
                  </a:lnTo>
                  <a:lnTo>
                    <a:pt x="925973" y="1047372"/>
                  </a:lnTo>
                  <a:lnTo>
                    <a:pt x="925651" y="1046693"/>
                  </a:lnTo>
                  <a:lnTo>
                    <a:pt x="890088" y="1018879"/>
                  </a:lnTo>
                  <a:lnTo>
                    <a:pt x="840279" y="1015094"/>
                  </a:lnTo>
                  <a:lnTo>
                    <a:pt x="842814" y="955108"/>
                  </a:lnTo>
                  <a:lnTo>
                    <a:pt x="816035" y="906602"/>
                  </a:lnTo>
                  <a:lnTo>
                    <a:pt x="813678" y="887285"/>
                  </a:lnTo>
                  <a:lnTo>
                    <a:pt x="824104" y="802520"/>
                  </a:lnTo>
                  <a:lnTo>
                    <a:pt x="727271" y="689815"/>
                  </a:lnTo>
                  <a:lnTo>
                    <a:pt x="712256" y="658269"/>
                  </a:lnTo>
                  <a:lnTo>
                    <a:pt x="670499" y="674337"/>
                  </a:lnTo>
                  <a:lnTo>
                    <a:pt x="646487" y="677283"/>
                  </a:lnTo>
                  <a:lnTo>
                    <a:pt x="659555" y="651289"/>
                  </a:lnTo>
                  <a:lnTo>
                    <a:pt x="754300" y="639667"/>
                  </a:lnTo>
                  <a:lnTo>
                    <a:pt x="738232" y="615440"/>
                  </a:lnTo>
                  <a:lnTo>
                    <a:pt x="689708" y="593839"/>
                  </a:lnTo>
                  <a:lnTo>
                    <a:pt x="752193" y="567363"/>
                  </a:lnTo>
                  <a:lnTo>
                    <a:pt x="923045" y="348380"/>
                  </a:lnTo>
                  <a:lnTo>
                    <a:pt x="894480" y="296268"/>
                  </a:lnTo>
                  <a:lnTo>
                    <a:pt x="843564" y="302498"/>
                  </a:lnTo>
                  <a:lnTo>
                    <a:pt x="830817" y="283414"/>
                  </a:lnTo>
                  <a:lnTo>
                    <a:pt x="779437" y="289698"/>
                  </a:lnTo>
                  <a:lnTo>
                    <a:pt x="768047" y="280771"/>
                  </a:lnTo>
                  <a:lnTo>
                    <a:pt x="747766" y="283271"/>
                  </a:lnTo>
                  <a:lnTo>
                    <a:pt x="736340" y="274344"/>
                  </a:lnTo>
                  <a:lnTo>
                    <a:pt x="716059" y="276826"/>
                  </a:lnTo>
                  <a:lnTo>
                    <a:pt x="704241" y="267560"/>
                  </a:lnTo>
                  <a:lnTo>
                    <a:pt x="597124" y="311460"/>
                  </a:lnTo>
                  <a:lnTo>
                    <a:pt x="587662" y="297178"/>
                  </a:lnTo>
                  <a:lnTo>
                    <a:pt x="676158" y="232658"/>
                  </a:lnTo>
                  <a:lnTo>
                    <a:pt x="637703" y="224874"/>
                  </a:lnTo>
                  <a:lnTo>
                    <a:pt x="614798" y="213341"/>
                  </a:lnTo>
                  <a:lnTo>
                    <a:pt x="636596" y="210681"/>
                  </a:lnTo>
                  <a:lnTo>
                    <a:pt x="644219" y="189115"/>
                  </a:lnTo>
                  <a:lnTo>
                    <a:pt x="684174" y="184223"/>
                  </a:lnTo>
                  <a:lnTo>
                    <a:pt x="693100" y="172797"/>
                  </a:lnTo>
                  <a:lnTo>
                    <a:pt x="702687" y="171619"/>
                  </a:lnTo>
                  <a:lnTo>
                    <a:pt x="722772" y="158247"/>
                  </a:lnTo>
                  <a:lnTo>
                    <a:pt x="731216" y="147536"/>
                  </a:lnTo>
                  <a:lnTo>
                    <a:pt x="741928" y="146215"/>
                  </a:lnTo>
                  <a:lnTo>
                    <a:pt x="749587" y="124648"/>
                  </a:lnTo>
                  <a:lnTo>
                    <a:pt x="790148" y="119685"/>
                  </a:lnTo>
                  <a:lnTo>
                    <a:pt x="798682" y="95513"/>
                  </a:lnTo>
                  <a:lnTo>
                    <a:pt x="794933" y="64824"/>
                  </a:lnTo>
                  <a:lnTo>
                    <a:pt x="801967" y="29993"/>
                  </a:lnTo>
                  <a:lnTo>
                    <a:pt x="580592" y="15264"/>
                  </a:lnTo>
                  <a:lnTo>
                    <a:pt x="523052" y="0"/>
                  </a:lnTo>
                  <a:lnTo>
                    <a:pt x="528408" y="44418"/>
                  </a:lnTo>
                  <a:lnTo>
                    <a:pt x="513037" y="74946"/>
                  </a:lnTo>
                  <a:lnTo>
                    <a:pt x="481098" y="78856"/>
                  </a:lnTo>
                  <a:lnTo>
                    <a:pt x="490024" y="150731"/>
                  </a:lnTo>
                  <a:lnTo>
                    <a:pt x="422184" y="179439"/>
                  </a:lnTo>
                  <a:lnTo>
                    <a:pt x="401224" y="266596"/>
                  </a:lnTo>
                  <a:lnTo>
                    <a:pt x="408669" y="327296"/>
                  </a:lnTo>
                  <a:lnTo>
                    <a:pt x="351201" y="448124"/>
                  </a:lnTo>
                  <a:lnTo>
                    <a:pt x="367965" y="491702"/>
                  </a:lnTo>
                  <a:lnTo>
                    <a:pt x="446981" y="465495"/>
                  </a:lnTo>
                  <a:lnTo>
                    <a:pt x="389852" y="503450"/>
                  </a:lnTo>
                  <a:lnTo>
                    <a:pt x="377034" y="567113"/>
                  </a:lnTo>
                  <a:lnTo>
                    <a:pt x="348594" y="591589"/>
                  </a:lnTo>
                  <a:lnTo>
                    <a:pt x="354861" y="643594"/>
                  </a:lnTo>
                  <a:lnTo>
                    <a:pt x="340328" y="715773"/>
                  </a:lnTo>
                  <a:close/>
                  <a:moveTo>
                    <a:pt x="355361" y="594267"/>
                  </a:moveTo>
                  <a:lnTo>
                    <a:pt x="382854" y="570594"/>
                  </a:lnTo>
                  <a:lnTo>
                    <a:pt x="395583" y="507395"/>
                  </a:lnTo>
                  <a:lnTo>
                    <a:pt x="490739" y="444196"/>
                  </a:lnTo>
                  <a:lnTo>
                    <a:pt x="371821" y="483562"/>
                  </a:lnTo>
                  <a:lnTo>
                    <a:pt x="358271" y="448356"/>
                  </a:lnTo>
                  <a:lnTo>
                    <a:pt x="415400" y="328331"/>
                  </a:lnTo>
                  <a:lnTo>
                    <a:pt x="407848" y="266989"/>
                  </a:lnTo>
                  <a:lnTo>
                    <a:pt x="427789" y="184134"/>
                  </a:lnTo>
                  <a:lnTo>
                    <a:pt x="496969" y="154820"/>
                  </a:lnTo>
                  <a:lnTo>
                    <a:pt x="488311" y="84515"/>
                  </a:lnTo>
                  <a:lnTo>
                    <a:pt x="517232" y="80945"/>
                  </a:lnTo>
                  <a:lnTo>
                    <a:pt x="535085" y="45543"/>
                  </a:lnTo>
                  <a:lnTo>
                    <a:pt x="530568" y="8676"/>
                  </a:lnTo>
                  <a:lnTo>
                    <a:pt x="579146" y="21548"/>
                  </a:lnTo>
                  <a:lnTo>
                    <a:pt x="579449" y="21548"/>
                  </a:lnTo>
                  <a:lnTo>
                    <a:pt x="794112" y="35831"/>
                  </a:lnTo>
                  <a:lnTo>
                    <a:pt x="788363" y="64395"/>
                  </a:lnTo>
                  <a:lnTo>
                    <a:pt x="792059" y="94602"/>
                  </a:lnTo>
                  <a:lnTo>
                    <a:pt x="785328" y="113562"/>
                  </a:lnTo>
                  <a:lnTo>
                    <a:pt x="744749" y="118721"/>
                  </a:lnTo>
                  <a:lnTo>
                    <a:pt x="737090" y="140145"/>
                  </a:lnTo>
                  <a:lnTo>
                    <a:pt x="727628" y="141305"/>
                  </a:lnTo>
                  <a:lnTo>
                    <a:pt x="718166" y="153338"/>
                  </a:lnTo>
                  <a:lnTo>
                    <a:pt x="700224" y="165299"/>
                  </a:lnTo>
                  <a:lnTo>
                    <a:pt x="689512" y="166603"/>
                  </a:lnTo>
                  <a:lnTo>
                    <a:pt x="680586" y="178028"/>
                  </a:lnTo>
                  <a:lnTo>
                    <a:pt x="639310" y="183099"/>
                  </a:lnTo>
                  <a:lnTo>
                    <a:pt x="631687" y="204647"/>
                  </a:lnTo>
                  <a:lnTo>
                    <a:pt x="592660" y="209431"/>
                  </a:lnTo>
                  <a:lnTo>
                    <a:pt x="635507" y="231016"/>
                  </a:lnTo>
                  <a:lnTo>
                    <a:pt x="660394" y="236068"/>
                  </a:lnTo>
                  <a:lnTo>
                    <a:pt x="578771" y="295571"/>
                  </a:lnTo>
                  <a:lnTo>
                    <a:pt x="594606" y="319441"/>
                  </a:lnTo>
                  <a:lnTo>
                    <a:pt x="703152" y="274951"/>
                  </a:lnTo>
                  <a:lnTo>
                    <a:pt x="714131" y="283556"/>
                  </a:lnTo>
                  <a:lnTo>
                    <a:pt x="734412" y="281182"/>
                  </a:lnTo>
                  <a:lnTo>
                    <a:pt x="745856" y="290108"/>
                  </a:lnTo>
                  <a:lnTo>
                    <a:pt x="766136" y="287627"/>
                  </a:lnTo>
                  <a:lnTo>
                    <a:pt x="777526" y="296553"/>
                  </a:lnTo>
                  <a:lnTo>
                    <a:pt x="827514" y="290430"/>
                  </a:lnTo>
                  <a:lnTo>
                    <a:pt x="840154" y="309497"/>
                  </a:lnTo>
                  <a:lnTo>
                    <a:pt x="890678" y="303320"/>
                  </a:lnTo>
                  <a:lnTo>
                    <a:pt x="915136" y="347845"/>
                  </a:lnTo>
                  <a:lnTo>
                    <a:pt x="747926" y="562078"/>
                  </a:lnTo>
                  <a:lnTo>
                    <a:pt x="673480" y="593606"/>
                  </a:lnTo>
                  <a:lnTo>
                    <a:pt x="733894" y="620493"/>
                  </a:lnTo>
                  <a:lnTo>
                    <a:pt x="743088" y="634418"/>
                  </a:lnTo>
                  <a:lnTo>
                    <a:pt x="655306" y="645130"/>
                  </a:lnTo>
                  <a:lnTo>
                    <a:pt x="635257" y="685013"/>
                  </a:lnTo>
                  <a:lnTo>
                    <a:pt x="672070" y="680514"/>
                  </a:lnTo>
                  <a:lnTo>
                    <a:pt x="708972" y="666232"/>
                  </a:lnTo>
                  <a:lnTo>
                    <a:pt x="721772" y="693154"/>
                  </a:lnTo>
                  <a:lnTo>
                    <a:pt x="817249" y="804359"/>
                  </a:lnTo>
                  <a:lnTo>
                    <a:pt x="807126" y="886679"/>
                  </a:lnTo>
                  <a:lnTo>
                    <a:pt x="807126" y="887071"/>
                  </a:lnTo>
                  <a:lnTo>
                    <a:pt x="809751" y="908495"/>
                  </a:lnTo>
                  <a:lnTo>
                    <a:pt x="836173" y="956519"/>
                  </a:lnTo>
                  <a:lnTo>
                    <a:pt x="833459" y="1020950"/>
                  </a:lnTo>
                  <a:lnTo>
                    <a:pt x="887536" y="1025074"/>
                  </a:lnTo>
                  <a:lnTo>
                    <a:pt x="920367" y="1050728"/>
                  </a:lnTo>
                  <a:lnTo>
                    <a:pt x="975354" y="1166539"/>
                  </a:lnTo>
                  <a:lnTo>
                    <a:pt x="987708" y="1267086"/>
                  </a:lnTo>
                  <a:lnTo>
                    <a:pt x="969944" y="1246413"/>
                  </a:lnTo>
                  <a:lnTo>
                    <a:pt x="936649" y="1239629"/>
                  </a:lnTo>
                  <a:lnTo>
                    <a:pt x="885429" y="1245895"/>
                  </a:lnTo>
                  <a:lnTo>
                    <a:pt x="885572" y="1252340"/>
                  </a:lnTo>
                  <a:lnTo>
                    <a:pt x="936559" y="1256232"/>
                  </a:lnTo>
                  <a:lnTo>
                    <a:pt x="980549" y="1290652"/>
                  </a:lnTo>
                  <a:lnTo>
                    <a:pt x="1014826" y="1406695"/>
                  </a:lnTo>
                  <a:lnTo>
                    <a:pt x="978674" y="1430904"/>
                  </a:lnTo>
                  <a:lnTo>
                    <a:pt x="947075" y="1458076"/>
                  </a:lnTo>
                  <a:lnTo>
                    <a:pt x="1008560" y="1496049"/>
                  </a:lnTo>
                  <a:lnTo>
                    <a:pt x="1037392" y="1471251"/>
                  </a:lnTo>
                  <a:lnTo>
                    <a:pt x="1117730" y="1471466"/>
                  </a:lnTo>
                  <a:lnTo>
                    <a:pt x="1160166" y="1495870"/>
                  </a:lnTo>
                  <a:lnTo>
                    <a:pt x="1177234" y="1553678"/>
                  </a:lnTo>
                  <a:lnTo>
                    <a:pt x="1159506" y="1657563"/>
                  </a:lnTo>
                  <a:lnTo>
                    <a:pt x="1117480" y="1722923"/>
                  </a:lnTo>
                  <a:lnTo>
                    <a:pt x="1066278" y="1729189"/>
                  </a:lnTo>
                  <a:lnTo>
                    <a:pt x="1050746" y="1772893"/>
                  </a:lnTo>
                  <a:lnTo>
                    <a:pt x="987279" y="1803118"/>
                  </a:lnTo>
                  <a:lnTo>
                    <a:pt x="1048979" y="1830593"/>
                  </a:lnTo>
                  <a:lnTo>
                    <a:pt x="1079775" y="1826826"/>
                  </a:lnTo>
                  <a:lnTo>
                    <a:pt x="1107750" y="1832521"/>
                  </a:lnTo>
                  <a:lnTo>
                    <a:pt x="1102037" y="1860836"/>
                  </a:lnTo>
                  <a:lnTo>
                    <a:pt x="1094896" y="1880759"/>
                  </a:lnTo>
                  <a:lnTo>
                    <a:pt x="1056620" y="1895488"/>
                  </a:lnTo>
                  <a:lnTo>
                    <a:pt x="1018879" y="1920482"/>
                  </a:lnTo>
                  <a:lnTo>
                    <a:pt x="988868" y="1924160"/>
                  </a:lnTo>
                  <a:lnTo>
                    <a:pt x="939719" y="1940459"/>
                  </a:lnTo>
                  <a:lnTo>
                    <a:pt x="889374" y="1936621"/>
                  </a:lnTo>
                  <a:lnTo>
                    <a:pt x="866291" y="1918572"/>
                  </a:lnTo>
                  <a:lnTo>
                    <a:pt x="775634" y="1929694"/>
                  </a:lnTo>
                  <a:lnTo>
                    <a:pt x="765922" y="1915019"/>
                  </a:lnTo>
                  <a:lnTo>
                    <a:pt x="793612" y="1896577"/>
                  </a:lnTo>
                  <a:lnTo>
                    <a:pt x="719594" y="1905789"/>
                  </a:lnTo>
                  <a:lnTo>
                    <a:pt x="667232" y="1901790"/>
                  </a:lnTo>
                  <a:lnTo>
                    <a:pt x="627598" y="1917054"/>
                  </a:lnTo>
                  <a:lnTo>
                    <a:pt x="594356" y="1921143"/>
                  </a:lnTo>
                  <a:lnTo>
                    <a:pt x="595535" y="1930747"/>
                  </a:lnTo>
                  <a:lnTo>
                    <a:pt x="536942" y="1928177"/>
                  </a:lnTo>
                  <a:lnTo>
                    <a:pt x="508199" y="1931747"/>
                  </a:lnTo>
                  <a:lnTo>
                    <a:pt x="482937" y="1893631"/>
                  </a:lnTo>
                  <a:lnTo>
                    <a:pt x="420452" y="1901290"/>
                  </a:lnTo>
                  <a:lnTo>
                    <a:pt x="376730" y="1895934"/>
                  </a:lnTo>
                  <a:lnTo>
                    <a:pt x="359217" y="1930837"/>
                  </a:lnTo>
                  <a:lnTo>
                    <a:pt x="334991" y="1973076"/>
                  </a:lnTo>
                  <a:lnTo>
                    <a:pt x="273380" y="1960579"/>
                  </a:lnTo>
                  <a:lnTo>
                    <a:pt x="254171" y="1962793"/>
                  </a:lnTo>
                  <a:lnTo>
                    <a:pt x="218697" y="1925891"/>
                  </a:lnTo>
                  <a:lnTo>
                    <a:pt x="165746" y="1932372"/>
                  </a:lnTo>
                  <a:lnTo>
                    <a:pt x="116972" y="1959151"/>
                  </a:lnTo>
                  <a:lnTo>
                    <a:pt x="79320" y="1984145"/>
                  </a:lnTo>
                  <a:lnTo>
                    <a:pt x="73143" y="1984913"/>
                  </a:lnTo>
                  <a:lnTo>
                    <a:pt x="70947" y="1966489"/>
                  </a:lnTo>
                  <a:lnTo>
                    <a:pt x="56915" y="1955563"/>
                  </a:lnTo>
                  <a:lnTo>
                    <a:pt x="27743" y="1969417"/>
                  </a:lnTo>
                  <a:lnTo>
                    <a:pt x="9069" y="1954813"/>
                  </a:lnTo>
                  <a:lnTo>
                    <a:pt x="32921" y="1924196"/>
                  </a:lnTo>
                  <a:lnTo>
                    <a:pt x="72732" y="1919304"/>
                  </a:lnTo>
                  <a:lnTo>
                    <a:pt x="102797" y="1905021"/>
                  </a:lnTo>
                  <a:lnTo>
                    <a:pt x="250975" y="1773696"/>
                  </a:lnTo>
                  <a:lnTo>
                    <a:pt x="305890" y="1766948"/>
                  </a:lnTo>
                  <a:lnTo>
                    <a:pt x="294250" y="1749398"/>
                  </a:lnTo>
                  <a:lnTo>
                    <a:pt x="328813" y="1753737"/>
                  </a:lnTo>
                  <a:lnTo>
                    <a:pt x="403795" y="1775535"/>
                  </a:lnTo>
                  <a:lnTo>
                    <a:pt x="480187" y="1777017"/>
                  </a:lnTo>
                  <a:lnTo>
                    <a:pt x="476224" y="1744560"/>
                  </a:lnTo>
                  <a:lnTo>
                    <a:pt x="502771" y="1721709"/>
                  </a:lnTo>
                  <a:lnTo>
                    <a:pt x="595517" y="1646548"/>
                  </a:lnTo>
                  <a:lnTo>
                    <a:pt x="438662" y="1712997"/>
                  </a:lnTo>
                  <a:lnTo>
                    <a:pt x="386710" y="1689788"/>
                  </a:lnTo>
                  <a:lnTo>
                    <a:pt x="371589" y="1650512"/>
                  </a:lnTo>
                  <a:lnTo>
                    <a:pt x="270131" y="1599381"/>
                  </a:lnTo>
                  <a:lnTo>
                    <a:pt x="220947" y="1626446"/>
                  </a:lnTo>
                  <a:lnTo>
                    <a:pt x="182706" y="1631141"/>
                  </a:lnTo>
                  <a:lnTo>
                    <a:pt x="136699" y="1577583"/>
                  </a:lnTo>
                  <a:lnTo>
                    <a:pt x="141377" y="1539485"/>
                  </a:lnTo>
                  <a:lnTo>
                    <a:pt x="300999" y="1509724"/>
                  </a:lnTo>
                  <a:lnTo>
                    <a:pt x="387317" y="1435385"/>
                  </a:lnTo>
                  <a:lnTo>
                    <a:pt x="373035" y="1405374"/>
                  </a:lnTo>
                  <a:lnTo>
                    <a:pt x="390763" y="1369990"/>
                  </a:lnTo>
                  <a:lnTo>
                    <a:pt x="353379" y="1362421"/>
                  </a:lnTo>
                  <a:lnTo>
                    <a:pt x="325279" y="1386629"/>
                  </a:lnTo>
                  <a:lnTo>
                    <a:pt x="278040" y="1383058"/>
                  </a:lnTo>
                  <a:lnTo>
                    <a:pt x="282539" y="1346175"/>
                  </a:lnTo>
                  <a:lnTo>
                    <a:pt x="377159" y="1294151"/>
                  </a:lnTo>
                  <a:lnTo>
                    <a:pt x="535264" y="1264641"/>
                  </a:lnTo>
                  <a:lnTo>
                    <a:pt x="550331" y="1296365"/>
                  </a:lnTo>
                  <a:lnTo>
                    <a:pt x="572415" y="1268068"/>
                  </a:lnTo>
                  <a:lnTo>
                    <a:pt x="555776" y="1217813"/>
                  </a:lnTo>
                  <a:lnTo>
                    <a:pt x="569023" y="1167539"/>
                  </a:lnTo>
                  <a:lnTo>
                    <a:pt x="609835" y="1162540"/>
                  </a:lnTo>
                  <a:lnTo>
                    <a:pt x="622332" y="1082917"/>
                  </a:lnTo>
                  <a:lnTo>
                    <a:pt x="559383" y="1080203"/>
                  </a:lnTo>
                  <a:lnTo>
                    <a:pt x="553456" y="1032125"/>
                  </a:lnTo>
                  <a:lnTo>
                    <a:pt x="553456" y="1031804"/>
                  </a:lnTo>
                  <a:lnTo>
                    <a:pt x="537388" y="983352"/>
                  </a:lnTo>
                  <a:lnTo>
                    <a:pt x="561239" y="941737"/>
                  </a:lnTo>
                  <a:lnTo>
                    <a:pt x="592232" y="937952"/>
                  </a:lnTo>
                  <a:lnTo>
                    <a:pt x="608067" y="877913"/>
                  </a:lnTo>
                  <a:lnTo>
                    <a:pt x="492684" y="892070"/>
                  </a:lnTo>
                  <a:lnTo>
                    <a:pt x="456425" y="873896"/>
                  </a:lnTo>
                  <a:lnTo>
                    <a:pt x="451320" y="915778"/>
                  </a:lnTo>
                  <a:lnTo>
                    <a:pt x="423094" y="901496"/>
                  </a:lnTo>
                  <a:lnTo>
                    <a:pt x="394119" y="867790"/>
                  </a:lnTo>
                  <a:lnTo>
                    <a:pt x="391459" y="929972"/>
                  </a:lnTo>
                  <a:lnTo>
                    <a:pt x="373892" y="909494"/>
                  </a:lnTo>
                  <a:lnTo>
                    <a:pt x="387371" y="858328"/>
                  </a:lnTo>
                  <a:lnTo>
                    <a:pt x="455908" y="747141"/>
                  </a:lnTo>
                  <a:lnTo>
                    <a:pt x="456283" y="746534"/>
                  </a:lnTo>
                  <a:lnTo>
                    <a:pt x="461728" y="702098"/>
                  </a:lnTo>
                  <a:lnTo>
                    <a:pt x="426700" y="674712"/>
                  </a:lnTo>
                  <a:lnTo>
                    <a:pt x="395869" y="609888"/>
                  </a:lnTo>
                  <a:lnTo>
                    <a:pt x="370607" y="681139"/>
                  </a:lnTo>
                  <a:lnTo>
                    <a:pt x="350469" y="698474"/>
                  </a:lnTo>
                  <a:lnTo>
                    <a:pt x="361484" y="643755"/>
                  </a:lnTo>
                  <a:close/>
                </a:path>
              </a:pathLst>
            </a:custGeom>
            <a:solidFill>
              <a:srgbClr val="231F20"/>
            </a:solidFill>
            <a:ln w="1785" cap="flat">
              <a:noFill/>
              <a:prstDash val="solid"/>
              <a:miter/>
            </a:ln>
          </p:spPr>
          <p:txBody>
            <a:bodyPr rtlCol="0" anchor="ctr"/>
            <a:lstStyle/>
            <a:p>
              <a:endParaRPr lang="de-AT"/>
            </a:p>
          </p:txBody>
        </p:sp>
        <p:sp>
          <p:nvSpPr>
            <p:cNvPr id="190" name="Freihandform: Form 189">
              <a:extLst>
                <a:ext uri="{FF2B5EF4-FFF2-40B4-BE49-F238E27FC236}">
                  <a16:creationId xmlns:a16="http://schemas.microsoft.com/office/drawing/2014/main" id="{C42675B6-57ED-443A-8B19-8E6E77312521}"/>
                </a:ext>
              </a:extLst>
            </p:cNvPr>
            <p:cNvSpPr/>
            <p:nvPr/>
          </p:nvSpPr>
          <p:spPr>
            <a:xfrm>
              <a:off x="3818390" y="1868929"/>
              <a:ext cx="848455" cy="826335"/>
            </a:xfrm>
            <a:custGeom>
              <a:avLst/>
              <a:gdLst>
                <a:gd name="connsiteX0" fmla="*/ 52505 w 848455"/>
                <a:gd name="connsiteY0" fmla="*/ 646380 h 826335"/>
                <a:gd name="connsiteX1" fmla="*/ 1446 w 848455"/>
                <a:gd name="connsiteY1" fmla="*/ 700831 h 826335"/>
                <a:gd name="connsiteX2" fmla="*/ 14532 w 848455"/>
                <a:gd name="connsiteY2" fmla="*/ 807126 h 826335"/>
                <a:gd name="connsiteX3" fmla="*/ 108295 w 848455"/>
                <a:gd name="connsiteY3" fmla="*/ 795629 h 826335"/>
                <a:gd name="connsiteX4" fmla="*/ 194435 w 848455"/>
                <a:gd name="connsiteY4" fmla="*/ 826336 h 826335"/>
                <a:gd name="connsiteX5" fmla="*/ 237103 w 848455"/>
                <a:gd name="connsiteY5" fmla="*/ 821105 h 826335"/>
                <a:gd name="connsiteX6" fmla="*/ 254956 w 848455"/>
                <a:gd name="connsiteY6" fmla="*/ 798271 h 826335"/>
                <a:gd name="connsiteX7" fmla="*/ 387335 w 848455"/>
                <a:gd name="connsiteY7" fmla="*/ 782043 h 826335"/>
                <a:gd name="connsiteX8" fmla="*/ 410919 w 848455"/>
                <a:gd name="connsiteY8" fmla="*/ 728913 h 826335"/>
                <a:gd name="connsiteX9" fmla="*/ 441411 w 848455"/>
                <a:gd name="connsiteY9" fmla="*/ 744284 h 826335"/>
                <a:gd name="connsiteX10" fmla="*/ 503182 w 848455"/>
                <a:gd name="connsiteY10" fmla="*/ 746998 h 826335"/>
                <a:gd name="connsiteX11" fmla="*/ 526230 w 848455"/>
                <a:gd name="connsiteY11" fmla="*/ 765011 h 826335"/>
                <a:gd name="connsiteX12" fmla="*/ 580003 w 848455"/>
                <a:gd name="connsiteY12" fmla="*/ 758424 h 826335"/>
                <a:gd name="connsiteX13" fmla="*/ 597374 w 848455"/>
                <a:gd name="connsiteY13" fmla="*/ 723754 h 826335"/>
                <a:gd name="connsiteX14" fmla="*/ 621296 w 848455"/>
                <a:gd name="connsiteY14" fmla="*/ 669856 h 826335"/>
                <a:gd name="connsiteX15" fmla="*/ 686495 w 848455"/>
                <a:gd name="connsiteY15" fmla="*/ 609942 h 826335"/>
                <a:gd name="connsiteX16" fmla="*/ 690583 w 848455"/>
                <a:gd name="connsiteY16" fmla="*/ 555526 h 826335"/>
                <a:gd name="connsiteX17" fmla="*/ 667517 w 848455"/>
                <a:gd name="connsiteY17" fmla="*/ 520910 h 826335"/>
                <a:gd name="connsiteX18" fmla="*/ 705615 w 848455"/>
                <a:gd name="connsiteY18" fmla="*/ 516232 h 826335"/>
                <a:gd name="connsiteX19" fmla="*/ 711096 w 848455"/>
                <a:gd name="connsiteY19" fmla="*/ 388067 h 826335"/>
                <a:gd name="connsiteX20" fmla="*/ 687637 w 848455"/>
                <a:gd name="connsiteY20" fmla="*/ 352647 h 826335"/>
                <a:gd name="connsiteX21" fmla="*/ 742821 w 848455"/>
                <a:gd name="connsiteY21" fmla="*/ 336347 h 826335"/>
                <a:gd name="connsiteX22" fmla="*/ 753532 w 848455"/>
                <a:gd name="connsiteY22" fmla="*/ 335044 h 826335"/>
                <a:gd name="connsiteX23" fmla="*/ 811715 w 848455"/>
                <a:gd name="connsiteY23" fmla="*/ 296375 h 826335"/>
                <a:gd name="connsiteX24" fmla="*/ 848456 w 848455"/>
                <a:gd name="connsiteY24" fmla="*/ 249297 h 826335"/>
                <a:gd name="connsiteX25" fmla="*/ 844457 w 848455"/>
                <a:gd name="connsiteY25" fmla="*/ 216680 h 826335"/>
                <a:gd name="connsiteX26" fmla="*/ 818999 w 848455"/>
                <a:gd name="connsiteY26" fmla="*/ 178260 h 826335"/>
                <a:gd name="connsiteX27" fmla="*/ 802806 w 848455"/>
                <a:gd name="connsiteY27" fmla="*/ 129397 h 826335"/>
                <a:gd name="connsiteX28" fmla="*/ 797593 w 848455"/>
                <a:gd name="connsiteY28" fmla="*/ 86765 h 826335"/>
                <a:gd name="connsiteX29" fmla="*/ 763030 w 848455"/>
                <a:gd name="connsiteY29" fmla="*/ 79767 h 826335"/>
                <a:gd name="connsiteX30" fmla="*/ 604675 w 848455"/>
                <a:gd name="connsiteY30" fmla="*/ 109313 h 826335"/>
                <a:gd name="connsiteX31" fmla="*/ 601658 w 848455"/>
                <a:gd name="connsiteY31" fmla="*/ 84605 h 826335"/>
                <a:gd name="connsiteX32" fmla="*/ 659966 w 848455"/>
                <a:gd name="connsiteY32" fmla="*/ 56736 h 826335"/>
                <a:gd name="connsiteX33" fmla="*/ 652985 w 848455"/>
                <a:gd name="connsiteY33" fmla="*/ 0 h 826335"/>
                <a:gd name="connsiteX34" fmla="*/ 478027 w 848455"/>
                <a:gd name="connsiteY34" fmla="*/ 42686 h 826335"/>
                <a:gd name="connsiteX35" fmla="*/ 461335 w 848455"/>
                <a:gd name="connsiteY35" fmla="*/ 76017 h 826335"/>
                <a:gd name="connsiteX36" fmla="*/ 402956 w 848455"/>
                <a:gd name="connsiteY36" fmla="*/ 103796 h 826335"/>
                <a:gd name="connsiteX37" fmla="*/ 384354 w 848455"/>
                <a:gd name="connsiteY37" fmla="*/ 140823 h 826335"/>
                <a:gd name="connsiteX38" fmla="*/ 461121 w 848455"/>
                <a:gd name="connsiteY38" fmla="*/ 173065 h 826335"/>
                <a:gd name="connsiteX39" fmla="*/ 456068 w 848455"/>
                <a:gd name="connsiteY39" fmla="*/ 198238 h 826335"/>
                <a:gd name="connsiteX40" fmla="*/ 402510 w 848455"/>
                <a:gd name="connsiteY40" fmla="*/ 174422 h 826335"/>
                <a:gd name="connsiteX41" fmla="*/ 376445 w 848455"/>
                <a:gd name="connsiteY41" fmla="*/ 219929 h 826335"/>
                <a:gd name="connsiteX42" fmla="*/ 338293 w 848455"/>
                <a:gd name="connsiteY42" fmla="*/ 224607 h 826335"/>
                <a:gd name="connsiteX43" fmla="*/ 196399 w 848455"/>
                <a:gd name="connsiteY43" fmla="*/ 169209 h 826335"/>
                <a:gd name="connsiteX44" fmla="*/ 127808 w 848455"/>
                <a:gd name="connsiteY44" fmla="*/ 244459 h 826335"/>
                <a:gd name="connsiteX45" fmla="*/ 186027 w 848455"/>
                <a:gd name="connsiteY45" fmla="*/ 259884 h 826335"/>
                <a:gd name="connsiteX46" fmla="*/ 220750 w 848455"/>
                <a:gd name="connsiteY46" fmla="*/ 272256 h 826335"/>
                <a:gd name="connsiteX47" fmla="*/ 189561 w 848455"/>
                <a:gd name="connsiteY47" fmla="*/ 284235 h 826335"/>
                <a:gd name="connsiteX48" fmla="*/ 139895 w 848455"/>
                <a:gd name="connsiteY48" fmla="*/ 311550 h 826335"/>
                <a:gd name="connsiteX49" fmla="*/ 123381 w 848455"/>
                <a:gd name="connsiteY49" fmla="*/ 357967 h 826335"/>
                <a:gd name="connsiteX50" fmla="*/ 159390 w 848455"/>
                <a:gd name="connsiteY50" fmla="*/ 386139 h 826335"/>
                <a:gd name="connsiteX51" fmla="*/ 188544 w 848455"/>
                <a:gd name="connsiteY51" fmla="*/ 400885 h 826335"/>
                <a:gd name="connsiteX52" fmla="*/ 157408 w 848455"/>
                <a:gd name="connsiteY52" fmla="*/ 427665 h 826335"/>
                <a:gd name="connsiteX53" fmla="*/ 265418 w 848455"/>
                <a:gd name="connsiteY53" fmla="*/ 425254 h 826335"/>
                <a:gd name="connsiteX54" fmla="*/ 261294 w 848455"/>
                <a:gd name="connsiteY54" fmla="*/ 458871 h 826335"/>
                <a:gd name="connsiteX55" fmla="*/ 230659 w 848455"/>
                <a:gd name="connsiteY55" fmla="*/ 443446 h 826335"/>
                <a:gd name="connsiteX56" fmla="*/ 111705 w 848455"/>
                <a:gd name="connsiteY56" fmla="*/ 534014 h 826335"/>
                <a:gd name="connsiteX57" fmla="*/ 171976 w 848455"/>
                <a:gd name="connsiteY57" fmla="*/ 560793 h 826335"/>
                <a:gd name="connsiteX58" fmla="*/ 211449 w 848455"/>
                <a:gd name="connsiteY58" fmla="*/ 555955 h 826335"/>
                <a:gd name="connsiteX59" fmla="*/ 93620 w 848455"/>
                <a:gd name="connsiteY59" fmla="*/ 594945 h 826335"/>
                <a:gd name="connsiteX60" fmla="*/ 56415 w 848455"/>
                <a:gd name="connsiteY60" fmla="*/ 619654 h 826335"/>
                <a:gd name="connsiteX61" fmla="*/ 0 w 848455"/>
                <a:gd name="connsiteY61" fmla="*/ 604711 h 826335"/>
                <a:gd name="connsiteX62" fmla="*/ 4660 w 848455"/>
                <a:gd name="connsiteY62" fmla="*/ 642577 h 826335"/>
                <a:gd name="connsiteX63" fmla="*/ 57575 w 848455"/>
                <a:gd name="connsiteY63" fmla="*/ 626848 h 826335"/>
                <a:gd name="connsiteX64" fmla="*/ 96423 w 848455"/>
                <a:gd name="connsiteY64" fmla="*/ 601015 h 826335"/>
                <a:gd name="connsiteX65" fmla="*/ 244441 w 848455"/>
                <a:gd name="connsiteY65" fmla="*/ 552010 h 826335"/>
                <a:gd name="connsiteX66" fmla="*/ 243031 w 848455"/>
                <a:gd name="connsiteY66" fmla="*/ 545725 h 826335"/>
                <a:gd name="connsiteX67" fmla="*/ 172905 w 848455"/>
                <a:gd name="connsiteY67" fmla="*/ 554330 h 826335"/>
                <a:gd name="connsiteX68" fmla="*/ 124256 w 848455"/>
                <a:gd name="connsiteY68" fmla="*/ 532657 h 826335"/>
                <a:gd name="connsiteX69" fmla="*/ 231373 w 848455"/>
                <a:gd name="connsiteY69" fmla="*/ 451159 h 826335"/>
                <a:gd name="connsiteX70" fmla="*/ 266614 w 848455"/>
                <a:gd name="connsiteY70" fmla="*/ 468905 h 826335"/>
                <a:gd name="connsiteX71" fmla="*/ 272773 w 848455"/>
                <a:gd name="connsiteY71" fmla="*/ 418720 h 826335"/>
                <a:gd name="connsiteX72" fmla="*/ 175333 w 848455"/>
                <a:gd name="connsiteY72" fmla="*/ 420934 h 826335"/>
                <a:gd name="connsiteX73" fmla="*/ 200130 w 848455"/>
                <a:gd name="connsiteY73" fmla="*/ 399511 h 826335"/>
                <a:gd name="connsiteX74" fmla="*/ 163121 w 848455"/>
                <a:gd name="connsiteY74" fmla="*/ 380890 h 826335"/>
                <a:gd name="connsiteX75" fmla="*/ 130986 w 848455"/>
                <a:gd name="connsiteY75" fmla="*/ 355896 h 826335"/>
                <a:gd name="connsiteX76" fmla="*/ 145108 w 848455"/>
                <a:gd name="connsiteY76" fmla="*/ 316120 h 826335"/>
                <a:gd name="connsiteX77" fmla="*/ 192025 w 848455"/>
                <a:gd name="connsiteY77" fmla="*/ 290269 h 826335"/>
                <a:gd name="connsiteX78" fmla="*/ 239353 w 848455"/>
                <a:gd name="connsiteY78" fmla="*/ 272113 h 826335"/>
                <a:gd name="connsiteX79" fmla="*/ 188008 w 848455"/>
                <a:gd name="connsiteY79" fmla="*/ 253832 h 826335"/>
                <a:gd name="connsiteX80" fmla="*/ 139716 w 848455"/>
                <a:gd name="connsiteY80" fmla="*/ 241031 h 826335"/>
                <a:gd name="connsiteX81" fmla="*/ 198184 w 848455"/>
                <a:gd name="connsiteY81" fmla="*/ 176939 h 826335"/>
                <a:gd name="connsiteX82" fmla="*/ 337436 w 848455"/>
                <a:gd name="connsiteY82" fmla="*/ 231337 h 826335"/>
                <a:gd name="connsiteX83" fmla="*/ 380444 w 848455"/>
                <a:gd name="connsiteY83" fmla="*/ 225981 h 826335"/>
                <a:gd name="connsiteX84" fmla="*/ 405277 w 848455"/>
                <a:gd name="connsiteY84" fmla="*/ 182831 h 826335"/>
                <a:gd name="connsiteX85" fmla="*/ 460782 w 848455"/>
                <a:gd name="connsiteY85" fmla="*/ 207557 h 826335"/>
                <a:gd name="connsiteX86" fmla="*/ 468476 w 848455"/>
                <a:gd name="connsiteY86" fmla="*/ 169209 h 826335"/>
                <a:gd name="connsiteX87" fmla="*/ 393226 w 848455"/>
                <a:gd name="connsiteY87" fmla="*/ 137628 h 826335"/>
                <a:gd name="connsiteX88" fmla="*/ 407723 w 848455"/>
                <a:gd name="connsiteY88" fmla="*/ 108777 h 826335"/>
                <a:gd name="connsiteX89" fmla="*/ 466102 w 848455"/>
                <a:gd name="connsiteY89" fmla="*/ 80980 h 826335"/>
                <a:gd name="connsiteX90" fmla="*/ 482455 w 848455"/>
                <a:gd name="connsiteY90" fmla="*/ 48346 h 826335"/>
                <a:gd name="connsiteX91" fmla="*/ 647433 w 848455"/>
                <a:gd name="connsiteY91" fmla="*/ 8105 h 826335"/>
                <a:gd name="connsiteX92" fmla="*/ 652949 w 848455"/>
                <a:gd name="connsiteY92" fmla="*/ 52987 h 826335"/>
                <a:gd name="connsiteX93" fmla="*/ 594517 w 848455"/>
                <a:gd name="connsiteY93" fmla="*/ 80802 h 826335"/>
                <a:gd name="connsiteX94" fmla="*/ 598962 w 848455"/>
                <a:gd name="connsiteY94" fmla="*/ 117007 h 826335"/>
                <a:gd name="connsiteX95" fmla="*/ 762834 w 848455"/>
                <a:gd name="connsiteY95" fmla="*/ 86426 h 826335"/>
                <a:gd name="connsiteX96" fmla="*/ 791612 w 848455"/>
                <a:gd name="connsiteY96" fmla="*/ 92246 h 826335"/>
                <a:gd name="connsiteX97" fmla="*/ 796343 w 848455"/>
                <a:gd name="connsiteY97" fmla="*/ 130897 h 826335"/>
                <a:gd name="connsiteX98" fmla="*/ 812857 w 848455"/>
                <a:gd name="connsiteY98" fmla="*/ 180778 h 826335"/>
                <a:gd name="connsiteX99" fmla="*/ 813000 w 848455"/>
                <a:gd name="connsiteY99" fmla="*/ 181188 h 826335"/>
                <a:gd name="connsiteX100" fmla="*/ 838083 w 848455"/>
                <a:gd name="connsiteY100" fmla="*/ 219036 h 826335"/>
                <a:gd name="connsiteX101" fmla="*/ 841565 w 848455"/>
                <a:gd name="connsiteY101" fmla="*/ 247405 h 826335"/>
                <a:gd name="connsiteX102" fmla="*/ 807109 w 848455"/>
                <a:gd name="connsiteY102" fmla="*/ 291555 h 826335"/>
                <a:gd name="connsiteX103" fmla="*/ 751086 w 848455"/>
                <a:gd name="connsiteY103" fmla="*/ 328796 h 826335"/>
                <a:gd name="connsiteX104" fmla="*/ 741678 w 848455"/>
                <a:gd name="connsiteY104" fmla="*/ 329938 h 826335"/>
                <a:gd name="connsiteX105" fmla="*/ 677319 w 848455"/>
                <a:gd name="connsiteY105" fmla="*/ 348916 h 826335"/>
                <a:gd name="connsiteX106" fmla="*/ 704455 w 848455"/>
                <a:gd name="connsiteY106" fmla="*/ 389870 h 826335"/>
                <a:gd name="connsiteX107" fmla="*/ 699295 w 848455"/>
                <a:gd name="connsiteY107" fmla="*/ 510448 h 826335"/>
                <a:gd name="connsiteX108" fmla="*/ 656252 w 848455"/>
                <a:gd name="connsiteY108" fmla="*/ 515804 h 826335"/>
                <a:gd name="connsiteX109" fmla="*/ 683781 w 848455"/>
                <a:gd name="connsiteY109" fmla="*/ 557312 h 826335"/>
                <a:gd name="connsiteX110" fmla="*/ 680050 w 848455"/>
                <a:gd name="connsiteY110" fmla="*/ 606942 h 826335"/>
                <a:gd name="connsiteX111" fmla="*/ 615780 w 848455"/>
                <a:gd name="connsiteY111" fmla="*/ 666036 h 826335"/>
                <a:gd name="connsiteX112" fmla="*/ 591357 w 848455"/>
                <a:gd name="connsiteY112" fmla="*/ 721040 h 826335"/>
                <a:gd name="connsiteX113" fmla="*/ 575611 w 848455"/>
                <a:gd name="connsiteY113" fmla="*/ 752461 h 826335"/>
                <a:gd name="connsiteX114" fmla="*/ 527944 w 848455"/>
                <a:gd name="connsiteY114" fmla="*/ 758299 h 826335"/>
                <a:gd name="connsiteX115" fmla="*/ 505360 w 848455"/>
                <a:gd name="connsiteY115" fmla="*/ 740678 h 826335"/>
                <a:gd name="connsiteX116" fmla="*/ 442875 w 848455"/>
                <a:gd name="connsiteY116" fmla="*/ 737929 h 826335"/>
                <a:gd name="connsiteX117" fmla="*/ 407544 w 848455"/>
                <a:gd name="connsiteY117" fmla="*/ 720076 h 826335"/>
                <a:gd name="connsiteX118" fmla="*/ 382783 w 848455"/>
                <a:gd name="connsiteY118" fmla="*/ 776205 h 826335"/>
                <a:gd name="connsiteX119" fmla="*/ 251386 w 848455"/>
                <a:gd name="connsiteY119" fmla="*/ 792273 h 826335"/>
                <a:gd name="connsiteX120" fmla="*/ 233533 w 848455"/>
                <a:gd name="connsiteY120" fmla="*/ 815107 h 826335"/>
                <a:gd name="connsiteX121" fmla="*/ 195060 w 848455"/>
                <a:gd name="connsiteY121" fmla="*/ 819837 h 826335"/>
                <a:gd name="connsiteX122" fmla="*/ 108920 w 848455"/>
                <a:gd name="connsiteY122" fmla="*/ 789095 h 826335"/>
                <a:gd name="connsiteX123" fmla="*/ 20084 w 848455"/>
                <a:gd name="connsiteY123" fmla="*/ 800003 h 826335"/>
                <a:gd name="connsiteX124" fmla="*/ 8159 w 848455"/>
                <a:gd name="connsiteY124" fmla="*/ 703116 h 826335"/>
                <a:gd name="connsiteX125" fmla="*/ 66395 w 848455"/>
                <a:gd name="connsiteY125" fmla="*/ 641024 h 826335"/>
                <a:gd name="connsiteX126" fmla="*/ 10319 w 848455"/>
                <a:gd name="connsiteY126" fmla="*/ 636793 h 826335"/>
                <a:gd name="connsiteX127" fmla="*/ 7552 w 848455"/>
                <a:gd name="connsiteY127" fmla="*/ 613745 h 82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848455" h="826335">
                  <a:moveTo>
                    <a:pt x="52505" y="646380"/>
                  </a:moveTo>
                  <a:lnTo>
                    <a:pt x="1446" y="700831"/>
                  </a:lnTo>
                  <a:lnTo>
                    <a:pt x="14532" y="807126"/>
                  </a:lnTo>
                  <a:lnTo>
                    <a:pt x="108295" y="795629"/>
                  </a:lnTo>
                  <a:lnTo>
                    <a:pt x="194435" y="826336"/>
                  </a:lnTo>
                  <a:lnTo>
                    <a:pt x="237103" y="821105"/>
                  </a:lnTo>
                  <a:lnTo>
                    <a:pt x="254956" y="798271"/>
                  </a:lnTo>
                  <a:lnTo>
                    <a:pt x="387335" y="782043"/>
                  </a:lnTo>
                  <a:lnTo>
                    <a:pt x="410919" y="728913"/>
                  </a:lnTo>
                  <a:lnTo>
                    <a:pt x="441411" y="744284"/>
                  </a:lnTo>
                  <a:lnTo>
                    <a:pt x="503182" y="746998"/>
                  </a:lnTo>
                  <a:lnTo>
                    <a:pt x="526230" y="765011"/>
                  </a:lnTo>
                  <a:lnTo>
                    <a:pt x="580003" y="758424"/>
                  </a:lnTo>
                  <a:lnTo>
                    <a:pt x="597374" y="723754"/>
                  </a:lnTo>
                  <a:lnTo>
                    <a:pt x="621296" y="669856"/>
                  </a:lnTo>
                  <a:lnTo>
                    <a:pt x="686495" y="609942"/>
                  </a:lnTo>
                  <a:lnTo>
                    <a:pt x="690583" y="555526"/>
                  </a:lnTo>
                  <a:lnTo>
                    <a:pt x="667517" y="520910"/>
                  </a:lnTo>
                  <a:lnTo>
                    <a:pt x="705615" y="516232"/>
                  </a:lnTo>
                  <a:lnTo>
                    <a:pt x="711096" y="388067"/>
                  </a:lnTo>
                  <a:lnTo>
                    <a:pt x="687637" y="352647"/>
                  </a:lnTo>
                  <a:lnTo>
                    <a:pt x="742821" y="336347"/>
                  </a:lnTo>
                  <a:lnTo>
                    <a:pt x="753532" y="335044"/>
                  </a:lnTo>
                  <a:lnTo>
                    <a:pt x="811715" y="296375"/>
                  </a:lnTo>
                  <a:lnTo>
                    <a:pt x="848456" y="249297"/>
                  </a:lnTo>
                  <a:lnTo>
                    <a:pt x="844457" y="216680"/>
                  </a:lnTo>
                  <a:lnTo>
                    <a:pt x="818999" y="178260"/>
                  </a:lnTo>
                  <a:lnTo>
                    <a:pt x="802806" y="129397"/>
                  </a:lnTo>
                  <a:lnTo>
                    <a:pt x="797593" y="86765"/>
                  </a:lnTo>
                  <a:lnTo>
                    <a:pt x="763030" y="79767"/>
                  </a:lnTo>
                  <a:lnTo>
                    <a:pt x="604675" y="109313"/>
                  </a:lnTo>
                  <a:lnTo>
                    <a:pt x="601658" y="84605"/>
                  </a:lnTo>
                  <a:lnTo>
                    <a:pt x="659966" y="56736"/>
                  </a:lnTo>
                  <a:lnTo>
                    <a:pt x="652985" y="0"/>
                  </a:lnTo>
                  <a:lnTo>
                    <a:pt x="478027" y="42686"/>
                  </a:lnTo>
                  <a:lnTo>
                    <a:pt x="461335" y="76017"/>
                  </a:lnTo>
                  <a:lnTo>
                    <a:pt x="402956" y="103796"/>
                  </a:lnTo>
                  <a:lnTo>
                    <a:pt x="384354" y="140823"/>
                  </a:lnTo>
                  <a:lnTo>
                    <a:pt x="461121" y="173065"/>
                  </a:lnTo>
                  <a:lnTo>
                    <a:pt x="456068" y="198238"/>
                  </a:lnTo>
                  <a:lnTo>
                    <a:pt x="402510" y="174422"/>
                  </a:lnTo>
                  <a:lnTo>
                    <a:pt x="376445" y="219929"/>
                  </a:lnTo>
                  <a:lnTo>
                    <a:pt x="338293" y="224607"/>
                  </a:lnTo>
                  <a:lnTo>
                    <a:pt x="196399" y="169209"/>
                  </a:lnTo>
                  <a:lnTo>
                    <a:pt x="127808" y="244459"/>
                  </a:lnTo>
                  <a:lnTo>
                    <a:pt x="186027" y="259884"/>
                  </a:lnTo>
                  <a:lnTo>
                    <a:pt x="220750" y="272256"/>
                  </a:lnTo>
                  <a:lnTo>
                    <a:pt x="189561" y="284235"/>
                  </a:lnTo>
                  <a:lnTo>
                    <a:pt x="139895" y="311550"/>
                  </a:lnTo>
                  <a:lnTo>
                    <a:pt x="123381" y="357967"/>
                  </a:lnTo>
                  <a:lnTo>
                    <a:pt x="159390" y="386139"/>
                  </a:lnTo>
                  <a:lnTo>
                    <a:pt x="188544" y="400885"/>
                  </a:lnTo>
                  <a:lnTo>
                    <a:pt x="157408" y="427665"/>
                  </a:lnTo>
                  <a:lnTo>
                    <a:pt x="265418" y="425254"/>
                  </a:lnTo>
                  <a:lnTo>
                    <a:pt x="261294" y="458871"/>
                  </a:lnTo>
                  <a:lnTo>
                    <a:pt x="230659" y="443446"/>
                  </a:lnTo>
                  <a:lnTo>
                    <a:pt x="111705" y="534014"/>
                  </a:lnTo>
                  <a:lnTo>
                    <a:pt x="171976" y="560793"/>
                  </a:lnTo>
                  <a:lnTo>
                    <a:pt x="211449" y="555955"/>
                  </a:lnTo>
                  <a:lnTo>
                    <a:pt x="93620" y="594945"/>
                  </a:lnTo>
                  <a:lnTo>
                    <a:pt x="56415" y="619654"/>
                  </a:lnTo>
                  <a:lnTo>
                    <a:pt x="0" y="604711"/>
                  </a:lnTo>
                  <a:lnTo>
                    <a:pt x="4660" y="642577"/>
                  </a:lnTo>
                  <a:close/>
                  <a:moveTo>
                    <a:pt x="57575" y="626848"/>
                  </a:moveTo>
                  <a:lnTo>
                    <a:pt x="96423" y="601015"/>
                  </a:lnTo>
                  <a:lnTo>
                    <a:pt x="244441" y="552010"/>
                  </a:lnTo>
                  <a:lnTo>
                    <a:pt x="243031" y="545725"/>
                  </a:lnTo>
                  <a:lnTo>
                    <a:pt x="172905" y="554330"/>
                  </a:lnTo>
                  <a:lnTo>
                    <a:pt x="124256" y="532657"/>
                  </a:lnTo>
                  <a:lnTo>
                    <a:pt x="231373" y="451159"/>
                  </a:lnTo>
                  <a:lnTo>
                    <a:pt x="266614" y="468905"/>
                  </a:lnTo>
                  <a:lnTo>
                    <a:pt x="272773" y="418720"/>
                  </a:lnTo>
                  <a:lnTo>
                    <a:pt x="175333" y="420934"/>
                  </a:lnTo>
                  <a:lnTo>
                    <a:pt x="200130" y="399511"/>
                  </a:lnTo>
                  <a:lnTo>
                    <a:pt x="163121" y="380890"/>
                  </a:lnTo>
                  <a:lnTo>
                    <a:pt x="130986" y="355896"/>
                  </a:lnTo>
                  <a:lnTo>
                    <a:pt x="145108" y="316120"/>
                  </a:lnTo>
                  <a:lnTo>
                    <a:pt x="192025" y="290269"/>
                  </a:lnTo>
                  <a:lnTo>
                    <a:pt x="239353" y="272113"/>
                  </a:lnTo>
                  <a:lnTo>
                    <a:pt x="188008" y="253832"/>
                  </a:lnTo>
                  <a:lnTo>
                    <a:pt x="139716" y="241031"/>
                  </a:lnTo>
                  <a:lnTo>
                    <a:pt x="198184" y="176939"/>
                  </a:lnTo>
                  <a:lnTo>
                    <a:pt x="337436" y="231337"/>
                  </a:lnTo>
                  <a:lnTo>
                    <a:pt x="380444" y="225981"/>
                  </a:lnTo>
                  <a:lnTo>
                    <a:pt x="405277" y="182831"/>
                  </a:lnTo>
                  <a:lnTo>
                    <a:pt x="460782" y="207557"/>
                  </a:lnTo>
                  <a:lnTo>
                    <a:pt x="468476" y="169209"/>
                  </a:lnTo>
                  <a:lnTo>
                    <a:pt x="393226" y="137628"/>
                  </a:lnTo>
                  <a:lnTo>
                    <a:pt x="407723" y="108777"/>
                  </a:lnTo>
                  <a:lnTo>
                    <a:pt x="466102" y="80980"/>
                  </a:lnTo>
                  <a:lnTo>
                    <a:pt x="482455" y="48346"/>
                  </a:lnTo>
                  <a:lnTo>
                    <a:pt x="647433" y="8105"/>
                  </a:lnTo>
                  <a:lnTo>
                    <a:pt x="652949" y="52987"/>
                  </a:lnTo>
                  <a:lnTo>
                    <a:pt x="594517" y="80802"/>
                  </a:lnTo>
                  <a:lnTo>
                    <a:pt x="598962" y="117007"/>
                  </a:lnTo>
                  <a:lnTo>
                    <a:pt x="762834" y="86426"/>
                  </a:lnTo>
                  <a:lnTo>
                    <a:pt x="791612" y="92246"/>
                  </a:lnTo>
                  <a:lnTo>
                    <a:pt x="796343" y="130897"/>
                  </a:lnTo>
                  <a:lnTo>
                    <a:pt x="812857" y="180778"/>
                  </a:lnTo>
                  <a:lnTo>
                    <a:pt x="813000" y="181188"/>
                  </a:lnTo>
                  <a:lnTo>
                    <a:pt x="838083" y="219036"/>
                  </a:lnTo>
                  <a:lnTo>
                    <a:pt x="841565" y="247405"/>
                  </a:lnTo>
                  <a:lnTo>
                    <a:pt x="807109" y="291555"/>
                  </a:lnTo>
                  <a:lnTo>
                    <a:pt x="751086" y="328796"/>
                  </a:lnTo>
                  <a:lnTo>
                    <a:pt x="741678" y="329938"/>
                  </a:lnTo>
                  <a:lnTo>
                    <a:pt x="677319" y="348916"/>
                  </a:lnTo>
                  <a:lnTo>
                    <a:pt x="704455" y="389870"/>
                  </a:lnTo>
                  <a:lnTo>
                    <a:pt x="699295" y="510448"/>
                  </a:lnTo>
                  <a:lnTo>
                    <a:pt x="656252" y="515804"/>
                  </a:lnTo>
                  <a:lnTo>
                    <a:pt x="683781" y="557312"/>
                  </a:lnTo>
                  <a:lnTo>
                    <a:pt x="680050" y="606942"/>
                  </a:lnTo>
                  <a:lnTo>
                    <a:pt x="615780" y="666036"/>
                  </a:lnTo>
                  <a:lnTo>
                    <a:pt x="591357" y="721040"/>
                  </a:lnTo>
                  <a:lnTo>
                    <a:pt x="575611" y="752461"/>
                  </a:lnTo>
                  <a:lnTo>
                    <a:pt x="527944" y="758299"/>
                  </a:lnTo>
                  <a:lnTo>
                    <a:pt x="505360" y="740678"/>
                  </a:lnTo>
                  <a:lnTo>
                    <a:pt x="442875" y="737929"/>
                  </a:lnTo>
                  <a:lnTo>
                    <a:pt x="407544" y="720076"/>
                  </a:lnTo>
                  <a:lnTo>
                    <a:pt x="382783" y="776205"/>
                  </a:lnTo>
                  <a:lnTo>
                    <a:pt x="251386" y="792273"/>
                  </a:lnTo>
                  <a:lnTo>
                    <a:pt x="233533" y="815107"/>
                  </a:lnTo>
                  <a:lnTo>
                    <a:pt x="195060" y="819837"/>
                  </a:lnTo>
                  <a:lnTo>
                    <a:pt x="108920" y="789095"/>
                  </a:lnTo>
                  <a:lnTo>
                    <a:pt x="20084" y="800003"/>
                  </a:lnTo>
                  <a:lnTo>
                    <a:pt x="8159" y="703116"/>
                  </a:lnTo>
                  <a:lnTo>
                    <a:pt x="66395" y="641024"/>
                  </a:lnTo>
                  <a:lnTo>
                    <a:pt x="10319" y="636793"/>
                  </a:lnTo>
                  <a:lnTo>
                    <a:pt x="7552" y="613745"/>
                  </a:lnTo>
                  <a:close/>
                </a:path>
              </a:pathLst>
            </a:custGeom>
            <a:solidFill>
              <a:srgbClr val="231F20"/>
            </a:solidFill>
            <a:ln w="1785" cap="flat">
              <a:noFill/>
              <a:prstDash val="solid"/>
              <a:miter/>
            </a:ln>
          </p:spPr>
          <p:txBody>
            <a:bodyPr rtlCol="0" anchor="ctr"/>
            <a:lstStyle/>
            <a:p>
              <a:endParaRPr lang="de-AT"/>
            </a:p>
          </p:txBody>
        </p:sp>
        <p:sp>
          <p:nvSpPr>
            <p:cNvPr id="191" name="Freihandform: Form 190">
              <a:extLst>
                <a:ext uri="{FF2B5EF4-FFF2-40B4-BE49-F238E27FC236}">
                  <a16:creationId xmlns:a16="http://schemas.microsoft.com/office/drawing/2014/main" id="{4C8B5B5F-A0C1-403A-ABC7-A7BCB5DA7D83}"/>
                </a:ext>
              </a:extLst>
            </p:cNvPr>
            <p:cNvSpPr/>
            <p:nvPr/>
          </p:nvSpPr>
          <p:spPr>
            <a:xfrm>
              <a:off x="3437053" y="6450285"/>
              <a:ext cx="3378469" cy="419863"/>
            </a:xfrm>
            <a:custGeom>
              <a:avLst/>
              <a:gdLst>
                <a:gd name="connsiteX0" fmla="*/ 3378470 w 3378469"/>
                <a:gd name="connsiteY0" fmla="*/ 360609 h 419863"/>
                <a:gd name="connsiteX1" fmla="*/ 3339015 w 3378469"/>
                <a:gd name="connsiteY1" fmla="*/ 255456 h 419863"/>
                <a:gd name="connsiteX2" fmla="*/ 3345674 w 3378469"/>
                <a:gd name="connsiteY2" fmla="*/ 79392 h 419863"/>
                <a:gd name="connsiteX3" fmla="*/ 3257534 w 3378469"/>
                <a:gd name="connsiteY3" fmla="*/ 7427 h 419863"/>
                <a:gd name="connsiteX4" fmla="*/ 3128226 w 3378469"/>
                <a:gd name="connsiteY4" fmla="*/ 54 h 419863"/>
                <a:gd name="connsiteX5" fmla="*/ 3127405 w 3378469"/>
                <a:gd name="connsiteY5" fmla="*/ 0 h 419863"/>
                <a:gd name="connsiteX6" fmla="*/ 2992813 w 3378469"/>
                <a:gd name="connsiteY6" fmla="*/ 62503 h 419863"/>
                <a:gd name="connsiteX7" fmla="*/ 2835190 w 3378469"/>
                <a:gd name="connsiteY7" fmla="*/ 77607 h 419863"/>
                <a:gd name="connsiteX8" fmla="*/ 2643808 w 3378469"/>
                <a:gd name="connsiteY8" fmla="*/ 22941 h 419863"/>
                <a:gd name="connsiteX9" fmla="*/ 2643218 w 3378469"/>
                <a:gd name="connsiteY9" fmla="*/ 22780 h 419863"/>
                <a:gd name="connsiteX10" fmla="*/ 2380050 w 3378469"/>
                <a:gd name="connsiteY10" fmla="*/ 47899 h 419863"/>
                <a:gd name="connsiteX11" fmla="*/ 2379657 w 3378469"/>
                <a:gd name="connsiteY11" fmla="*/ 47935 h 419863"/>
                <a:gd name="connsiteX12" fmla="*/ 2250153 w 3378469"/>
                <a:gd name="connsiteY12" fmla="*/ 93549 h 419863"/>
                <a:gd name="connsiteX13" fmla="*/ 2090620 w 3378469"/>
                <a:gd name="connsiteY13" fmla="*/ 38580 h 419863"/>
                <a:gd name="connsiteX14" fmla="*/ 2090031 w 3378469"/>
                <a:gd name="connsiteY14" fmla="*/ 38384 h 419863"/>
                <a:gd name="connsiteX15" fmla="*/ 1905736 w 3378469"/>
                <a:gd name="connsiteY15" fmla="*/ 47899 h 419863"/>
                <a:gd name="connsiteX16" fmla="*/ 1721138 w 3378469"/>
                <a:gd name="connsiteY16" fmla="*/ 61878 h 419863"/>
                <a:gd name="connsiteX17" fmla="*/ 1720870 w 3378469"/>
                <a:gd name="connsiteY17" fmla="*/ 61896 h 419863"/>
                <a:gd name="connsiteX18" fmla="*/ 1589687 w 3378469"/>
                <a:gd name="connsiteY18" fmla="*/ 93852 h 419863"/>
                <a:gd name="connsiteX19" fmla="*/ 1589473 w 3378469"/>
                <a:gd name="connsiteY19" fmla="*/ 93888 h 419863"/>
                <a:gd name="connsiteX20" fmla="*/ 1408410 w 3378469"/>
                <a:gd name="connsiteY20" fmla="*/ 164532 h 419863"/>
                <a:gd name="connsiteX21" fmla="*/ 1293598 w 3378469"/>
                <a:gd name="connsiteY21" fmla="*/ 218947 h 419863"/>
                <a:gd name="connsiteX22" fmla="*/ 1062797 w 3378469"/>
                <a:gd name="connsiteY22" fmla="*/ 289769 h 419863"/>
                <a:gd name="connsiteX23" fmla="*/ 859453 w 3378469"/>
                <a:gd name="connsiteY23" fmla="*/ 266311 h 419863"/>
                <a:gd name="connsiteX24" fmla="*/ 781829 w 3378469"/>
                <a:gd name="connsiteY24" fmla="*/ 183438 h 419863"/>
                <a:gd name="connsiteX25" fmla="*/ 663554 w 3378469"/>
                <a:gd name="connsiteY25" fmla="*/ 205718 h 419863"/>
                <a:gd name="connsiteX26" fmla="*/ 525784 w 3378469"/>
                <a:gd name="connsiteY26" fmla="*/ 194792 h 419863"/>
                <a:gd name="connsiteX27" fmla="*/ 495595 w 3378469"/>
                <a:gd name="connsiteY27" fmla="*/ 175422 h 419863"/>
                <a:gd name="connsiteX28" fmla="*/ 418917 w 3378469"/>
                <a:gd name="connsiteY28" fmla="*/ 124881 h 419863"/>
                <a:gd name="connsiteX29" fmla="*/ 415328 w 3378469"/>
                <a:gd name="connsiteY29" fmla="*/ 10016 h 419863"/>
                <a:gd name="connsiteX30" fmla="*/ 355218 w 3378469"/>
                <a:gd name="connsiteY30" fmla="*/ 1446 h 419863"/>
                <a:gd name="connsiteX31" fmla="*/ 301391 w 3378469"/>
                <a:gd name="connsiteY31" fmla="*/ 27922 h 419863"/>
                <a:gd name="connsiteX32" fmla="*/ 260848 w 3378469"/>
                <a:gd name="connsiteY32" fmla="*/ 80659 h 419863"/>
                <a:gd name="connsiteX33" fmla="*/ 225481 w 3378469"/>
                <a:gd name="connsiteY33" fmla="*/ 131647 h 419863"/>
                <a:gd name="connsiteX34" fmla="*/ 173565 w 3378469"/>
                <a:gd name="connsiteY34" fmla="*/ 200202 h 419863"/>
                <a:gd name="connsiteX35" fmla="*/ 0 w 3378469"/>
                <a:gd name="connsiteY35" fmla="*/ 419863 h 419863"/>
                <a:gd name="connsiteX36" fmla="*/ 8248 w 3378469"/>
                <a:gd name="connsiteY36" fmla="*/ 419863 h 419863"/>
                <a:gd name="connsiteX37" fmla="*/ 178689 w 3378469"/>
                <a:gd name="connsiteY37" fmla="*/ 204147 h 419863"/>
                <a:gd name="connsiteX38" fmla="*/ 230730 w 3378469"/>
                <a:gd name="connsiteY38" fmla="*/ 135450 h 419863"/>
                <a:gd name="connsiteX39" fmla="*/ 266025 w 3378469"/>
                <a:gd name="connsiteY39" fmla="*/ 84533 h 419863"/>
                <a:gd name="connsiteX40" fmla="*/ 305605 w 3378469"/>
                <a:gd name="connsiteY40" fmla="*/ 33081 h 419863"/>
                <a:gd name="connsiteX41" fmla="*/ 356289 w 3378469"/>
                <a:gd name="connsiteY41" fmla="*/ 8159 h 419863"/>
                <a:gd name="connsiteX42" fmla="*/ 409026 w 3378469"/>
                <a:gd name="connsiteY42" fmla="*/ 15657 h 419863"/>
                <a:gd name="connsiteX43" fmla="*/ 412543 w 3378469"/>
                <a:gd name="connsiteY43" fmla="*/ 128434 h 419863"/>
                <a:gd name="connsiteX44" fmla="*/ 492078 w 3378469"/>
                <a:gd name="connsiteY44" fmla="*/ 180867 h 419863"/>
                <a:gd name="connsiteX45" fmla="*/ 523641 w 3378469"/>
                <a:gd name="connsiteY45" fmla="*/ 201130 h 419863"/>
                <a:gd name="connsiteX46" fmla="*/ 663911 w 3378469"/>
                <a:gd name="connsiteY46" fmla="*/ 212252 h 419863"/>
                <a:gd name="connsiteX47" fmla="*/ 779526 w 3378469"/>
                <a:gd name="connsiteY47" fmla="*/ 190454 h 419863"/>
                <a:gd name="connsiteX48" fmla="*/ 855543 w 3378469"/>
                <a:gd name="connsiteY48" fmla="*/ 271613 h 419863"/>
                <a:gd name="connsiteX49" fmla="*/ 856365 w 3378469"/>
                <a:gd name="connsiteY49" fmla="*/ 272488 h 419863"/>
                <a:gd name="connsiteX50" fmla="*/ 1062743 w 3378469"/>
                <a:gd name="connsiteY50" fmla="*/ 296286 h 419863"/>
                <a:gd name="connsiteX51" fmla="*/ 1063404 w 3378469"/>
                <a:gd name="connsiteY51" fmla="*/ 296375 h 419863"/>
                <a:gd name="connsiteX52" fmla="*/ 1295741 w 3378469"/>
                <a:gd name="connsiteY52" fmla="*/ 225071 h 419863"/>
                <a:gd name="connsiteX53" fmla="*/ 1295955 w 3378469"/>
                <a:gd name="connsiteY53" fmla="*/ 225017 h 419863"/>
                <a:gd name="connsiteX54" fmla="*/ 1410856 w 3378469"/>
                <a:gd name="connsiteY54" fmla="*/ 170512 h 419863"/>
                <a:gd name="connsiteX55" fmla="*/ 1591437 w 3378469"/>
                <a:gd name="connsiteY55" fmla="*/ 100065 h 419863"/>
                <a:gd name="connsiteX56" fmla="*/ 1721888 w 3378469"/>
                <a:gd name="connsiteY56" fmla="*/ 68323 h 419863"/>
                <a:gd name="connsiteX57" fmla="*/ 1906147 w 3378469"/>
                <a:gd name="connsiteY57" fmla="*/ 54362 h 419863"/>
                <a:gd name="connsiteX58" fmla="*/ 2089102 w 3378469"/>
                <a:gd name="connsiteY58" fmla="*/ 44936 h 419863"/>
                <a:gd name="connsiteX59" fmla="*/ 2250171 w 3378469"/>
                <a:gd name="connsiteY59" fmla="*/ 100404 h 419863"/>
                <a:gd name="connsiteX60" fmla="*/ 2381050 w 3378469"/>
                <a:gd name="connsiteY60" fmla="*/ 54309 h 419863"/>
                <a:gd name="connsiteX61" fmla="*/ 2642629 w 3378469"/>
                <a:gd name="connsiteY61" fmla="*/ 29350 h 419863"/>
                <a:gd name="connsiteX62" fmla="*/ 2834583 w 3378469"/>
                <a:gd name="connsiteY62" fmla="*/ 84176 h 419863"/>
                <a:gd name="connsiteX63" fmla="*/ 2993991 w 3378469"/>
                <a:gd name="connsiteY63" fmla="*/ 68912 h 419863"/>
                <a:gd name="connsiteX64" fmla="*/ 2994544 w 3378469"/>
                <a:gd name="connsiteY64" fmla="*/ 68841 h 419863"/>
                <a:gd name="connsiteX65" fmla="*/ 3128655 w 3378469"/>
                <a:gd name="connsiteY65" fmla="*/ 6570 h 419863"/>
                <a:gd name="connsiteX66" fmla="*/ 3255071 w 3378469"/>
                <a:gd name="connsiteY66" fmla="*/ 13765 h 419863"/>
                <a:gd name="connsiteX67" fmla="*/ 3339068 w 3378469"/>
                <a:gd name="connsiteY67" fmla="*/ 82355 h 419863"/>
                <a:gd name="connsiteX68" fmla="*/ 3332534 w 3378469"/>
                <a:gd name="connsiteY68" fmla="*/ 255849 h 419863"/>
                <a:gd name="connsiteX69" fmla="*/ 3332498 w 3378469"/>
                <a:gd name="connsiteY69" fmla="*/ 256492 h 419863"/>
                <a:gd name="connsiteX70" fmla="*/ 3371900 w 3378469"/>
                <a:gd name="connsiteY70" fmla="*/ 361538 h 419863"/>
                <a:gd name="connsiteX71" fmla="*/ 3367222 w 3378469"/>
                <a:gd name="connsiteY71" fmla="*/ 419863 h 419863"/>
                <a:gd name="connsiteX72" fmla="*/ 3373738 w 3378469"/>
                <a:gd name="connsiteY72" fmla="*/ 419863 h 419863"/>
                <a:gd name="connsiteX73" fmla="*/ 3378416 w 3378469"/>
                <a:gd name="connsiteY73" fmla="*/ 361324 h 419863"/>
                <a:gd name="connsiteX74" fmla="*/ 3378470 w 3378469"/>
                <a:gd name="connsiteY74" fmla="*/ 360609 h 41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378469" h="419863">
                  <a:moveTo>
                    <a:pt x="3378470" y="360609"/>
                  </a:moveTo>
                  <a:lnTo>
                    <a:pt x="3339015" y="255456"/>
                  </a:lnTo>
                  <a:lnTo>
                    <a:pt x="3345674" y="79392"/>
                  </a:lnTo>
                  <a:lnTo>
                    <a:pt x="3257534" y="7427"/>
                  </a:lnTo>
                  <a:lnTo>
                    <a:pt x="3128226" y="54"/>
                  </a:lnTo>
                  <a:lnTo>
                    <a:pt x="3127405" y="0"/>
                  </a:lnTo>
                  <a:lnTo>
                    <a:pt x="2992813" y="62503"/>
                  </a:lnTo>
                  <a:lnTo>
                    <a:pt x="2835190" y="77607"/>
                  </a:lnTo>
                  <a:lnTo>
                    <a:pt x="2643808" y="22941"/>
                  </a:lnTo>
                  <a:lnTo>
                    <a:pt x="2643218" y="22780"/>
                  </a:lnTo>
                  <a:lnTo>
                    <a:pt x="2380050" y="47899"/>
                  </a:lnTo>
                  <a:lnTo>
                    <a:pt x="2379657" y="47935"/>
                  </a:lnTo>
                  <a:lnTo>
                    <a:pt x="2250153" y="93549"/>
                  </a:lnTo>
                  <a:lnTo>
                    <a:pt x="2090620" y="38580"/>
                  </a:lnTo>
                  <a:lnTo>
                    <a:pt x="2090031" y="38384"/>
                  </a:lnTo>
                  <a:lnTo>
                    <a:pt x="1905736" y="47899"/>
                  </a:lnTo>
                  <a:lnTo>
                    <a:pt x="1721138" y="61878"/>
                  </a:lnTo>
                  <a:lnTo>
                    <a:pt x="1720870" y="61896"/>
                  </a:lnTo>
                  <a:lnTo>
                    <a:pt x="1589687" y="93852"/>
                  </a:lnTo>
                  <a:lnTo>
                    <a:pt x="1589473" y="93888"/>
                  </a:lnTo>
                  <a:lnTo>
                    <a:pt x="1408410" y="164532"/>
                  </a:lnTo>
                  <a:lnTo>
                    <a:pt x="1293598" y="218947"/>
                  </a:lnTo>
                  <a:lnTo>
                    <a:pt x="1062797" y="289769"/>
                  </a:lnTo>
                  <a:lnTo>
                    <a:pt x="859453" y="266311"/>
                  </a:lnTo>
                  <a:lnTo>
                    <a:pt x="781829" y="183438"/>
                  </a:lnTo>
                  <a:lnTo>
                    <a:pt x="663554" y="205718"/>
                  </a:lnTo>
                  <a:lnTo>
                    <a:pt x="525784" y="194792"/>
                  </a:lnTo>
                  <a:lnTo>
                    <a:pt x="495595" y="175422"/>
                  </a:lnTo>
                  <a:lnTo>
                    <a:pt x="418917" y="124881"/>
                  </a:lnTo>
                  <a:lnTo>
                    <a:pt x="415328" y="10016"/>
                  </a:lnTo>
                  <a:lnTo>
                    <a:pt x="355218" y="1446"/>
                  </a:lnTo>
                  <a:lnTo>
                    <a:pt x="301391" y="27922"/>
                  </a:lnTo>
                  <a:lnTo>
                    <a:pt x="260848" y="80659"/>
                  </a:lnTo>
                  <a:lnTo>
                    <a:pt x="225481" y="131647"/>
                  </a:lnTo>
                  <a:lnTo>
                    <a:pt x="173565" y="200202"/>
                  </a:lnTo>
                  <a:lnTo>
                    <a:pt x="0" y="419863"/>
                  </a:lnTo>
                  <a:lnTo>
                    <a:pt x="8248" y="419863"/>
                  </a:lnTo>
                  <a:lnTo>
                    <a:pt x="178689" y="204147"/>
                  </a:lnTo>
                  <a:lnTo>
                    <a:pt x="230730" y="135450"/>
                  </a:lnTo>
                  <a:lnTo>
                    <a:pt x="266025" y="84533"/>
                  </a:lnTo>
                  <a:lnTo>
                    <a:pt x="305605" y="33081"/>
                  </a:lnTo>
                  <a:lnTo>
                    <a:pt x="356289" y="8159"/>
                  </a:lnTo>
                  <a:lnTo>
                    <a:pt x="409026" y="15657"/>
                  </a:lnTo>
                  <a:lnTo>
                    <a:pt x="412543" y="128434"/>
                  </a:lnTo>
                  <a:lnTo>
                    <a:pt x="492078" y="180867"/>
                  </a:lnTo>
                  <a:lnTo>
                    <a:pt x="523641" y="201130"/>
                  </a:lnTo>
                  <a:lnTo>
                    <a:pt x="663911" y="212252"/>
                  </a:lnTo>
                  <a:lnTo>
                    <a:pt x="779526" y="190454"/>
                  </a:lnTo>
                  <a:lnTo>
                    <a:pt x="855543" y="271613"/>
                  </a:lnTo>
                  <a:lnTo>
                    <a:pt x="856365" y="272488"/>
                  </a:lnTo>
                  <a:lnTo>
                    <a:pt x="1062743" y="296286"/>
                  </a:lnTo>
                  <a:lnTo>
                    <a:pt x="1063404" y="296375"/>
                  </a:lnTo>
                  <a:lnTo>
                    <a:pt x="1295741" y="225071"/>
                  </a:lnTo>
                  <a:lnTo>
                    <a:pt x="1295955" y="225017"/>
                  </a:lnTo>
                  <a:lnTo>
                    <a:pt x="1410856" y="170512"/>
                  </a:lnTo>
                  <a:lnTo>
                    <a:pt x="1591437" y="100065"/>
                  </a:lnTo>
                  <a:lnTo>
                    <a:pt x="1721888" y="68323"/>
                  </a:lnTo>
                  <a:lnTo>
                    <a:pt x="1906147" y="54362"/>
                  </a:lnTo>
                  <a:lnTo>
                    <a:pt x="2089102" y="44936"/>
                  </a:lnTo>
                  <a:lnTo>
                    <a:pt x="2250171" y="100404"/>
                  </a:lnTo>
                  <a:lnTo>
                    <a:pt x="2381050" y="54309"/>
                  </a:lnTo>
                  <a:lnTo>
                    <a:pt x="2642629" y="29350"/>
                  </a:lnTo>
                  <a:lnTo>
                    <a:pt x="2834583" y="84176"/>
                  </a:lnTo>
                  <a:lnTo>
                    <a:pt x="2993991" y="68912"/>
                  </a:lnTo>
                  <a:lnTo>
                    <a:pt x="2994544" y="68841"/>
                  </a:lnTo>
                  <a:lnTo>
                    <a:pt x="3128655" y="6570"/>
                  </a:lnTo>
                  <a:lnTo>
                    <a:pt x="3255071" y="13765"/>
                  </a:lnTo>
                  <a:lnTo>
                    <a:pt x="3339068" y="82355"/>
                  </a:lnTo>
                  <a:lnTo>
                    <a:pt x="3332534" y="255849"/>
                  </a:lnTo>
                  <a:lnTo>
                    <a:pt x="3332498" y="256492"/>
                  </a:lnTo>
                  <a:lnTo>
                    <a:pt x="3371900" y="361538"/>
                  </a:lnTo>
                  <a:lnTo>
                    <a:pt x="3367222" y="419863"/>
                  </a:lnTo>
                  <a:lnTo>
                    <a:pt x="3373738" y="419863"/>
                  </a:lnTo>
                  <a:lnTo>
                    <a:pt x="3378416" y="361324"/>
                  </a:lnTo>
                  <a:lnTo>
                    <a:pt x="3378470" y="360609"/>
                  </a:lnTo>
                  <a:close/>
                </a:path>
              </a:pathLst>
            </a:custGeom>
            <a:solidFill>
              <a:srgbClr val="231F20"/>
            </a:solidFill>
            <a:ln w="1785" cap="flat">
              <a:noFill/>
              <a:prstDash val="solid"/>
              <a:miter/>
            </a:ln>
          </p:spPr>
          <p:txBody>
            <a:bodyPr rtlCol="0" anchor="ctr"/>
            <a:lstStyle/>
            <a:p>
              <a:endParaRPr lang="de-AT"/>
            </a:p>
          </p:txBody>
        </p:sp>
        <p:sp>
          <p:nvSpPr>
            <p:cNvPr id="192" name="Freihandform: Form 191">
              <a:extLst>
                <a:ext uri="{FF2B5EF4-FFF2-40B4-BE49-F238E27FC236}">
                  <a16:creationId xmlns:a16="http://schemas.microsoft.com/office/drawing/2014/main" id="{66B85B08-243F-495D-90B1-0A36C4487ED9}"/>
                </a:ext>
              </a:extLst>
            </p:cNvPr>
            <p:cNvSpPr/>
            <p:nvPr/>
          </p:nvSpPr>
          <p:spPr>
            <a:xfrm>
              <a:off x="3166333" y="-16722"/>
              <a:ext cx="8861126" cy="6886994"/>
            </a:xfrm>
            <a:custGeom>
              <a:avLst/>
              <a:gdLst>
                <a:gd name="connsiteX0" fmla="*/ 4880428 w 8861126"/>
                <a:gd name="connsiteY0" fmla="*/ 203522 h 6886994"/>
                <a:gd name="connsiteX1" fmla="*/ 4912045 w 8861126"/>
                <a:gd name="connsiteY1" fmla="*/ 228302 h 6886994"/>
                <a:gd name="connsiteX2" fmla="*/ 4826959 w 8861126"/>
                <a:gd name="connsiteY2" fmla="*/ 258473 h 6886994"/>
                <a:gd name="connsiteX3" fmla="*/ 4808481 w 8861126"/>
                <a:gd name="connsiteY3" fmla="*/ 366554 h 6886994"/>
                <a:gd name="connsiteX4" fmla="*/ 4823835 w 8861126"/>
                <a:gd name="connsiteY4" fmla="*/ 406384 h 6886994"/>
                <a:gd name="connsiteX5" fmla="*/ 4833761 w 8861126"/>
                <a:gd name="connsiteY5" fmla="*/ 487257 h 6886994"/>
                <a:gd name="connsiteX6" fmla="*/ 4833761 w 8861126"/>
                <a:gd name="connsiteY6" fmla="*/ 487703 h 6886994"/>
                <a:gd name="connsiteX7" fmla="*/ 4891854 w 8861126"/>
                <a:gd name="connsiteY7" fmla="*/ 624974 h 6886994"/>
                <a:gd name="connsiteX8" fmla="*/ 4901369 w 8861126"/>
                <a:gd name="connsiteY8" fmla="*/ 702527 h 6886994"/>
                <a:gd name="connsiteX9" fmla="*/ 4870163 w 8861126"/>
                <a:gd name="connsiteY9" fmla="*/ 706365 h 6886994"/>
                <a:gd name="connsiteX10" fmla="*/ 4919401 w 8861126"/>
                <a:gd name="connsiteY10" fmla="*/ 848670 h 6886994"/>
                <a:gd name="connsiteX11" fmla="*/ 4919829 w 8861126"/>
                <a:gd name="connsiteY11" fmla="*/ 849902 h 6886994"/>
                <a:gd name="connsiteX12" fmla="*/ 4986920 w 8861126"/>
                <a:gd name="connsiteY12" fmla="*/ 883715 h 6886994"/>
                <a:gd name="connsiteX13" fmla="*/ 5080754 w 8861126"/>
                <a:gd name="connsiteY13" fmla="*/ 921813 h 6886994"/>
                <a:gd name="connsiteX14" fmla="*/ 5037712 w 8861126"/>
                <a:gd name="connsiteY14" fmla="*/ 976996 h 6886994"/>
                <a:gd name="connsiteX15" fmla="*/ 5053654 w 8861126"/>
                <a:gd name="connsiteY15" fmla="*/ 1010559 h 6886994"/>
                <a:gd name="connsiteX16" fmla="*/ 5117067 w 8861126"/>
                <a:gd name="connsiteY16" fmla="*/ 991742 h 6886994"/>
                <a:gd name="connsiteX17" fmla="*/ 5156969 w 8861126"/>
                <a:gd name="connsiteY17" fmla="*/ 929704 h 6886994"/>
                <a:gd name="connsiteX18" fmla="*/ 5173911 w 8861126"/>
                <a:gd name="connsiteY18" fmla="*/ 992332 h 6886994"/>
                <a:gd name="connsiteX19" fmla="*/ 5179516 w 8861126"/>
                <a:gd name="connsiteY19" fmla="*/ 1037981 h 6886994"/>
                <a:gd name="connsiteX20" fmla="*/ 5626373 w 8861126"/>
                <a:gd name="connsiteY20" fmla="*/ 735679 h 6886994"/>
                <a:gd name="connsiteX21" fmla="*/ 5658972 w 8861126"/>
                <a:gd name="connsiteY21" fmla="*/ 1001026 h 6886994"/>
                <a:gd name="connsiteX22" fmla="*/ 5508008 w 8861126"/>
                <a:gd name="connsiteY22" fmla="*/ 999419 h 6886994"/>
                <a:gd name="connsiteX23" fmla="*/ 5507330 w 8861126"/>
                <a:gd name="connsiteY23" fmla="*/ 999419 h 6886994"/>
                <a:gd name="connsiteX24" fmla="*/ 5271958 w 8861126"/>
                <a:gd name="connsiteY24" fmla="*/ 1100680 h 6886994"/>
                <a:gd name="connsiteX25" fmla="*/ 5271191 w 8861126"/>
                <a:gd name="connsiteY25" fmla="*/ 1101002 h 6886994"/>
                <a:gd name="connsiteX26" fmla="*/ 5234218 w 8861126"/>
                <a:gd name="connsiteY26" fmla="*/ 1148383 h 6886994"/>
                <a:gd name="connsiteX27" fmla="*/ 5269584 w 8861126"/>
                <a:gd name="connsiteY27" fmla="*/ 1351727 h 6886994"/>
                <a:gd name="connsiteX28" fmla="*/ 5270120 w 8861126"/>
                <a:gd name="connsiteY28" fmla="*/ 1354762 h 6886994"/>
                <a:gd name="connsiteX29" fmla="*/ 5313805 w 8861126"/>
                <a:gd name="connsiteY29" fmla="*/ 1349406 h 6886994"/>
                <a:gd name="connsiteX30" fmla="*/ 5400320 w 8861126"/>
                <a:gd name="connsiteY30" fmla="*/ 1328893 h 6886994"/>
                <a:gd name="connsiteX31" fmla="*/ 5403891 w 8861126"/>
                <a:gd name="connsiteY31" fmla="*/ 1438349 h 6886994"/>
                <a:gd name="connsiteX32" fmla="*/ 5421440 w 8861126"/>
                <a:gd name="connsiteY32" fmla="*/ 1497781 h 6886994"/>
                <a:gd name="connsiteX33" fmla="*/ 5405176 w 8861126"/>
                <a:gd name="connsiteY33" fmla="*/ 1610254 h 6886994"/>
                <a:gd name="connsiteX34" fmla="*/ 5309235 w 8861126"/>
                <a:gd name="connsiteY34" fmla="*/ 1631891 h 6886994"/>
                <a:gd name="connsiteX35" fmla="*/ 5235485 w 8861126"/>
                <a:gd name="connsiteY35" fmla="*/ 1528862 h 6886994"/>
                <a:gd name="connsiteX36" fmla="*/ 5166198 w 8861126"/>
                <a:gd name="connsiteY36" fmla="*/ 1484105 h 6886994"/>
                <a:gd name="connsiteX37" fmla="*/ 5077148 w 8861126"/>
                <a:gd name="connsiteY37" fmla="*/ 1537664 h 6886994"/>
                <a:gd name="connsiteX38" fmla="*/ 5008933 w 8861126"/>
                <a:gd name="connsiteY38" fmla="*/ 1743721 h 6886994"/>
                <a:gd name="connsiteX39" fmla="*/ 5019002 w 8861126"/>
                <a:gd name="connsiteY39" fmla="*/ 1825701 h 6886994"/>
                <a:gd name="connsiteX40" fmla="*/ 5019002 w 8861126"/>
                <a:gd name="connsiteY40" fmla="*/ 1826023 h 6886994"/>
                <a:gd name="connsiteX41" fmla="*/ 5067847 w 8861126"/>
                <a:gd name="connsiteY41" fmla="*/ 1973684 h 6886994"/>
                <a:gd name="connsiteX42" fmla="*/ 4960373 w 8861126"/>
                <a:gd name="connsiteY42" fmla="*/ 2181615 h 6886994"/>
                <a:gd name="connsiteX43" fmla="*/ 4934790 w 8861126"/>
                <a:gd name="connsiteY43" fmla="*/ 2226247 h 6886994"/>
                <a:gd name="connsiteX44" fmla="*/ 4904083 w 8861126"/>
                <a:gd name="connsiteY44" fmla="*/ 2312762 h 6886994"/>
                <a:gd name="connsiteX45" fmla="*/ 4903833 w 8861126"/>
                <a:gd name="connsiteY45" fmla="*/ 2313494 h 6886994"/>
                <a:gd name="connsiteX46" fmla="*/ 4906011 w 8861126"/>
                <a:gd name="connsiteY46" fmla="*/ 2331347 h 6886994"/>
                <a:gd name="connsiteX47" fmla="*/ 4789289 w 8861126"/>
                <a:gd name="connsiteY47" fmla="*/ 2345629 h 6886994"/>
                <a:gd name="connsiteX48" fmla="*/ 4729661 w 8861126"/>
                <a:gd name="connsiteY48" fmla="*/ 2271915 h 6886994"/>
                <a:gd name="connsiteX49" fmla="*/ 4728536 w 8861126"/>
                <a:gd name="connsiteY49" fmla="*/ 2270523 h 6886994"/>
                <a:gd name="connsiteX50" fmla="*/ 4574591 w 8861126"/>
                <a:gd name="connsiteY50" fmla="*/ 2289393 h 6886994"/>
                <a:gd name="connsiteX51" fmla="*/ 4573467 w 8861126"/>
                <a:gd name="connsiteY51" fmla="*/ 2289536 h 6886994"/>
                <a:gd name="connsiteX52" fmla="*/ 4527335 w 8861126"/>
                <a:gd name="connsiteY52" fmla="*/ 2336935 h 6886994"/>
                <a:gd name="connsiteX53" fmla="*/ 4479525 w 8861126"/>
                <a:gd name="connsiteY53" fmla="*/ 2363232 h 6886994"/>
                <a:gd name="connsiteX54" fmla="*/ 4478936 w 8861126"/>
                <a:gd name="connsiteY54" fmla="*/ 2363554 h 6886994"/>
                <a:gd name="connsiteX55" fmla="*/ 4434643 w 8861126"/>
                <a:gd name="connsiteY55" fmla="*/ 2420361 h 6886994"/>
                <a:gd name="connsiteX56" fmla="*/ 4190791 w 8861126"/>
                <a:gd name="connsiteY56" fmla="*/ 2511554 h 6886994"/>
                <a:gd name="connsiteX57" fmla="*/ 4106704 w 8861126"/>
                <a:gd name="connsiteY57" fmla="*/ 2463172 h 6886994"/>
                <a:gd name="connsiteX58" fmla="*/ 4132519 w 8861126"/>
                <a:gd name="connsiteY58" fmla="*/ 2430055 h 6886994"/>
                <a:gd name="connsiteX59" fmla="*/ 4105936 w 8861126"/>
                <a:gd name="connsiteY59" fmla="*/ 2390011 h 6886994"/>
                <a:gd name="connsiteX60" fmla="*/ 4105419 w 8861126"/>
                <a:gd name="connsiteY60" fmla="*/ 2389208 h 6886994"/>
                <a:gd name="connsiteX61" fmla="*/ 4044862 w 8861126"/>
                <a:gd name="connsiteY61" fmla="*/ 2362268 h 6886994"/>
                <a:gd name="connsiteX62" fmla="*/ 4051753 w 8861126"/>
                <a:gd name="connsiteY62" fmla="*/ 2418326 h 6886994"/>
                <a:gd name="connsiteX63" fmla="*/ 4047361 w 8861126"/>
                <a:gd name="connsiteY63" fmla="*/ 2454032 h 6886994"/>
                <a:gd name="connsiteX64" fmla="*/ 4004729 w 8861126"/>
                <a:gd name="connsiteY64" fmla="*/ 2420843 h 6886994"/>
                <a:gd name="connsiteX65" fmla="*/ 3788978 w 8861126"/>
                <a:gd name="connsiteY65" fmla="*/ 2519962 h 6886994"/>
                <a:gd name="connsiteX66" fmla="*/ 3739793 w 8861126"/>
                <a:gd name="connsiteY66" fmla="*/ 2525996 h 6886994"/>
                <a:gd name="connsiteX67" fmla="*/ 3702052 w 8861126"/>
                <a:gd name="connsiteY67" fmla="*/ 2504269 h 6886994"/>
                <a:gd name="connsiteX68" fmla="*/ 3766786 w 8861126"/>
                <a:gd name="connsiteY68" fmla="*/ 2476794 h 6886994"/>
                <a:gd name="connsiteX69" fmla="*/ 3759806 w 8861126"/>
                <a:gd name="connsiteY69" fmla="*/ 2419915 h 6886994"/>
                <a:gd name="connsiteX70" fmla="*/ 3687359 w 8861126"/>
                <a:gd name="connsiteY70" fmla="*/ 2439553 h 6886994"/>
                <a:gd name="connsiteX71" fmla="*/ 3613484 w 8861126"/>
                <a:gd name="connsiteY71" fmla="*/ 2418130 h 6886994"/>
                <a:gd name="connsiteX72" fmla="*/ 3585187 w 8861126"/>
                <a:gd name="connsiteY72" fmla="*/ 2412327 h 6886994"/>
                <a:gd name="connsiteX73" fmla="*/ 3607664 w 8861126"/>
                <a:gd name="connsiteY73" fmla="*/ 2348986 h 6886994"/>
                <a:gd name="connsiteX74" fmla="*/ 3595470 w 8861126"/>
                <a:gd name="connsiteY74" fmla="*/ 2339417 h 6886994"/>
                <a:gd name="connsiteX75" fmla="*/ 3594328 w 8861126"/>
                <a:gd name="connsiteY75" fmla="*/ 2330115 h 6886994"/>
                <a:gd name="connsiteX76" fmla="*/ 3579207 w 8861126"/>
                <a:gd name="connsiteY76" fmla="*/ 2298284 h 6886994"/>
                <a:gd name="connsiteX77" fmla="*/ 3569995 w 8861126"/>
                <a:gd name="connsiteY77" fmla="*/ 2299408 h 6886994"/>
                <a:gd name="connsiteX78" fmla="*/ 3567709 w 8861126"/>
                <a:gd name="connsiteY78" fmla="*/ 2280966 h 6886994"/>
                <a:gd name="connsiteX79" fmla="*/ 3556319 w 8861126"/>
                <a:gd name="connsiteY79" fmla="*/ 2272040 h 6886994"/>
                <a:gd name="connsiteX80" fmla="*/ 3553891 w 8861126"/>
                <a:gd name="connsiteY80" fmla="*/ 2252259 h 6886994"/>
                <a:gd name="connsiteX81" fmla="*/ 3541609 w 8861126"/>
                <a:gd name="connsiteY81" fmla="*/ 2233746 h 6886994"/>
                <a:gd name="connsiteX82" fmla="*/ 3575529 w 8861126"/>
                <a:gd name="connsiteY82" fmla="*/ 2097529 h 6886994"/>
                <a:gd name="connsiteX83" fmla="*/ 3610681 w 8861126"/>
                <a:gd name="connsiteY83" fmla="*/ 2052468 h 6886994"/>
                <a:gd name="connsiteX84" fmla="*/ 3611074 w 8861126"/>
                <a:gd name="connsiteY84" fmla="*/ 2051986 h 6886994"/>
                <a:gd name="connsiteX85" fmla="*/ 3630712 w 8861126"/>
                <a:gd name="connsiteY85" fmla="*/ 1984145 h 6886994"/>
                <a:gd name="connsiteX86" fmla="*/ 3655456 w 8861126"/>
                <a:gd name="connsiteY86" fmla="*/ 2029224 h 6886994"/>
                <a:gd name="connsiteX87" fmla="*/ 3724832 w 8861126"/>
                <a:gd name="connsiteY87" fmla="*/ 1965489 h 6886994"/>
                <a:gd name="connsiteX88" fmla="*/ 3707194 w 8861126"/>
                <a:gd name="connsiteY88" fmla="*/ 1912198 h 6886994"/>
                <a:gd name="connsiteX89" fmla="*/ 3643548 w 8861126"/>
                <a:gd name="connsiteY89" fmla="*/ 1899309 h 6886994"/>
                <a:gd name="connsiteX90" fmla="*/ 3630766 w 8861126"/>
                <a:gd name="connsiteY90" fmla="*/ 1872422 h 6886994"/>
                <a:gd name="connsiteX91" fmla="*/ 3672881 w 8861126"/>
                <a:gd name="connsiteY91" fmla="*/ 1613556 h 6886994"/>
                <a:gd name="connsiteX92" fmla="*/ 3590650 w 8861126"/>
                <a:gd name="connsiteY92" fmla="*/ 1668043 h 6886994"/>
                <a:gd name="connsiteX93" fmla="*/ 3590008 w 8861126"/>
                <a:gd name="connsiteY93" fmla="*/ 1668472 h 6886994"/>
                <a:gd name="connsiteX94" fmla="*/ 3539091 w 8861126"/>
                <a:gd name="connsiteY94" fmla="*/ 1757343 h 6886994"/>
                <a:gd name="connsiteX95" fmla="*/ 3493335 w 8861126"/>
                <a:gd name="connsiteY95" fmla="*/ 1793049 h 6886994"/>
                <a:gd name="connsiteX96" fmla="*/ 3412997 w 8861126"/>
                <a:gd name="connsiteY96" fmla="*/ 1802903 h 6886994"/>
                <a:gd name="connsiteX97" fmla="*/ 3411854 w 8861126"/>
                <a:gd name="connsiteY97" fmla="*/ 1803046 h 6886994"/>
                <a:gd name="connsiteX98" fmla="*/ 3363241 w 8861126"/>
                <a:gd name="connsiteY98" fmla="*/ 1852855 h 6886994"/>
                <a:gd name="connsiteX99" fmla="*/ 3389217 w 8861126"/>
                <a:gd name="connsiteY99" fmla="*/ 1883098 h 6886994"/>
                <a:gd name="connsiteX100" fmla="*/ 3389788 w 8861126"/>
                <a:gd name="connsiteY100" fmla="*/ 1883759 h 6886994"/>
                <a:gd name="connsiteX101" fmla="*/ 3431224 w 8861126"/>
                <a:gd name="connsiteY101" fmla="*/ 1898505 h 6886994"/>
                <a:gd name="connsiteX102" fmla="*/ 3427118 w 8861126"/>
                <a:gd name="connsiteY102" fmla="*/ 1932122 h 6886994"/>
                <a:gd name="connsiteX103" fmla="*/ 3359528 w 8861126"/>
                <a:gd name="connsiteY103" fmla="*/ 1879260 h 6886994"/>
                <a:gd name="connsiteX104" fmla="*/ 3328821 w 8861126"/>
                <a:gd name="connsiteY104" fmla="*/ 1980146 h 6886994"/>
                <a:gd name="connsiteX105" fmla="*/ 3328714 w 8861126"/>
                <a:gd name="connsiteY105" fmla="*/ 1980503 h 6886994"/>
                <a:gd name="connsiteX106" fmla="*/ 3316984 w 8861126"/>
                <a:gd name="connsiteY106" fmla="*/ 2136965 h 6886994"/>
                <a:gd name="connsiteX107" fmla="*/ 3316824 w 8861126"/>
                <a:gd name="connsiteY107" fmla="*/ 2139197 h 6886994"/>
                <a:gd name="connsiteX108" fmla="*/ 3404588 w 8861126"/>
                <a:gd name="connsiteY108" fmla="*/ 2180259 h 6886994"/>
                <a:gd name="connsiteX109" fmla="*/ 3410640 w 8861126"/>
                <a:gd name="connsiteY109" fmla="*/ 2229550 h 6886994"/>
                <a:gd name="connsiteX110" fmla="*/ 3428279 w 8861126"/>
                <a:gd name="connsiteY110" fmla="*/ 2289250 h 6886994"/>
                <a:gd name="connsiteX111" fmla="*/ 3435759 w 8861126"/>
                <a:gd name="connsiteY111" fmla="*/ 2349950 h 6886994"/>
                <a:gd name="connsiteX112" fmla="*/ 3435759 w 8861126"/>
                <a:gd name="connsiteY112" fmla="*/ 2350200 h 6886994"/>
                <a:gd name="connsiteX113" fmla="*/ 3453005 w 8861126"/>
                <a:gd name="connsiteY113" fmla="*/ 2408560 h 6886994"/>
                <a:gd name="connsiteX114" fmla="*/ 3435581 w 8861126"/>
                <a:gd name="connsiteY114" fmla="*/ 2430859 h 6886994"/>
                <a:gd name="connsiteX115" fmla="*/ 3432938 w 8861126"/>
                <a:gd name="connsiteY115" fmla="*/ 2493522 h 6886994"/>
                <a:gd name="connsiteX116" fmla="*/ 3377880 w 8861126"/>
                <a:gd name="connsiteY116" fmla="*/ 2621884 h 6886994"/>
                <a:gd name="connsiteX117" fmla="*/ 3331659 w 8861126"/>
                <a:gd name="connsiteY117" fmla="*/ 2627561 h 6886994"/>
                <a:gd name="connsiteX118" fmla="*/ 3315253 w 8861126"/>
                <a:gd name="connsiteY118" fmla="*/ 2578020 h 6886994"/>
                <a:gd name="connsiteX119" fmla="*/ 3198923 w 8861126"/>
                <a:gd name="connsiteY119" fmla="*/ 2592302 h 6886994"/>
                <a:gd name="connsiteX120" fmla="*/ 3177286 w 8861126"/>
                <a:gd name="connsiteY120" fmla="*/ 2667212 h 6886994"/>
                <a:gd name="connsiteX121" fmla="*/ 3050049 w 8861126"/>
                <a:gd name="connsiteY121" fmla="*/ 2682816 h 6886994"/>
                <a:gd name="connsiteX122" fmla="*/ 3034677 w 8861126"/>
                <a:gd name="connsiteY122" fmla="*/ 2642861 h 6886994"/>
                <a:gd name="connsiteX123" fmla="*/ 2940432 w 8861126"/>
                <a:gd name="connsiteY123" fmla="*/ 2676139 h 6886994"/>
                <a:gd name="connsiteX124" fmla="*/ 2948252 w 8861126"/>
                <a:gd name="connsiteY124" fmla="*/ 2739659 h 6886994"/>
                <a:gd name="connsiteX125" fmla="*/ 2948252 w 8861126"/>
                <a:gd name="connsiteY125" fmla="*/ 2740177 h 6886994"/>
                <a:gd name="connsiteX126" fmla="*/ 2975710 w 8861126"/>
                <a:gd name="connsiteY126" fmla="*/ 2797895 h 6886994"/>
                <a:gd name="connsiteX127" fmla="*/ 2954286 w 8861126"/>
                <a:gd name="connsiteY127" fmla="*/ 2858291 h 6886994"/>
                <a:gd name="connsiteX128" fmla="*/ 2917081 w 8861126"/>
                <a:gd name="connsiteY128" fmla="*/ 2845026 h 6886994"/>
                <a:gd name="connsiteX129" fmla="*/ 2930899 w 8861126"/>
                <a:gd name="connsiteY129" fmla="*/ 2792557 h 6886994"/>
                <a:gd name="connsiteX130" fmla="*/ 2895622 w 8861126"/>
                <a:gd name="connsiteY130" fmla="*/ 2764921 h 6886994"/>
                <a:gd name="connsiteX131" fmla="*/ 2868182 w 8861126"/>
                <a:gd name="connsiteY131" fmla="*/ 2707185 h 6886994"/>
                <a:gd name="connsiteX132" fmla="*/ 2867718 w 8861126"/>
                <a:gd name="connsiteY132" fmla="*/ 2706167 h 6886994"/>
                <a:gd name="connsiteX133" fmla="*/ 2830120 w 8861126"/>
                <a:gd name="connsiteY133" fmla="*/ 2687297 h 6886994"/>
                <a:gd name="connsiteX134" fmla="*/ 2789862 w 8861126"/>
                <a:gd name="connsiteY134" fmla="*/ 2870360 h 6886994"/>
                <a:gd name="connsiteX135" fmla="*/ 2743301 w 8861126"/>
                <a:gd name="connsiteY135" fmla="*/ 2906744 h 6886994"/>
                <a:gd name="connsiteX136" fmla="*/ 2692653 w 8861126"/>
                <a:gd name="connsiteY136" fmla="*/ 2995062 h 6886994"/>
                <a:gd name="connsiteX137" fmla="*/ 2612690 w 8861126"/>
                <a:gd name="connsiteY137" fmla="*/ 3025786 h 6886994"/>
                <a:gd name="connsiteX138" fmla="*/ 2617028 w 8861126"/>
                <a:gd name="connsiteY138" fmla="*/ 3060956 h 6886994"/>
                <a:gd name="connsiteX139" fmla="*/ 2699473 w 8861126"/>
                <a:gd name="connsiteY139" fmla="*/ 3082808 h 6886994"/>
                <a:gd name="connsiteX140" fmla="*/ 2581912 w 8861126"/>
                <a:gd name="connsiteY140" fmla="*/ 3080452 h 6886994"/>
                <a:gd name="connsiteX141" fmla="*/ 2581376 w 8861126"/>
                <a:gd name="connsiteY141" fmla="*/ 3080452 h 6886994"/>
                <a:gd name="connsiteX142" fmla="*/ 2372820 w 8861126"/>
                <a:gd name="connsiteY142" fmla="*/ 3147364 h 6886994"/>
                <a:gd name="connsiteX143" fmla="*/ 2372266 w 8861126"/>
                <a:gd name="connsiteY143" fmla="*/ 3147560 h 6886994"/>
                <a:gd name="connsiteX144" fmla="*/ 2323938 w 8861126"/>
                <a:gd name="connsiteY144" fmla="*/ 3185337 h 6886994"/>
                <a:gd name="connsiteX145" fmla="*/ 2297159 w 8861126"/>
                <a:gd name="connsiteY145" fmla="*/ 3301666 h 6886994"/>
                <a:gd name="connsiteX146" fmla="*/ 2095422 w 8861126"/>
                <a:gd name="connsiteY146" fmla="*/ 3408444 h 6886994"/>
                <a:gd name="connsiteX147" fmla="*/ 2094583 w 8861126"/>
                <a:gd name="connsiteY147" fmla="*/ 3408890 h 6886994"/>
                <a:gd name="connsiteX148" fmla="*/ 2067036 w 8861126"/>
                <a:gd name="connsiteY148" fmla="*/ 3456878 h 6886994"/>
                <a:gd name="connsiteX149" fmla="*/ 2138448 w 8861126"/>
                <a:gd name="connsiteY149" fmla="*/ 3495726 h 6886994"/>
                <a:gd name="connsiteX150" fmla="*/ 2067893 w 8861126"/>
                <a:gd name="connsiteY150" fmla="*/ 3504385 h 6886994"/>
                <a:gd name="connsiteX151" fmla="*/ 1858230 w 8861126"/>
                <a:gd name="connsiteY151" fmla="*/ 3448845 h 6886994"/>
                <a:gd name="connsiteX152" fmla="*/ 1867424 w 8861126"/>
                <a:gd name="connsiteY152" fmla="*/ 3353635 h 6886994"/>
                <a:gd name="connsiteX153" fmla="*/ 1823077 w 8861126"/>
                <a:gd name="connsiteY153" fmla="*/ 3358991 h 6886994"/>
                <a:gd name="connsiteX154" fmla="*/ 1746881 w 8861126"/>
                <a:gd name="connsiteY154" fmla="*/ 3357527 h 6886994"/>
                <a:gd name="connsiteX155" fmla="*/ 1811009 w 8861126"/>
                <a:gd name="connsiteY155" fmla="*/ 3627944 h 6886994"/>
                <a:gd name="connsiteX156" fmla="*/ 1755879 w 8861126"/>
                <a:gd name="connsiteY156" fmla="*/ 3625570 h 6886994"/>
                <a:gd name="connsiteX157" fmla="*/ 1750684 w 8861126"/>
                <a:gd name="connsiteY157" fmla="*/ 3583169 h 6886994"/>
                <a:gd name="connsiteX158" fmla="*/ 1690966 w 8861126"/>
                <a:gd name="connsiteY158" fmla="*/ 3611627 h 6886994"/>
                <a:gd name="connsiteX159" fmla="*/ 1663973 w 8861126"/>
                <a:gd name="connsiteY159" fmla="*/ 3562478 h 6886994"/>
                <a:gd name="connsiteX160" fmla="*/ 1609665 w 8861126"/>
                <a:gd name="connsiteY160" fmla="*/ 3609234 h 6886994"/>
                <a:gd name="connsiteX161" fmla="*/ 1597578 w 8861126"/>
                <a:gd name="connsiteY161" fmla="*/ 3510937 h 6886994"/>
                <a:gd name="connsiteX162" fmla="*/ 1532701 w 8861126"/>
                <a:gd name="connsiteY162" fmla="*/ 3508134 h 6886994"/>
                <a:gd name="connsiteX163" fmla="*/ 1532433 w 8861126"/>
                <a:gd name="connsiteY163" fmla="*/ 3508134 h 6886994"/>
                <a:gd name="connsiteX164" fmla="*/ 1480553 w 8861126"/>
                <a:gd name="connsiteY164" fmla="*/ 3514472 h 6886994"/>
                <a:gd name="connsiteX165" fmla="*/ 1436314 w 8861126"/>
                <a:gd name="connsiteY165" fmla="*/ 3549142 h 6886994"/>
                <a:gd name="connsiteX166" fmla="*/ 1421424 w 8861126"/>
                <a:gd name="connsiteY166" fmla="*/ 3510419 h 6886994"/>
                <a:gd name="connsiteX167" fmla="*/ 1370812 w 8861126"/>
                <a:gd name="connsiteY167" fmla="*/ 3538234 h 6886994"/>
                <a:gd name="connsiteX168" fmla="*/ 1316718 w 8861126"/>
                <a:gd name="connsiteY168" fmla="*/ 3534145 h 6886994"/>
                <a:gd name="connsiteX169" fmla="*/ 1295401 w 8861126"/>
                <a:gd name="connsiteY169" fmla="*/ 3707532 h 6886994"/>
                <a:gd name="connsiteX170" fmla="*/ 1350888 w 8861126"/>
                <a:gd name="connsiteY170" fmla="*/ 3722278 h 6886994"/>
                <a:gd name="connsiteX171" fmla="*/ 1572263 w 8861126"/>
                <a:gd name="connsiteY171" fmla="*/ 3858924 h 6886994"/>
                <a:gd name="connsiteX172" fmla="*/ 1595240 w 8861126"/>
                <a:gd name="connsiteY172" fmla="*/ 3960828 h 6886994"/>
                <a:gd name="connsiteX173" fmla="*/ 1672881 w 8861126"/>
                <a:gd name="connsiteY173" fmla="*/ 3951312 h 6886994"/>
                <a:gd name="connsiteX174" fmla="*/ 1649923 w 8861126"/>
                <a:gd name="connsiteY174" fmla="*/ 3991320 h 6886994"/>
                <a:gd name="connsiteX175" fmla="*/ 1776196 w 8861126"/>
                <a:gd name="connsiteY175" fmla="*/ 4347520 h 6886994"/>
                <a:gd name="connsiteX176" fmla="*/ 1660313 w 8861126"/>
                <a:gd name="connsiteY176" fmla="*/ 4742264 h 6886994"/>
                <a:gd name="connsiteX177" fmla="*/ 1639336 w 8861126"/>
                <a:gd name="connsiteY177" fmla="*/ 4814479 h 6886994"/>
                <a:gd name="connsiteX178" fmla="*/ 1391682 w 8861126"/>
                <a:gd name="connsiteY178" fmla="*/ 4793734 h 6886994"/>
                <a:gd name="connsiteX179" fmla="*/ 1333339 w 8861126"/>
                <a:gd name="connsiteY179" fmla="*/ 4810998 h 6886994"/>
                <a:gd name="connsiteX180" fmla="*/ 1300025 w 8861126"/>
                <a:gd name="connsiteY180" fmla="*/ 4776292 h 6886994"/>
                <a:gd name="connsiteX181" fmla="*/ 1297383 w 8861126"/>
                <a:gd name="connsiteY181" fmla="*/ 4754672 h 6886994"/>
                <a:gd name="connsiteX182" fmla="*/ 789006 w 8861126"/>
                <a:gd name="connsiteY182" fmla="*/ 4651590 h 6886994"/>
                <a:gd name="connsiteX183" fmla="*/ 696457 w 8861126"/>
                <a:gd name="connsiteY183" fmla="*/ 4569931 h 6886994"/>
                <a:gd name="connsiteX184" fmla="*/ 529265 w 8861126"/>
                <a:gd name="connsiteY184" fmla="*/ 4559326 h 6886994"/>
                <a:gd name="connsiteX185" fmla="*/ 528319 w 8861126"/>
                <a:gd name="connsiteY185" fmla="*/ 4559326 h 6886994"/>
                <a:gd name="connsiteX186" fmla="*/ 477367 w 8861126"/>
                <a:gd name="connsiteY186" fmla="*/ 4587373 h 6886994"/>
                <a:gd name="connsiteX187" fmla="*/ 485561 w 8861126"/>
                <a:gd name="connsiteY187" fmla="*/ 4653964 h 6886994"/>
                <a:gd name="connsiteX188" fmla="*/ 434716 w 8861126"/>
                <a:gd name="connsiteY188" fmla="*/ 4622561 h 6886994"/>
                <a:gd name="connsiteX189" fmla="*/ 288430 w 8861126"/>
                <a:gd name="connsiteY189" fmla="*/ 4629970 h 6886994"/>
                <a:gd name="connsiteX190" fmla="*/ 262562 w 8861126"/>
                <a:gd name="connsiteY190" fmla="*/ 4688331 h 6886994"/>
                <a:gd name="connsiteX191" fmla="*/ 298589 w 8861126"/>
                <a:gd name="connsiteY191" fmla="*/ 4725822 h 6886994"/>
                <a:gd name="connsiteX192" fmla="*/ 297160 w 8861126"/>
                <a:gd name="connsiteY192" fmla="*/ 4799393 h 6886994"/>
                <a:gd name="connsiteX193" fmla="*/ 349576 w 8861126"/>
                <a:gd name="connsiteY193" fmla="*/ 4813247 h 6886994"/>
                <a:gd name="connsiteX194" fmla="*/ 225588 w 8861126"/>
                <a:gd name="connsiteY194" fmla="*/ 5217114 h 6886994"/>
                <a:gd name="connsiteX195" fmla="*/ 178582 w 8861126"/>
                <a:gd name="connsiteY195" fmla="*/ 5335942 h 6886994"/>
                <a:gd name="connsiteX196" fmla="*/ 128005 w 8861126"/>
                <a:gd name="connsiteY196" fmla="*/ 5424189 h 6886994"/>
                <a:gd name="connsiteX197" fmla="*/ 73643 w 8861126"/>
                <a:gd name="connsiteY197" fmla="*/ 5482121 h 6886994"/>
                <a:gd name="connsiteX198" fmla="*/ 37223 w 8861126"/>
                <a:gd name="connsiteY198" fmla="*/ 5528663 h 6886994"/>
                <a:gd name="connsiteX199" fmla="*/ 27708 w 8861126"/>
                <a:gd name="connsiteY199" fmla="*/ 5627550 h 6886994"/>
                <a:gd name="connsiteX200" fmla="*/ 74678 w 8861126"/>
                <a:gd name="connsiteY200" fmla="*/ 5621855 h 6886994"/>
                <a:gd name="connsiteX201" fmla="*/ 42329 w 8861126"/>
                <a:gd name="connsiteY201" fmla="*/ 5663309 h 6886994"/>
                <a:gd name="connsiteX202" fmla="*/ 82444 w 8861126"/>
                <a:gd name="connsiteY202" fmla="*/ 5714690 h 6886994"/>
                <a:gd name="connsiteX203" fmla="*/ 115097 w 8861126"/>
                <a:gd name="connsiteY203" fmla="*/ 5692963 h 6886994"/>
                <a:gd name="connsiteX204" fmla="*/ 12336 w 8861126"/>
                <a:gd name="connsiteY204" fmla="*/ 5995961 h 6886994"/>
                <a:gd name="connsiteX205" fmla="*/ 0 w 8861126"/>
                <a:gd name="connsiteY205" fmla="*/ 6074353 h 6886994"/>
                <a:gd name="connsiteX206" fmla="*/ 35313 w 8861126"/>
                <a:gd name="connsiteY206" fmla="*/ 6069961 h 6886994"/>
                <a:gd name="connsiteX207" fmla="*/ 82659 w 8861126"/>
                <a:gd name="connsiteY207" fmla="*/ 6043913 h 6886994"/>
                <a:gd name="connsiteX208" fmla="*/ 223053 w 8861126"/>
                <a:gd name="connsiteY208" fmla="*/ 6108327 h 6886994"/>
                <a:gd name="connsiteX209" fmla="*/ 224696 w 8861126"/>
                <a:gd name="connsiteY209" fmla="*/ 6109076 h 6886994"/>
                <a:gd name="connsiteX210" fmla="*/ 282682 w 8861126"/>
                <a:gd name="connsiteY210" fmla="*/ 6070568 h 6886994"/>
                <a:gd name="connsiteX211" fmla="*/ 341596 w 8861126"/>
                <a:gd name="connsiteY211" fmla="*/ 6063427 h 6886994"/>
                <a:gd name="connsiteX212" fmla="*/ 496505 w 8861126"/>
                <a:gd name="connsiteY212" fmla="*/ 6166509 h 6886994"/>
                <a:gd name="connsiteX213" fmla="*/ 543279 w 8861126"/>
                <a:gd name="connsiteY213" fmla="*/ 6378440 h 6886994"/>
                <a:gd name="connsiteX214" fmla="*/ 596392 w 8861126"/>
                <a:gd name="connsiteY214" fmla="*/ 6382439 h 6886994"/>
                <a:gd name="connsiteX215" fmla="*/ 632097 w 8861126"/>
                <a:gd name="connsiteY215" fmla="*/ 6419644 h 6886994"/>
                <a:gd name="connsiteX216" fmla="*/ 726110 w 8861126"/>
                <a:gd name="connsiteY216" fmla="*/ 6408111 h 6886994"/>
                <a:gd name="connsiteX217" fmla="*/ 799432 w 8861126"/>
                <a:gd name="connsiteY217" fmla="*/ 6337503 h 6886994"/>
                <a:gd name="connsiteX218" fmla="*/ 1090754 w 8861126"/>
                <a:gd name="connsiteY218" fmla="*/ 6373584 h 6886994"/>
                <a:gd name="connsiteX219" fmla="*/ 1184553 w 8861126"/>
                <a:gd name="connsiteY219" fmla="*/ 6382724 h 6886994"/>
                <a:gd name="connsiteX220" fmla="*/ 1185249 w 8861126"/>
                <a:gd name="connsiteY220" fmla="*/ 6382724 h 6886994"/>
                <a:gd name="connsiteX221" fmla="*/ 1234309 w 8861126"/>
                <a:gd name="connsiteY221" fmla="*/ 6366461 h 6886994"/>
                <a:gd name="connsiteX222" fmla="*/ 1277156 w 8861126"/>
                <a:gd name="connsiteY222" fmla="*/ 6381653 h 6886994"/>
                <a:gd name="connsiteX223" fmla="*/ 1299275 w 8861126"/>
                <a:gd name="connsiteY223" fmla="*/ 6378940 h 6886994"/>
                <a:gd name="connsiteX224" fmla="*/ 1455345 w 8861126"/>
                <a:gd name="connsiteY224" fmla="*/ 6225923 h 6886994"/>
                <a:gd name="connsiteX225" fmla="*/ 1526238 w 8861126"/>
                <a:gd name="connsiteY225" fmla="*/ 6227298 h 6886994"/>
                <a:gd name="connsiteX226" fmla="*/ 1526667 w 8861126"/>
                <a:gd name="connsiteY226" fmla="*/ 6227298 h 6886994"/>
                <a:gd name="connsiteX227" fmla="*/ 1615449 w 8861126"/>
                <a:gd name="connsiteY227" fmla="*/ 6205017 h 6886994"/>
                <a:gd name="connsiteX228" fmla="*/ 1577958 w 8861126"/>
                <a:gd name="connsiteY228" fmla="*/ 6186111 h 6886994"/>
                <a:gd name="connsiteX229" fmla="*/ 1652940 w 8861126"/>
                <a:gd name="connsiteY229" fmla="*/ 6067337 h 6886994"/>
                <a:gd name="connsiteX230" fmla="*/ 1761985 w 8861126"/>
                <a:gd name="connsiteY230" fmla="*/ 6043753 h 6886994"/>
                <a:gd name="connsiteX231" fmla="*/ 1763288 w 8861126"/>
                <a:gd name="connsiteY231" fmla="*/ 6043467 h 6886994"/>
                <a:gd name="connsiteX232" fmla="*/ 1809152 w 8861126"/>
                <a:gd name="connsiteY232" fmla="*/ 5972145 h 6886994"/>
                <a:gd name="connsiteX233" fmla="*/ 1741311 w 8861126"/>
                <a:gd name="connsiteY233" fmla="*/ 5938011 h 6886994"/>
                <a:gd name="connsiteX234" fmla="*/ 1706855 w 8861126"/>
                <a:gd name="connsiteY234" fmla="*/ 5821396 h 6886994"/>
                <a:gd name="connsiteX235" fmla="*/ 1861729 w 8861126"/>
                <a:gd name="connsiteY235" fmla="*/ 5587970 h 6886994"/>
                <a:gd name="connsiteX236" fmla="*/ 1942191 w 8861126"/>
                <a:gd name="connsiteY236" fmla="*/ 5567707 h 6886994"/>
                <a:gd name="connsiteX237" fmla="*/ 1971506 w 8861126"/>
                <a:gd name="connsiteY237" fmla="*/ 5471302 h 6886994"/>
                <a:gd name="connsiteX238" fmla="*/ 2200486 w 8861126"/>
                <a:gd name="connsiteY238" fmla="*/ 5422796 h 6886994"/>
                <a:gd name="connsiteX239" fmla="*/ 2201647 w 8861126"/>
                <a:gd name="connsiteY239" fmla="*/ 5422564 h 6886994"/>
                <a:gd name="connsiteX240" fmla="*/ 2246279 w 8861126"/>
                <a:gd name="connsiteY240" fmla="*/ 5365238 h 6886994"/>
                <a:gd name="connsiteX241" fmla="*/ 2382514 w 8861126"/>
                <a:gd name="connsiteY241" fmla="*/ 5307520 h 6886994"/>
                <a:gd name="connsiteX242" fmla="*/ 2383835 w 8861126"/>
                <a:gd name="connsiteY242" fmla="*/ 5306967 h 6886994"/>
                <a:gd name="connsiteX243" fmla="*/ 2414917 w 8861126"/>
                <a:gd name="connsiteY243" fmla="*/ 5219363 h 6886994"/>
                <a:gd name="connsiteX244" fmla="*/ 2415149 w 8861126"/>
                <a:gd name="connsiteY244" fmla="*/ 5218738 h 6886994"/>
                <a:gd name="connsiteX245" fmla="*/ 2402884 w 8861126"/>
                <a:gd name="connsiteY245" fmla="*/ 5035961 h 6886994"/>
                <a:gd name="connsiteX246" fmla="*/ 2572343 w 8861126"/>
                <a:gd name="connsiteY246" fmla="*/ 4934200 h 6886994"/>
                <a:gd name="connsiteX247" fmla="*/ 2744765 w 8861126"/>
                <a:gd name="connsiteY247" fmla="*/ 5014787 h 6886994"/>
                <a:gd name="connsiteX248" fmla="*/ 2770313 w 8861126"/>
                <a:gd name="connsiteY248" fmla="*/ 5053296 h 6886994"/>
                <a:gd name="connsiteX249" fmla="*/ 2908530 w 8861126"/>
                <a:gd name="connsiteY249" fmla="*/ 5078005 h 6886994"/>
                <a:gd name="connsiteX250" fmla="*/ 2909618 w 8861126"/>
                <a:gd name="connsiteY250" fmla="*/ 5078201 h 6886994"/>
                <a:gd name="connsiteX251" fmla="*/ 3268460 w 8861126"/>
                <a:gd name="connsiteY251" fmla="*/ 4889425 h 6886994"/>
                <a:gd name="connsiteX252" fmla="*/ 3269157 w 8861126"/>
                <a:gd name="connsiteY252" fmla="*/ 4889068 h 6886994"/>
                <a:gd name="connsiteX253" fmla="*/ 3338069 w 8861126"/>
                <a:gd name="connsiteY253" fmla="*/ 4789092 h 6886994"/>
                <a:gd name="connsiteX254" fmla="*/ 3551160 w 8861126"/>
                <a:gd name="connsiteY254" fmla="*/ 4874535 h 6886994"/>
                <a:gd name="connsiteX255" fmla="*/ 3673148 w 8861126"/>
                <a:gd name="connsiteY255" fmla="*/ 5116245 h 6886994"/>
                <a:gd name="connsiteX256" fmla="*/ 3673452 w 8861126"/>
                <a:gd name="connsiteY256" fmla="*/ 5116852 h 6886994"/>
                <a:gd name="connsiteX257" fmla="*/ 3868762 w 8861126"/>
                <a:gd name="connsiteY257" fmla="*/ 5278849 h 6886994"/>
                <a:gd name="connsiteX258" fmla="*/ 4021689 w 8861126"/>
                <a:gd name="connsiteY258" fmla="*/ 5435186 h 6886994"/>
                <a:gd name="connsiteX259" fmla="*/ 4119772 w 8861126"/>
                <a:gd name="connsiteY259" fmla="*/ 5549444 h 6886994"/>
                <a:gd name="connsiteX260" fmla="*/ 4167440 w 8861126"/>
                <a:gd name="connsiteY260" fmla="*/ 5512167 h 6886994"/>
                <a:gd name="connsiteX261" fmla="*/ 4384423 w 8861126"/>
                <a:gd name="connsiteY261" fmla="*/ 5636976 h 6886994"/>
                <a:gd name="connsiteX262" fmla="*/ 4355377 w 8861126"/>
                <a:gd name="connsiteY262" fmla="*/ 5687536 h 6886994"/>
                <a:gd name="connsiteX263" fmla="*/ 4448622 w 8861126"/>
                <a:gd name="connsiteY263" fmla="*/ 5643189 h 6886994"/>
                <a:gd name="connsiteX264" fmla="*/ 4472277 w 8861126"/>
                <a:gd name="connsiteY264" fmla="*/ 5752573 h 6886994"/>
                <a:gd name="connsiteX265" fmla="*/ 4523086 w 8861126"/>
                <a:gd name="connsiteY265" fmla="*/ 5746361 h 6886994"/>
                <a:gd name="connsiteX266" fmla="*/ 4543527 w 8861126"/>
                <a:gd name="connsiteY266" fmla="*/ 5827555 h 6886994"/>
                <a:gd name="connsiteX267" fmla="*/ 4621990 w 8861126"/>
                <a:gd name="connsiteY267" fmla="*/ 5786583 h 6886994"/>
                <a:gd name="connsiteX268" fmla="*/ 4670836 w 8861126"/>
                <a:gd name="connsiteY268" fmla="*/ 5860315 h 6886994"/>
                <a:gd name="connsiteX269" fmla="*/ 4751513 w 8861126"/>
                <a:gd name="connsiteY269" fmla="*/ 6015046 h 6886994"/>
                <a:gd name="connsiteX270" fmla="*/ 4765598 w 8861126"/>
                <a:gd name="connsiteY270" fmla="*/ 6051626 h 6886994"/>
                <a:gd name="connsiteX271" fmla="*/ 4668122 w 8861126"/>
                <a:gd name="connsiteY271" fmla="*/ 6105184 h 6886994"/>
                <a:gd name="connsiteX272" fmla="*/ 4693223 w 8861126"/>
                <a:gd name="connsiteY272" fmla="*/ 6134428 h 6886994"/>
                <a:gd name="connsiteX273" fmla="*/ 4659553 w 8861126"/>
                <a:gd name="connsiteY273" fmla="*/ 6189164 h 6886994"/>
                <a:gd name="connsiteX274" fmla="*/ 4667373 w 8861126"/>
                <a:gd name="connsiteY274" fmla="*/ 6252917 h 6886994"/>
                <a:gd name="connsiteX275" fmla="*/ 4703382 w 8861126"/>
                <a:gd name="connsiteY275" fmla="*/ 6271055 h 6886994"/>
                <a:gd name="connsiteX276" fmla="*/ 4754119 w 8861126"/>
                <a:gd name="connsiteY276" fmla="*/ 6243115 h 6886994"/>
                <a:gd name="connsiteX277" fmla="*/ 4831922 w 8861126"/>
                <a:gd name="connsiteY277" fmla="*/ 6037826 h 6886994"/>
                <a:gd name="connsiteX278" fmla="*/ 4868145 w 8861126"/>
                <a:gd name="connsiteY278" fmla="*/ 6013796 h 6886994"/>
                <a:gd name="connsiteX279" fmla="*/ 4911849 w 8861126"/>
                <a:gd name="connsiteY279" fmla="*/ 6019241 h 6886994"/>
                <a:gd name="connsiteX280" fmla="*/ 4930648 w 8861126"/>
                <a:gd name="connsiteY280" fmla="*/ 5908750 h 6886994"/>
                <a:gd name="connsiteX281" fmla="*/ 4796877 w 8861126"/>
                <a:gd name="connsiteY281" fmla="*/ 5822324 h 6886994"/>
                <a:gd name="connsiteX282" fmla="*/ 4857326 w 8861126"/>
                <a:gd name="connsiteY282" fmla="*/ 5665077 h 6886994"/>
                <a:gd name="connsiteX283" fmla="*/ 5033034 w 8861126"/>
                <a:gd name="connsiteY283" fmla="*/ 5703924 h 6886994"/>
                <a:gd name="connsiteX284" fmla="*/ 5075095 w 8861126"/>
                <a:gd name="connsiteY284" fmla="*/ 5792296 h 6886994"/>
                <a:gd name="connsiteX285" fmla="*/ 5131296 w 8861126"/>
                <a:gd name="connsiteY285" fmla="*/ 5785405 h 6886994"/>
                <a:gd name="connsiteX286" fmla="*/ 5119656 w 8861126"/>
                <a:gd name="connsiteY286" fmla="*/ 5690785 h 6886994"/>
                <a:gd name="connsiteX287" fmla="*/ 5119549 w 8861126"/>
                <a:gd name="connsiteY287" fmla="*/ 5689910 h 6886994"/>
                <a:gd name="connsiteX288" fmla="*/ 5044888 w 8861126"/>
                <a:gd name="connsiteY288" fmla="*/ 5594076 h 6886994"/>
                <a:gd name="connsiteX289" fmla="*/ 4970549 w 8861126"/>
                <a:gd name="connsiteY289" fmla="*/ 5582347 h 6886994"/>
                <a:gd name="connsiteX290" fmla="*/ 4656339 w 8861126"/>
                <a:gd name="connsiteY290" fmla="*/ 5436793 h 6886994"/>
                <a:gd name="connsiteX291" fmla="*/ 4661159 w 8861126"/>
                <a:gd name="connsiteY291" fmla="*/ 5397891 h 6886994"/>
                <a:gd name="connsiteX292" fmla="*/ 4686796 w 8861126"/>
                <a:gd name="connsiteY292" fmla="*/ 5353152 h 6886994"/>
                <a:gd name="connsiteX293" fmla="*/ 4685011 w 8861126"/>
                <a:gd name="connsiteY293" fmla="*/ 5339227 h 6886994"/>
                <a:gd name="connsiteX294" fmla="*/ 4568968 w 8861126"/>
                <a:gd name="connsiteY294" fmla="*/ 5332478 h 6886994"/>
                <a:gd name="connsiteX295" fmla="*/ 4261917 w 8861126"/>
                <a:gd name="connsiteY295" fmla="*/ 5165090 h 6886994"/>
                <a:gd name="connsiteX296" fmla="*/ 4208144 w 8861126"/>
                <a:gd name="connsiteY296" fmla="*/ 4977100 h 6886994"/>
                <a:gd name="connsiteX297" fmla="*/ 4207573 w 8861126"/>
                <a:gd name="connsiteY297" fmla="*/ 4975118 h 6886994"/>
                <a:gd name="connsiteX298" fmla="*/ 4133912 w 8861126"/>
                <a:gd name="connsiteY298" fmla="*/ 4963478 h 6886994"/>
                <a:gd name="connsiteX299" fmla="*/ 4119397 w 8861126"/>
                <a:gd name="connsiteY299" fmla="*/ 4925809 h 6886994"/>
                <a:gd name="connsiteX300" fmla="*/ 4119183 w 8861126"/>
                <a:gd name="connsiteY300" fmla="*/ 4925238 h 6886994"/>
                <a:gd name="connsiteX301" fmla="*/ 3953991 w 8861126"/>
                <a:gd name="connsiteY301" fmla="*/ 4741514 h 6886994"/>
                <a:gd name="connsiteX302" fmla="*/ 4008656 w 8861126"/>
                <a:gd name="connsiteY302" fmla="*/ 4694419 h 6886994"/>
                <a:gd name="connsiteX303" fmla="*/ 4004586 w 8861126"/>
                <a:gd name="connsiteY303" fmla="*/ 4661337 h 6886994"/>
                <a:gd name="connsiteX304" fmla="*/ 3945672 w 8861126"/>
                <a:gd name="connsiteY304" fmla="*/ 4588569 h 6886994"/>
                <a:gd name="connsiteX305" fmla="*/ 4162262 w 8861126"/>
                <a:gd name="connsiteY305" fmla="*/ 4471508 h 6886994"/>
                <a:gd name="connsiteX306" fmla="*/ 4203895 w 8861126"/>
                <a:gd name="connsiteY306" fmla="*/ 4512230 h 6886994"/>
                <a:gd name="connsiteX307" fmla="*/ 4137268 w 8861126"/>
                <a:gd name="connsiteY307" fmla="*/ 4540474 h 6886994"/>
                <a:gd name="connsiteX308" fmla="*/ 4156906 w 8861126"/>
                <a:gd name="connsiteY308" fmla="*/ 4613045 h 6886994"/>
                <a:gd name="connsiteX309" fmla="*/ 4157013 w 8861126"/>
                <a:gd name="connsiteY309" fmla="*/ 4613420 h 6886994"/>
                <a:gd name="connsiteX310" fmla="*/ 4184239 w 8861126"/>
                <a:gd name="connsiteY310" fmla="*/ 4662980 h 6886994"/>
                <a:gd name="connsiteX311" fmla="*/ 4254026 w 8861126"/>
                <a:gd name="connsiteY311" fmla="*/ 4698096 h 6886994"/>
                <a:gd name="connsiteX312" fmla="*/ 4279520 w 8861126"/>
                <a:gd name="connsiteY312" fmla="*/ 4640610 h 6886994"/>
                <a:gd name="connsiteX313" fmla="*/ 4319582 w 8861126"/>
                <a:gd name="connsiteY313" fmla="*/ 4566753 h 6886994"/>
                <a:gd name="connsiteX314" fmla="*/ 4384298 w 8861126"/>
                <a:gd name="connsiteY314" fmla="*/ 4617402 h 6886994"/>
                <a:gd name="connsiteX315" fmla="*/ 4440391 w 8861126"/>
                <a:gd name="connsiteY315" fmla="*/ 4742853 h 6886994"/>
                <a:gd name="connsiteX316" fmla="*/ 4429019 w 8861126"/>
                <a:gd name="connsiteY316" fmla="*/ 4815497 h 6886994"/>
                <a:gd name="connsiteX317" fmla="*/ 4428823 w 8861126"/>
                <a:gd name="connsiteY317" fmla="*/ 4816746 h 6886994"/>
                <a:gd name="connsiteX318" fmla="*/ 4455209 w 8861126"/>
                <a:gd name="connsiteY318" fmla="*/ 4856612 h 6886994"/>
                <a:gd name="connsiteX319" fmla="*/ 4588159 w 8861126"/>
                <a:gd name="connsiteY319" fmla="*/ 4933129 h 6886994"/>
                <a:gd name="connsiteX320" fmla="*/ 4613974 w 8861126"/>
                <a:gd name="connsiteY320" fmla="*/ 4972012 h 6886994"/>
                <a:gd name="connsiteX321" fmla="*/ 4749156 w 8861126"/>
                <a:gd name="connsiteY321" fmla="*/ 4976172 h 6886994"/>
                <a:gd name="connsiteX322" fmla="*/ 5260515 w 8861126"/>
                <a:gd name="connsiteY322" fmla="*/ 5303182 h 6886994"/>
                <a:gd name="connsiteX323" fmla="*/ 5232450 w 8861126"/>
                <a:gd name="connsiteY323" fmla="*/ 5409567 h 6886994"/>
                <a:gd name="connsiteX324" fmla="*/ 5255319 w 8861126"/>
                <a:gd name="connsiteY324" fmla="*/ 5427420 h 6886994"/>
                <a:gd name="connsiteX325" fmla="*/ 5228773 w 8861126"/>
                <a:gd name="connsiteY325" fmla="*/ 5542892 h 6886994"/>
                <a:gd name="connsiteX326" fmla="*/ 5250338 w 8861126"/>
                <a:gd name="connsiteY326" fmla="*/ 5633816 h 6886994"/>
                <a:gd name="connsiteX327" fmla="*/ 5250481 w 8861126"/>
                <a:gd name="connsiteY327" fmla="*/ 5634388 h 6886994"/>
                <a:gd name="connsiteX328" fmla="*/ 5288722 w 8861126"/>
                <a:gd name="connsiteY328" fmla="*/ 5692034 h 6886994"/>
                <a:gd name="connsiteX329" fmla="*/ 5288937 w 8861126"/>
                <a:gd name="connsiteY329" fmla="*/ 5692356 h 6886994"/>
                <a:gd name="connsiteX330" fmla="*/ 5554944 w 8861126"/>
                <a:gd name="connsiteY330" fmla="*/ 5937082 h 6886994"/>
                <a:gd name="connsiteX331" fmla="*/ 5512882 w 8861126"/>
                <a:gd name="connsiteY331" fmla="*/ 6132946 h 6886994"/>
                <a:gd name="connsiteX332" fmla="*/ 5601432 w 8861126"/>
                <a:gd name="connsiteY332" fmla="*/ 6190593 h 6886994"/>
                <a:gd name="connsiteX333" fmla="*/ 5651420 w 8861126"/>
                <a:gd name="connsiteY333" fmla="*/ 6259594 h 6886994"/>
                <a:gd name="connsiteX334" fmla="*/ 5775908 w 8861126"/>
                <a:gd name="connsiteY334" fmla="*/ 6300477 h 6886994"/>
                <a:gd name="connsiteX335" fmla="*/ 5774587 w 8861126"/>
                <a:gd name="connsiteY335" fmla="*/ 6376280 h 6886994"/>
                <a:gd name="connsiteX336" fmla="*/ 5810775 w 8861126"/>
                <a:gd name="connsiteY336" fmla="*/ 6408754 h 6886994"/>
                <a:gd name="connsiteX337" fmla="*/ 5833983 w 8861126"/>
                <a:gd name="connsiteY337" fmla="*/ 6488056 h 6886994"/>
                <a:gd name="connsiteX338" fmla="*/ 5878383 w 8861126"/>
                <a:gd name="connsiteY338" fmla="*/ 6488824 h 6886994"/>
                <a:gd name="connsiteX339" fmla="*/ 5905948 w 8861126"/>
                <a:gd name="connsiteY339" fmla="*/ 6414306 h 6886994"/>
                <a:gd name="connsiteX340" fmla="*/ 5958043 w 8861126"/>
                <a:gd name="connsiteY340" fmla="*/ 6464080 h 6886994"/>
                <a:gd name="connsiteX341" fmla="*/ 5969629 w 8861126"/>
                <a:gd name="connsiteY341" fmla="*/ 6545828 h 6886994"/>
                <a:gd name="connsiteX342" fmla="*/ 6031168 w 8861126"/>
                <a:gd name="connsiteY342" fmla="*/ 6528564 h 6886994"/>
                <a:gd name="connsiteX343" fmla="*/ 6026919 w 8861126"/>
                <a:gd name="connsiteY343" fmla="*/ 6420305 h 6886994"/>
                <a:gd name="connsiteX344" fmla="*/ 6026919 w 8861126"/>
                <a:gd name="connsiteY344" fmla="*/ 6419876 h 6886994"/>
                <a:gd name="connsiteX345" fmla="*/ 5982858 w 8861126"/>
                <a:gd name="connsiteY345" fmla="*/ 6280089 h 6886994"/>
                <a:gd name="connsiteX346" fmla="*/ 6035131 w 8861126"/>
                <a:gd name="connsiteY346" fmla="*/ 6274733 h 6886994"/>
                <a:gd name="connsiteX347" fmla="*/ 6045843 w 8861126"/>
                <a:gd name="connsiteY347" fmla="*/ 6185469 h 6886994"/>
                <a:gd name="connsiteX348" fmla="*/ 5992284 w 8861126"/>
                <a:gd name="connsiteY348" fmla="*/ 6117628 h 6886994"/>
                <a:gd name="connsiteX349" fmla="*/ 6066588 w 8861126"/>
                <a:gd name="connsiteY349" fmla="*/ 6094259 h 6886994"/>
                <a:gd name="connsiteX350" fmla="*/ 6145426 w 8861126"/>
                <a:gd name="connsiteY350" fmla="*/ 6140783 h 6886994"/>
                <a:gd name="connsiteX351" fmla="*/ 6145426 w 8861126"/>
                <a:gd name="connsiteY351" fmla="*/ 6048823 h 6886994"/>
                <a:gd name="connsiteX352" fmla="*/ 6086208 w 8861126"/>
                <a:gd name="connsiteY352" fmla="*/ 5970164 h 6886994"/>
                <a:gd name="connsiteX353" fmla="*/ 5950205 w 8861126"/>
                <a:gd name="connsiteY353" fmla="*/ 5889826 h 6886994"/>
                <a:gd name="connsiteX354" fmla="*/ 5897504 w 8861126"/>
                <a:gd name="connsiteY354" fmla="*/ 5786637 h 6886994"/>
                <a:gd name="connsiteX355" fmla="*/ 5822522 w 8861126"/>
                <a:gd name="connsiteY355" fmla="*/ 5697087 h 6886994"/>
                <a:gd name="connsiteX356" fmla="*/ 5820861 w 8861126"/>
                <a:gd name="connsiteY356" fmla="*/ 5589613 h 6886994"/>
                <a:gd name="connsiteX357" fmla="*/ 5873849 w 8861126"/>
                <a:gd name="connsiteY357" fmla="*/ 5608697 h 6886994"/>
                <a:gd name="connsiteX358" fmla="*/ 5974003 w 8861126"/>
                <a:gd name="connsiteY358" fmla="*/ 5643528 h 6886994"/>
                <a:gd name="connsiteX359" fmla="*/ 5994462 w 8861126"/>
                <a:gd name="connsiteY359" fmla="*/ 5577008 h 6886994"/>
                <a:gd name="connsiteX360" fmla="*/ 6006210 w 8861126"/>
                <a:gd name="connsiteY360" fmla="*/ 5511542 h 6886994"/>
                <a:gd name="connsiteX361" fmla="*/ 6085726 w 8861126"/>
                <a:gd name="connsiteY361" fmla="*/ 5438489 h 6886994"/>
                <a:gd name="connsiteX362" fmla="*/ 6230334 w 8861126"/>
                <a:gd name="connsiteY362" fmla="*/ 5381591 h 6886994"/>
                <a:gd name="connsiteX363" fmla="*/ 6333791 w 8861126"/>
                <a:gd name="connsiteY363" fmla="*/ 5406728 h 6886994"/>
                <a:gd name="connsiteX364" fmla="*/ 6374406 w 8861126"/>
                <a:gd name="connsiteY364" fmla="*/ 5424117 h 6886994"/>
                <a:gd name="connsiteX365" fmla="*/ 6534778 w 8861126"/>
                <a:gd name="connsiteY365" fmla="*/ 5350171 h 6886994"/>
                <a:gd name="connsiteX366" fmla="*/ 6535385 w 8861126"/>
                <a:gd name="connsiteY366" fmla="*/ 5349903 h 6886994"/>
                <a:gd name="connsiteX367" fmla="*/ 6635022 w 8861126"/>
                <a:gd name="connsiteY367" fmla="*/ 5238787 h 6886994"/>
                <a:gd name="connsiteX368" fmla="*/ 6730838 w 8861126"/>
                <a:gd name="connsiteY368" fmla="*/ 5213329 h 6886994"/>
                <a:gd name="connsiteX369" fmla="*/ 6836723 w 8861126"/>
                <a:gd name="connsiteY369" fmla="*/ 5149469 h 6886994"/>
                <a:gd name="connsiteX370" fmla="*/ 6838044 w 8861126"/>
                <a:gd name="connsiteY370" fmla="*/ 5148666 h 6886994"/>
                <a:gd name="connsiteX371" fmla="*/ 6848756 w 8861126"/>
                <a:gd name="connsiteY371" fmla="*/ 5069310 h 6886994"/>
                <a:gd name="connsiteX372" fmla="*/ 6726125 w 8861126"/>
                <a:gd name="connsiteY372" fmla="*/ 5051100 h 6886994"/>
                <a:gd name="connsiteX373" fmla="*/ 6574840 w 8861126"/>
                <a:gd name="connsiteY373" fmla="*/ 4880142 h 6886994"/>
                <a:gd name="connsiteX374" fmla="*/ 6582892 w 8861126"/>
                <a:gd name="connsiteY374" fmla="*/ 4704738 h 6886994"/>
                <a:gd name="connsiteX375" fmla="*/ 6678708 w 8861126"/>
                <a:gd name="connsiteY375" fmla="*/ 4545633 h 6886994"/>
                <a:gd name="connsiteX376" fmla="*/ 6679226 w 8861126"/>
                <a:gd name="connsiteY376" fmla="*/ 4544740 h 6886994"/>
                <a:gd name="connsiteX377" fmla="*/ 6663747 w 8861126"/>
                <a:gd name="connsiteY377" fmla="*/ 4362053 h 6886994"/>
                <a:gd name="connsiteX378" fmla="*/ 6687045 w 8861126"/>
                <a:gd name="connsiteY378" fmla="*/ 4280572 h 6886994"/>
                <a:gd name="connsiteX379" fmla="*/ 6784539 w 8861126"/>
                <a:gd name="connsiteY379" fmla="*/ 4134304 h 6886994"/>
                <a:gd name="connsiteX380" fmla="*/ 6785218 w 8861126"/>
                <a:gd name="connsiteY380" fmla="*/ 4133304 h 6886994"/>
                <a:gd name="connsiteX381" fmla="*/ 6767526 w 8861126"/>
                <a:gd name="connsiteY381" fmla="*/ 3995534 h 6886994"/>
                <a:gd name="connsiteX382" fmla="*/ 6857557 w 8861126"/>
                <a:gd name="connsiteY382" fmla="*/ 3881044 h 6886994"/>
                <a:gd name="connsiteX383" fmla="*/ 6857718 w 8861126"/>
                <a:gd name="connsiteY383" fmla="*/ 3880847 h 6886994"/>
                <a:gd name="connsiteX384" fmla="*/ 6924773 w 8861126"/>
                <a:gd name="connsiteY384" fmla="*/ 3761341 h 6886994"/>
                <a:gd name="connsiteX385" fmla="*/ 7024088 w 8861126"/>
                <a:gd name="connsiteY385" fmla="*/ 3775783 h 6886994"/>
                <a:gd name="connsiteX386" fmla="*/ 7045637 w 8861126"/>
                <a:gd name="connsiteY386" fmla="*/ 3870171 h 6886994"/>
                <a:gd name="connsiteX387" fmla="*/ 7186085 w 8861126"/>
                <a:gd name="connsiteY387" fmla="*/ 3816363 h 6886994"/>
                <a:gd name="connsiteX388" fmla="*/ 7272886 w 8861126"/>
                <a:gd name="connsiteY388" fmla="*/ 3825700 h 6886994"/>
                <a:gd name="connsiteX389" fmla="*/ 7248945 w 8861126"/>
                <a:gd name="connsiteY389" fmla="*/ 3893540 h 6886994"/>
                <a:gd name="connsiteX390" fmla="*/ 7167590 w 8861126"/>
                <a:gd name="connsiteY390" fmla="*/ 3993034 h 6886994"/>
                <a:gd name="connsiteX391" fmla="*/ 7309056 w 8861126"/>
                <a:gd name="connsiteY391" fmla="*/ 4035881 h 6886994"/>
                <a:gd name="connsiteX392" fmla="*/ 7349153 w 8861126"/>
                <a:gd name="connsiteY392" fmla="*/ 4123146 h 6886994"/>
                <a:gd name="connsiteX393" fmla="*/ 7349581 w 8861126"/>
                <a:gd name="connsiteY393" fmla="*/ 4124110 h 6886994"/>
                <a:gd name="connsiteX394" fmla="*/ 7438203 w 8861126"/>
                <a:gd name="connsiteY394" fmla="*/ 4173669 h 6886994"/>
                <a:gd name="connsiteX395" fmla="*/ 7513346 w 8861126"/>
                <a:gd name="connsiteY395" fmla="*/ 4058590 h 6886994"/>
                <a:gd name="connsiteX396" fmla="*/ 7594254 w 8861126"/>
                <a:gd name="connsiteY396" fmla="*/ 3924908 h 6886994"/>
                <a:gd name="connsiteX397" fmla="*/ 7680591 w 8861126"/>
                <a:gd name="connsiteY397" fmla="*/ 3821701 h 6886994"/>
                <a:gd name="connsiteX398" fmla="*/ 7560244 w 8861126"/>
                <a:gd name="connsiteY398" fmla="*/ 3763840 h 6886994"/>
                <a:gd name="connsiteX399" fmla="*/ 7457127 w 8861126"/>
                <a:gd name="connsiteY399" fmla="*/ 3679932 h 6886994"/>
                <a:gd name="connsiteX400" fmla="*/ 7506026 w 8861126"/>
                <a:gd name="connsiteY400" fmla="*/ 3565495 h 6886994"/>
                <a:gd name="connsiteX401" fmla="*/ 7626764 w 8861126"/>
                <a:gd name="connsiteY401" fmla="*/ 3455147 h 6886994"/>
                <a:gd name="connsiteX402" fmla="*/ 7744468 w 8861126"/>
                <a:gd name="connsiteY402" fmla="*/ 3365204 h 6886994"/>
                <a:gd name="connsiteX403" fmla="*/ 7744646 w 8861126"/>
                <a:gd name="connsiteY403" fmla="*/ 3365079 h 6886994"/>
                <a:gd name="connsiteX404" fmla="*/ 7875972 w 8861126"/>
                <a:gd name="connsiteY404" fmla="*/ 3235843 h 6886994"/>
                <a:gd name="connsiteX405" fmla="*/ 7990926 w 8861126"/>
                <a:gd name="connsiteY405" fmla="*/ 3171876 h 6886994"/>
                <a:gd name="connsiteX406" fmla="*/ 8022508 w 8861126"/>
                <a:gd name="connsiteY406" fmla="*/ 3182480 h 6886994"/>
                <a:gd name="connsiteX407" fmla="*/ 7999049 w 8861126"/>
                <a:gd name="connsiteY407" fmla="*/ 3293168 h 6886994"/>
                <a:gd name="connsiteX408" fmla="*/ 7881506 w 8861126"/>
                <a:gd name="connsiteY408" fmla="*/ 3401713 h 6886994"/>
                <a:gd name="connsiteX409" fmla="*/ 7899538 w 8861126"/>
                <a:gd name="connsiteY409" fmla="*/ 3485086 h 6886994"/>
                <a:gd name="connsiteX410" fmla="*/ 7899681 w 8861126"/>
                <a:gd name="connsiteY410" fmla="*/ 3485729 h 6886994"/>
                <a:gd name="connsiteX411" fmla="*/ 7936118 w 8861126"/>
                <a:gd name="connsiteY411" fmla="*/ 3537716 h 6886994"/>
                <a:gd name="connsiteX412" fmla="*/ 7895289 w 8861126"/>
                <a:gd name="connsiteY412" fmla="*/ 3624909 h 6886994"/>
                <a:gd name="connsiteX413" fmla="*/ 7831769 w 8861126"/>
                <a:gd name="connsiteY413" fmla="*/ 3702801 h 6886994"/>
                <a:gd name="connsiteX414" fmla="*/ 7831322 w 8861126"/>
                <a:gd name="connsiteY414" fmla="*/ 3703337 h 6886994"/>
                <a:gd name="connsiteX415" fmla="*/ 7810720 w 8861126"/>
                <a:gd name="connsiteY415" fmla="*/ 3780247 h 6886994"/>
                <a:gd name="connsiteX416" fmla="*/ 7870473 w 8861126"/>
                <a:gd name="connsiteY416" fmla="*/ 3825914 h 6886994"/>
                <a:gd name="connsiteX417" fmla="*/ 8051501 w 8861126"/>
                <a:gd name="connsiteY417" fmla="*/ 3852961 h 6886994"/>
                <a:gd name="connsiteX418" fmla="*/ 8239367 w 8861126"/>
                <a:gd name="connsiteY418" fmla="*/ 3866708 h 6886994"/>
                <a:gd name="connsiteX419" fmla="*/ 8493930 w 8861126"/>
                <a:gd name="connsiteY419" fmla="*/ 3999051 h 6886994"/>
                <a:gd name="connsiteX420" fmla="*/ 8494644 w 8861126"/>
                <a:gd name="connsiteY420" fmla="*/ 3999444 h 6886994"/>
                <a:gd name="connsiteX421" fmla="*/ 8676260 w 8861126"/>
                <a:gd name="connsiteY421" fmla="*/ 3996837 h 6886994"/>
                <a:gd name="connsiteX422" fmla="*/ 8783145 w 8861126"/>
                <a:gd name="connsiteY422" fmla="*/ 4060982 h 6886994"/>
                <a:gd name="connsiteX423" fmla="*/ 8854824 w 8861126"/>
                <a:gd name="connsiteY423" fmla="*/ 4146837 h 6886994"/>
                <a:gd name="connsiteX424" fmla="*/ 8853914 w 8861126"/>
                <a:gd name="connsiteY424" fmla="*/ 4260202 h 6886994"/>
                <a:gd name="connsiteX425" fmla="*/ 8756152 w 8861126"/>
                <a:gd name="connsiteY425" fmla="*/ 4377513 h 6886994"/>
                <a:gd name="connsiteX426" fmla="*/ 8755831 w 8861126"/>
                <a:gd name="connsiteY426" fmla="*/ 4377924 h 6886994"/>
                <a:gd name="connsiteX427" fmla="*/ 8707431 w 8861126"/>
                <a:gd name="connsiteY427" fmla="*/ 4497734 h 6886994"/>
                <a:gd name="connsiteX428" fmla="*/ 8543185 w 8861126"/>
                <a:gd name="connsiteY428" fmla="*/ 4579500 h 6886994"/>
                <a:gd name="connsiteX429" fmla="*/ 8400488 w 8861126"/>
                <a:gd name="connsiteY429" fmla="*/ 4651893 h 6886994"/>
                <a:gd name="connsiteX430" fmla="*/ 8256005 w 8861126"/>
                <a:gd name="connsiteY430" fmla="*/ 4648644 h 6886994"/>
                <a:gd name="connsiteX431" fmla="*/ 8099204 w 8861126"/>
                <a:gd name="connsiteY431" fmla="*/ 4651893 h 6886994"/>
                <a:gd name="connsiteX432" fmla="*/ 7927477 w 8861126"/>
                <a:gd name="connsiteY432" fmla="*/ 4621079 h 6886994"/>
                <a:gd name="connsiteX433" fmla="*/ 7766195 w 8861126"/>
                <a:gd name="connsiteY433" fmla="*/ 4588658 h 6886994"/>
                <a:gd name="connsiteX434" fmla="*/ 7671308 w 8861126"/>
                <a:gd name="connsiteY434" fmla="*/ 4657731 h 6886994"/>
                <a:gd name="connsiteX435" fmla="*/ 7539197 w 8861126"/>
                <a:gd name="connsiteY435" fmla="*/ 4735962 h 6886994"/>
                <a:gd name="connsiteX436" fmla="*/ 7446362 w 8861126"/>
                <a:gd name="connsiteY436" fmla="*/ 4775542 h 6886994"/>
                <a:gd name="connsiteX437" fmla="*/ 7445719 w 8861126"/>
                <a:gd name="connsiteY437" fmla="*/ 4775828 h 6886994"/>
                <a:gd name="connsiteX438" fmla="*/ 7324445 w 8861126"/>
                <a:gd name="connsiteY438" fmla="*/ 4906153 h 6886994"/>
                <a:gd name="connsiteX439" fmla="*/ 7258389 w 8861126"/>
                <a:gd name="connsiteY439" fmla="*/ 4961122 h 6886994"/>
                <a:gd name="connsiteX440" fmla="*/ 7258246 w 8861126"/>
                <a:gd name="connsiteY440" fmla="*/ 4961247 h 6886994"/>
                <a:gd name="connsiteX441" fmla="*/ 7192959 w 8861126"/>
                <a:gd name="connsiteY441" fmla="*/ 5030641 h 6886994"/>
                <a:gd name="connsiteX442" fmla="*/ 7022053 w 8861126"/>
                <a:gd name="connsiteY442" fmla="*/ 5035836 h 6886994"/>
                <a:gd name="connsiteX443" fmla="*/ 7021411 w 8861126"/>
                <a:gd name="connsiteY443" fmla="*/ 5035836 h 6886994"/>
                <a:gd name="connsiteX444" fmla="*/ 6914847 w 8861126"/>
                <a:gd name="connsiteY444" fmla="*/ 5085021 h 6886994"/>
                <a:gd name="connsiteX445" fmla="*/ 6880159 w 8861126"/>
                <a:gd name="connsiteY445" fmla="*/ 5109068 h 6886994"/>
                <a:gd name="connsiteX446" fmla="*/ 6851862 w 8861126"/>
                <a:gd name="connsiteY446" fmla="*/ 5169375 h 6886994"/>
                <a:gd name="connsiteX447" fmla="*/ 6851559 w 8861126"/>
                <a:gd name="connsiteY447" fmla="*/ 5170018 h 6886994"/>
                <a:gd name="connsiteX448" fmla="*/ 6851559 w 8861126"/>
                <a:gd name="connsiteY448" fmla="*/ 5229093 h 6886994"/>
                <a:gd name="connsiteX449" fmla="*/ 6816888 w 8861126"/>
                <a:gd name="connsiteY449" fmla="*/ 5284044 h 6886994"/>
                <a:gd name="connsiteX450" fmla="*/ 6769686 w 8861126"/>
                <a:gd name="connsiteY450" fmla="*/ 5316340 h 6886994"/>
                <a:gd name="connsiteX451" fmla="*/ 6663765 w 8861126"/>
                <a:gd name="connsiteY451" fmla="*/ 5354991 h 6886994"/>
                <a:gd name="connsiteX452" fmla="*/ 6539438 w 8861126"/>
                <a:gd name="connsiteY452" fmla="*/ 5383823 h 6886994"/>
                <a:gd name="connsiteX453" fmla="*/ 6435642 w 8861126"/>
                <a:gd name="connsiteY453" fmla="*/ 5427527 h 6886994"/>
                <a:gd name="connsiteX454" fmla="*/ 6392384 w 8861126"/>
                <a:gd name="connsiteY454" fmla="*/ 5485781 h 6886994"/>
                <a:gd name="connsiteX455" fmla="*/ 6386868 w 8861126"/>
                <a:gd name="connsiteY455" fmla="*/ 5571849 h 6886994"/>
                <a:gd name="connsiteX456" fmla="*/ 6386868 w 8861126"/>
                <a:gd name="connsiteY456" fmla="*/ 5572278 h 6886994"/>
                <a:gd name="connsiteX457" fmla="*/ 6407380 w 8861126"/>
                <a:gd name="connsiteY457" fmla="*/ 5674039 h 6886994"/>
                <a:gd name="connsiteX458" fmla="*/ 6406006 w 8861126"/>
                <a:gd name="connsiteY458" fmla="*/ 5714975 h 6886994"/>
                <a:gd name="connsiteX459" fmla="*/ 6546008 w 8861126"/>
                <a:gd name="connsiteY459" fmla="*/ 5784316 h 6886994"/>
                <a:gd name="connsiteX460" fmla="*/ 6506999 w 8861126"/>
                <a:gd name="connsiteY460" fmla="*/ 5899931 h 6886994"/>
                <a:gd name="connsiteX461" fmla="*/ 6469705 w 8861126"/>
                <a:gd name="connsiteY461" fmla="*/ 5938029 h 6886994"/>
                <a:gd name="connsiteX462" fmla="*/ 6630380 w 8861126"/>
                <a:gd name="connsiteY462" fmla="*/ 5970431 h 6886994"/>
                <a:gd name="connsiteX463" fmla="*/ 6654963 w 8861126"/>
                <a:gd name="connsiteY463" fmla="*/ 6116503 h 6886994"/>
                <a:gd name="connsiteX464" fmla="*/ 6655160 w 8861126"/>
                <a:gd name="connsiteY464" fmla="*/ 6117628 h 6886994"/>
                <a:gd name="connsiteX465" fmla="*/ 6728017 w 8861126"/>
                <a:gd name="connsiteY465" fmla="*/ 6182755 h 6886994"/>
                <a:gd name="connsiteX466" fmla="*/ 6831867 w 8861126"/>
                <a:gd name="connsiteY466" fmla="*/ 6200697 h 6886994"/>
                <a:gd name="connsiteX467" fmla="*/ 6831867 w 8861126"/>
                <a:gd name="connsiteY467" fmla="*/ 6292229 h 6886994"/>
                <a:gd name="connsiteX468" fmla="*/ 7009182 w 8861126"/>
                <a:gd name="connsiteY468" fmla="*/ 6252006 h 6886994"/>
                <a:gd name="connsiteX469" fmla="*/ 7227093 w 8861126"/>
                <a:gd name="connsiteY469" fmla="*/ 6274911 h 6886994"/>
                <a:gd name="connsiteX470" fmla="*/ 7227682 w 8861126"/>
                <a:gd name="connsiteY470" fmla="*/ 6274911 h 6886994"/>
                <a:gd name="connsiteX471" fmla="*/ 7333246 w 8861126"/>
                <a:gd name="connsiteY471" fmla="*/ 6246579 h 6886994"/>
                <a:gd name="connsiteX472" fmla="*/ 7369219 w 8861126"/>
                <a:gd name="connsiteY472" fmla="*/ 6185540 h 6886994"/>
                <a:gd name="connsiteX473" fmla="*/ 7387412 w 8861126"/>
                <a:gd name="connsiteY473" fmla="*/ 6135320 h 6886994"/>
                <a:gd name="connsiteX474" fmla="*/ 7368095 w 8861126"/>
                <a:gd name="connsiteY474" fmla="*/ 6035684 h 6886994"/>
                <a:gd name="connsiteX475" fmla="*/ 7488155 w 8861126"/>
                <a:gd name="connsiteY475" fmla="*/ 6009993 h 6886994"/>
                <a:gd name="connsiteX476" fmla="*/ 7584168 w 8861126"/>
                <a:gd name="connsiteY476" fmla="*/ 6032970 h 6886994"/>
                <a:gd name="connsiteX477" fmla="*/ 7669611 w 8861126"/>
                <a:gd name="connsiteY477" fmla="*/ 6070461 h 6886994"/>
                <a:gd name="connsiteX478" fmla="*/ 7669843 w 8861126"/>
                <a:gd name="connsiteY478" fmla="*/ 6070568 h 6886994"/>
                <a:gd name="connsiteX479" fmla="*/ 7779299 w 8861126"/>
                <a:gd name="connsiteY479" fmla="*/ 6098436 h 6886994"/>
                <a:gd name="connsiteX480" fmla="*/ 7780210 w 8861126"/>
                <a:gd name="connsiteY480" fmla="*/ 6098668 h 6886994"/>
                <a:gd name="connsiteX481" fmla="*/ 7892540 w 8861126"/>
                <a:gd name="connsiteY481" fmla="*/ 6062784 h 6886994"/>
                <a:gd name="connsiteX482" fmla="*/ 7893611 w 8861126"/>
                <a:gd name="connsiteY482" fmla="*/ 6062463 h 6886994"/>
                <a:gd name="connsiteX483" fmla="*/ 7964736 w 8861126"/>
                <a:gd name="connsiteY483" fmla="*/ 5957131 h 6886994"/>
                <a:gd name="connsiteX484" fmla="*/ 8019580 w 8861126"/>
                <a:gd name="connsiteY484" fmla="*/ 5895378 h 6886994"/>
                <a:gd name="connsiteX485" fmla="*/ 8059481 w 8861126"/>
                <a:gd name="connsiteY485" fmla="*/ 5843605 h 6886994"/>
                <a:gd name="connsiteX486" fmla="*/ 8115503 w 8861126"/>
                <a:gd name="connsiteY486" fmla="*/ 5791832 h 6886994"/>
                <a:gd name="connsiteX487" fmla="*/ 8228422 w 8861126"/>
                <a:gd name="connsiteY487" fmla="*/ 5805721 h 6886994"/>
                <a:gd name="connsiteX488" fmla="*/ 8273394 w 8861126"/>
                <a:gd name="connsiteY488" fmla="*/ 5745022 h 6886994"/>
                <a:gd name="connsiteX489" fmla="*/ 8325167 w 8861126"/>
                <a:gd name="connsiteY489" fmla="*/ 5704192 h 6886994"/>
                <a:gd name="connsiteX490" fmla="*/ 8355999 w 8861126"/>
                <a:gd name="connsiteY490" fmla="*/ 5817004 h 6886994"/>
                <a:gd name="connsiteX491" fmla="*/ 8342823 w 8861126"/>
                <a:gd name="connsiteY491" fmla="*/ 5939189 h 6886994"/>
                <a:gd name="connsiteX492" fmla="*/ 8342823 w 8861126"/>
                <a:gd name="connsiteY492" fmla="*/ 5939528 h 6886994"/>
                <a:gd name="connsiteX493" fmla="*/ 8348911 w 8861126"/>
                <a:gd name="connsiteY493" fmla="*/ 5993086 h 6886994"/>
                <a:gd name="connsiteX494" fmla="*/ 8349019 w 8861126"/>
                <a:gd name="connsiteY494" fmla="*/ 5994015 h 6886994"/>
                <a:gd name="connsiteX495" fmla="*/ 8433266 w 8861126"/>
                <a:gd name="connsiteY495" fmla="*/ 6099115 h 6886994"/>
                <a:gd name="connsiteX496" fmla="*/ 8428177 w 8861126"/>
                <a:gd name="connsiteY496" fmla="*/ 6286123 h 6886994"/>
                <a:gd name="connsiteX497" fmla="*/ 8371638 w 8861126"/>
                <a:gd name="connsiteY497" fmla="*/ 6419198 h 6886994"/>
                <a:gd name="connsiteX498" fmla="*/ 8371316 w 8861126"/>
                <a:gd name="connsiteY498" fmla="*/ 6419930 h 6886994"/>
                <a:gd name="connsiteX499" fmla="*/ 8380243 w 8861126"/>
                <a:gd name="connsiteY499" fmla="*/ 6524869 h 6886994"/>
                <a:gd name="connsiteX500" fmla="*/ 8364836 w 8861126"/>
                <a:gd name="connsiteY500" fmla="*/ 6638216 h 6886994"/>
                <a:gd name="connsiteX501" fmla="*/ 8364836 w 8861126"/>
                <a:gd name="connsiteY501" fmla="*/ 6638502 h 6886994"/>
                <a:gd name="connsiteX502" fmla="*/ 8363372 w 8861126"/>
                <a:gd name="connsiteY502" fmla="*/ 6703718 h 6886994"/>
                <a:gd name="connsiteX503" fmla="*/ 8373495 w 8861126"/>
                <a:gd name="connsiteY503" fmla="*/ 6773934 h 6886994"/>
                <a:gd name="connsiteX504" fmla="*/ 8366817 w 8861126"/>
                <a:gd name="connsiteY504" fmla="*/ 6886995 h 6886994"/>
                <a:gd name="connsiteX505" fmla="*/ 8373280 w 8861126"/>
                <a:gd name="connsiteY505" fmla="*/ 6886995 h 6886994"/>
                <a:gd name="connsiteX506" fmla="*/ 8377173 w 8861126"/>
                <a:gd name="connsiteY506" fmla="*/ 6853843 h 6886994"/>
                <a:gd name="connsiteX507" fmla="*/ 8381582 w 8861126"/>
                <a:gd name="connsiteY507" fmla="*/ 6797660 h 6886994"/>
                <a:gd name="connsiteX508" fmla="*/ 8375655 w 8861126"/>
                <a:gd name="connsiteY508" fmla="*/ 6767774 h 6886994"/>
                <a:gd name="connsiteX509" fmla="*/ 8371299 w 8861126"/>
                <a:gd name="connsiteY509" fmla="*/ 6638930 h 6886994"/>
                <a:gd name="connsiteX510" fmla="*/ 8386741 w 8861126"/>
                <a:gd name="connsiteY510" fmla="*/ 6525387 h 6886994"/>
                <a:gd name="connsiteX511" fmla="*/ 8386741 w 8861126"/>
                <a:gd name="connsiteY511" fmla="*/ 6525029 h 6886994"/>
                <a:gd name="connsiteX512" fmla="*/ 8377958 w 8861126"/>
                <a:gd name="connsiteY512" fmla="*/ 6420983 h 6886994"/>
                <a:gd name="connsiteX513" fmla="*/ 8434497 w 8861126"/>
                <a:gd name="connsiteY513" fmla="*/ 6287712 h 6886994"/>
                <a:gd name="connsiteX514" fmla="*/ 8439675 w 8861126"/>
                <a:gd name="connsiteY514" fmla="*/ 6097115 h 6886994"/>
                <a:gd name="connsiteX515" fmla="*/ 8355107 w 8861126"/>
                <a:gd name="connsiteY515" fmla="*/ 5991623 h 6886994"/>
                <a:gd name="connsiteX516" fmla="*/ 8349215 w 8861126"/>
                <a:gd name="connsiteY516" fmla="*/ 5939653 h 6886994"/>
                <a:gd name="connsiteX517" fmla="*/ 8362480 w 8861126"/>
                <a:gd name="connsiteY517" fmla="*/ 5816612 h 6886994"/>
                <a:gd name="connsiteX518" fmla="*/ 8328791 w 8861126"/>
                <a:gd name="connsiteY518" fmla="*/ 5693266 h 6886994"/>
                <a:gd name="connsiteX519" fmla="*/ 8268984 w 8861126"/>
                <a:gd name="connsiteY519" fmla="*/ 5740415 h 6886994"/>
                <a:gd name="connsiteX520" fmla="*/ 8268645 w 8861126"/>
                <a:gd name="connsiteY520" fmla="*/ 5740683 h 6886994"/>
                <a:gd name="connsiteX521" fmla="*/ 8225388 w 8861126"/>
                <a:gd name="connsiteY521" fmla="*/ 5799008 h 6886994"/>
                <a:gd name="connsiteX522" fmla="*/ 8114700 w 8861126"/>
                <a:gd name="connsiteY522" fmla="*/ 5785423 h 6886994"/>
                <a:gd name="connsiteX523" fmla="*/ 8113201 w 8861126"/>
                <a:gd name="connsiteY523" fmla="*/ 5785244 h 6886994"/>
                <a:gd name="connsiteX524" fmla="*/ 8054768 w 8861126"/>
                <a:gd name="connsiteY524" fmla="*/ 5839302 h 6886994"/>
                <a:gd name="connsiteX525" fmla="*/ 8054572 w 8861126"/>
                <a:gd name="connsiteY525" fmla="*/ 5839481 h 6886994"/>
                <a:gd name="connsiteX526" fmla="*/ 8014581 w 8861126"/>
                <a:gd name="connsiteY526" fmla="*/ 5891433 h 6886994"/>
                <a:gd name="connsiteX527" fmla="*/ 7959524 w 8861126"/>
                <a:gd name="connsiteY527" fmla="*/ 5953435 h 6886994"/>
                <a:gd name="connsiteX528" fmla="*/ 7889415 w 8861126"/>
                <a:gd name="connsiteY528" fmla="*/ 6057161 h 6886994"/>
                <a:gd name="connsiteX529" fmla="*/ 7779924 w 8861126"/>
                <a:gd name="connsiteY529" fmla="*/ 6092134 h 6886994"/>
                <a:gd name="connsiteX530" fmla="*/ 7671807 w 8861126"/>
                <a:gd name="connsiteY530" fmla="*/ 6064605 h 6886994"/>
                <a:gd name="connsiteX531" fmla="*/ 7586345 w 8861126"/>
                <a:gd name="connsiteY531" fmla="*/ 6027114 h 6886994"/>
                <a:gd name="connsiteX532" fmla="*/ 7488155 w 8861126"/>
                <a:gd name="connsiteY532" fmla="*/ 6003548 h 6886994"/>
                <a:gd name="connsiteX533" fmla="*/ 7360454 w 8861126"/>
                <a:gd name="connsiteY533" fmla="*/ 6030881 h 6886994"/>
                <a:gd name="connsiteX534" fmla="*/ 7380646 w 8861126"/>
                <a:gd name="connsiteY534" fmla="*/ 6134999 h 6886994"/>
                <a:gd name="connsiteX535" fmla="*/ 7363417 w 8861126"/>
                <a:gd name="connsiteY535" fmla="*/ 6182701 h 6886994"/>
                <a:gd name="connsiteX536" fmla="*/ 7328944 w 8861126"/>
                <a:gd name="connsiteY536" fmla="*/ 6241223 h 6886994"/>
                <a:gd name="connsiteX537" fmla="*/ 7227182 w 8861126"/>
                <a:gd name="connsiteY537" fmla="*/ 6268556 h 6886994"/>
                <a:gd name="connsiteX538" fmla="*/ 7009378 w 8861126"/>
                <a:gd name="connsiteY538" fmla="*/ 6245650 h 6886994"/>
                <a:gd name="connsiteX539" fmla="*/ 7008860 w 8861126"/>
                <a:gd name="connsiteY539" fmla="*/ 6245650 h 6886994"/>
                <a:gd name="connsiteX540" fmla="*/ 6838241 w 8861126"/>
                <a:gd name="connsiteY540" fmla="*/ 6284195 h 6886994"/>
                <a:gd name="connsiteX541" fmla="*/ 6838241 w 8861126"/>
                <a:gd name="connsiteY541" fmla="*/ 6195323 h 6886994"/>
                <a:gd name="connsiteX542" fmla="*/ 6730856 w 8861126"/>
                <a:gd name="connsiteY542" fmla="*/ 6176774 h 6886994"/>
                <a:gd name="connsiteX543" fmla="*/ 6661069 w 8861126"/>
                <a:gd name="connsiteY543" fmla="*/ 6114290 h 6886994"/>
                <a:gd name="connsiteX544" fmla="*/ 6635932 w 8861126"/>
                <a:gd name="connsiteY544" fmla="*/ 5964950 h 6886994"/>
                <a:gd name="connsiteX545" fmla="*/ 6482666 w 8861126"/>
                <a:gd name="connsiteY545" fmla="*/ 5934030 h 6886994"/>
                <a:gd name="connsiteX546" fmla="*/ 6512659 w 8861126"/>
                <a:gd name="connsiteY546" fmla="*/ 5903394 h 6886994"/>
                <a:gd name="connsiteX547" fmla="*/ 6553935 w 8861126"/>
                <a:gd name="connsiteY547" fmla="*/ 5781013 h 6886994"/>
                <a:gd name="connsiteX548" fmla="*/ 6412611 w 8861126"/>
                <a:gd name="connsiteY548" fmla="*/ 5710940 h 6886994"/>
                <a:gd name="connsiteX549" fmla="*/ 6413861 w 8861126"/>
                <a:gd name="connsiteY549" fmla="*/ 5673789 h 6886994"/>
                <a:gd name="connsiteX550" fmla="*/ 6413861 w 8861126"/>
                <a:gd name="connsiteY550" fmla="*/ 5673396 h 6886994"/>
                <a:gd name="connsiteX551" fmla="*/ 6393402 w 8861126"/>
                <a:gd name="connsiteY551" fmla="*/ 5571867 h 6886994"/>
                <a:gd name="connsiteX552" fmla="*/ 6398757 w 8861126"/>
                <a:gd name="connsiteY552" fmla="*/ 5488137 h 6886994"/>
                <a:gd name="connsiteX553" fmla="*/ 6439819 w 8861126"/>
                <a:gd name="connsiteY553" fmla="*/ 5432794 h 6886994"/>
                <a:gd name="connsiteX554" fmla="*/ 6541205 w 8861126"/>
                <a:gd name="connsiteY554" fmla="*/ 5390036 h 6886994"/>
                <a:gd name="connsiteX555" fmla="*/ 6665425 w 8861126"/>
                <a:gd name="connsiteY555" fmla="*/ 5361222 h 6886994"/>
                <a:gd name="connsiteX556" fmla="*/ 6665621 w 8861126"/>
                <a:gd name="connsiteY556" fmla="*/ 5361222 h 6886994"/>
                <a:gd name="connsiteX557" fmla="*/ 6772310 w 8861126"/>
                <a:gd name="connsiteY557" fmla="*/ 5322302 h 6886994"/>
                <a:gd name="connsiteX558" fmla="*/ 6772703 w 8861126"/>
                <a:gd name="connsiteY558" fmla="*/ 5322159 h 6886994"/>
                <a:gd name="connsiteX559" fmla="*/ 6821673 w 8861126"/>
                <a:gd name="connsiteY559" fmla="*/ 5288650 h 6886994"/>
                <a:gd name="connsiteX560" fmla="*/ 6857557 w 8861126"/>
                <a:gd name="connsiteY560" fmla="*/ 5231753 h 6886994"/>
                <a:gd name="connsiteX561" fmla="*/ 6858057 w 8861126"/>
                <a:gd name="connsiteY561" fmla="*/ 5230967 h 6886994"/>
                <a:gd name="connsiteX562" fmla="*/ 6858057 w 8861126"/>
                <a:gd name="connsiteY562" fmla="*/ 5171500 h 6886994"/>
                <a:gd name="connsiteX563" fmla="*/ 6885301 w 8861126"/>
                <a:gd name="connsiteY563" fmla="*/ 5113424 h 6886994"/>
                <a:gd name="connsiteX564" fmla="*/ 6917846 w 8861126"/>
                <a:gd name="connsiteY564" fmla="*/ 5090787 h 6886994"/>
                <a:gd name="connsiteX565" fmla="*/ 7022910 w 8861126"/>
                <a:gd name="connsiteY565" fmla="*/ 5042299 h 6886994"/>
                <a:gd name="connsiteX566" fmla="*/ 7194494 w 8861126"/>
                <a:gd name="connsiteY566" fmla="*/ 5037068 h 6886994"/>
                <a:gd name="connsiteX567" fmla="*/ 7195833 w 8861126"/>
                <a:gd name="connsiteY567" fmla="*/ 5037068 h 6886994"/>
                <a:gd name="connsiteX568" fmla="*/ 7262674 w 8861126"/>
                <a:gd name="connsiteY568" fmla="*/ 4965995 h 6886994"/>
                <a:gd name="connsiteX569" fmla="*/ 7328872 w 8861126"/>
                <a:gd name="connsiteY569" fmla="*/ 4910902 h 6886994"/>
                <a:gd name="connsiteX570" fmla="*/ 7449486 w 8861126"/>
                <a:gd name="connsiteY570" fmla="*/ 4781219 h 6886994"/>
                <a:gd name="connsiteX571" fmla="*/ 7541910 w 8861126"/>
                <a:gd name="connsiteY571" fmla="*/ 4741818 h 6886994"/>
                <a:gd name="connsiteX572" fmla="*/ 7542124 w 8861126"/>
                <a:gd name="connsiteY572" fmla="*/ 4741729 h 6886994"/>
                <a:gd name="connsiteX573" fmla="*/ 7674664 w 8861126"/>
                <a:gd name="connsiteY573" fmla="*/ 4663176 h 6886994"/>
                <a:gd name="connsiteX574" fmla="*/ 7767641 w 8861126"/>
                <a:gd name="connsiteY574" fmla="*/ 4595514 h 6886994"/>
                <a:gd name="connsiteX575" fmla="*/ 7926210 w 8861126"/>
                <a:gd name="connsiteY575" fmla="*/ 4627399 h 6886994"/>
                <a:gd name="connsiteX576" fmla="*/ 8098633 w 8861126"/>
                <a:gd name="connsiteY576" fmla="*/ 4658338 h 6886994"/>
                <a:gd name="connsiteX577" fmla="*/ 8255916 w 8861126"/>
                <a:gd name="connsiteY577" fmla="*/ 4655071 h 6886994"/>
                <a:gd name="connsiteX578" fmla="*/ 8401077 w 8861126"/>
                <a:gd name="connsiteY578" fmla="*/ 4658338 h 6886994"/>
                <a:gd name="connsiteX579" fmla="*/ 8401899 w 8861126"/>
                <a:gd name="connsiteY579" fmla="*/ 4658338 h 6886994"/>
                <a:gd name="connsiteX580" fmla="*/ 8546006 w 8861126"/>
                <a:gd name="connsiteY580" fmla="*/ 4585141 h 6886994"/>
                <a:gd name="connsiteX581" fmla="*/ 8711377 w 8861126"/>
                <a:gd name="connsiteY581" fmla="*/ 4502858 h 6886994"/>
                <a:gd name="connsiteX582" fmla="*/ 8712466 w 8861126"/>
                <a:gd name="connsiteY582" fmla="*/ 4502304 h 6886994"/>
                <a:gd name="connsiteX583" fmla="*/ 8761400 w 8861126"/>
                <a:gd name="connsiteY583" fmla="*/ 4381155 h 6886994"/>
                <a:gd name="connsiteX584" fmla="*/ 8859449 w 8861126"/>
                <a:gd name="connsiteY584" fmla="*/ 4263666 h 6886994"/>
                <a:gd name="connsiteX585" fmla="*/ 8860199 w 8861126"/>
                <a:gd name="connsiteY585" fmla="*/ 4262773 h 6886994"/>
                <a:gd name="connsiteX586" fmla="*/ 8861127 w 8861126"/>
                <a:gd name="connsiteY586" fmla="*/ 4144712 h 6886994"/>
                <a:gd name="connsiteX587" fmla="*/ 8787573 w 8861126"/>
                <a:gd name="connsiteY587" fmla="*/ 4056608 h 6886994"/>
                <a:gd name="connsiteX588" fmla="*/ 8787234 w 8861126"/>
                <a:gd name="connsiteY588" fmla="*/ 4056198 h 6886994"/>
                <a:gd name="connsiteX589" fmla="*/ 8677814 w 8861126"/>
                <a:gd name="connsiteY589" fmla="*/ 3990535 h 6886994"/>
                <a:gd name="connsiteX590" fmla="*/ 8495982 w 8861126"/>
                <a:gd name="connsiteY590" fmla="*/ 3993141 h 6886994"/>
                <a:gd name="connsiteX591" fmla="*/ 8241544 w 8861126"/>
                <a:gd name="connsiteY591" fmla="*/ 3860888 h 6886994"/>
                <a:gd name="connsiteX592" fmla="*/ 8240955 w 8861126"/>
                <a:gd name="connsiteY592" fmla="*/ 3860566 h 6886994"/>
                <a:gd name="connsiteX593" fmla="*/ 8052072 w 8861126"/>
                <a:gd name="connsiteY593" fmla="*/ 3846766 h 6886994"/>
                <a:gd name="connsiteX594" fmla="*/ 7872830 w 8861126"/>
                <a:gd name="connsiteY594" fmla="*/ 3819987 h 6886994"/>
                <a:gd name="connsiteX595" fmla="*/ 7817843 w 8861126"/>
                <a:gd name="connsiteY595" fmla="*/ 3777979 h 6886994"/>
                <a:gd name="connsiteX596" fmla="*/ 7836963 w 8861126"/>
                <a:gd name="connsiteY596" fmla="*/ 3706568 h 6886994"/>
                <a:gd name="connsiteX597" fmla="*/ 7900288 w 8861126"/>
                <a:gd name="connsiteY597" fmla="*/ 3628908 h 6886994"/>
                <a:gd name="connsiteX598" fmla="*/ 7900555 w 8861126"/>
                <a:gd name="connsiteY598" fmla="*/ 3628605 h 6886994"/>
                <a:gd name="connsiteX599" fmla="*/ 7943313 w 8861126"/>
                <a:gd name="connsiteY599" fmla="*/ 3537287 h 6886994"/>
                <a:gd name="connsiteX600" fmla="*/ 7905483 w 8861126"/>
                <a:gd name="connsiteY600" fmla="*/ 3483301 h 6886994"/>
                <a:gd name="connsiteX601" fmla="*/ 7888344 w 8861126"/>
                <a:gd name="connsiteY601" fmla="*/ 3404195 h 6886994"/>
                <a:gd name="connsiteX602" fmla="*/ 8003941 w 8861126"/>
                <a:gd name="connsiteY602" fmla="*/ 3297435 h 6886994"/>
                <a:gd name="connsiteX603" fmla="*/ 8004691 w 8861126"/>
                <a:gd name="connsiteY603" fmla="*/ 3296739 h 6886994"/>
                <a:gd name="connsiteX604" fmla="*/ 8029792 w 8861126"/>
                <a:gd name="connsiteY604" fmla="*/ 3178285 h 6886994"/>
                <a:gd name="connsiteX605" fmla="*/ 7990034 w 8861126"/>
                <a:gd name="connsiteY605" fmla="*/ 3164949 h 6886994"/>
                <a:gd name="connsiteX606" fmla="*/ 7872205 w 8861126"/>
                <a:gd name="connsiteY606" fmla="*/ 3230522 h 6886994"/>
                <a:gd name="connsiteX607" fmla="*/ 7871830 w 8861126"/>
                <a:gd name="connsiteY607" fmla="*/ 3230737 h 6886994"/>
                <a:gd name="connsiteX608" fmla="*/ 7740166 w 8861126"/>
                <a:gd name="connsiteY608" fmla="*/ 3360295 h 6886994"/>
                <a:gd name="connsiteX609" fmla="*/ 7622480 w 8861126"/>
                <a:gd name="connsiteY609" fmla="*/ 3450201 h 6886994"/>
                <a:gd name="connsiteX610" fmla="*/ 7500902 w 8861126"/>
                <a:gd name="connsiteY610" fmla="*/ 3561300 h 6886994"/>
                <a:gd name="connsiteX611" fmla="*/ 7500384 w 8861126"/>
                <a:gd name="connsiteY611" fmla="*/ 3561764 h 6886994"/>
                <a:gd name="connsiteX612" fmla="*/ 7449022 w 8861126"/>
                <a:gd name="connsiteY612" fmla="*/ 3681985 h 6886994"/>
                <a:gd name="connsiteX613" fmla="*/ 7556227 w 8861126"/>
                <a:gd name="connsiteY613" fmla="*/ 3769285 h 6886994"/>
                <a:gd name="connsiteX614" fmla="*/ 7556513 w 8861126"/>
                <a:gd name="connsiteY614" fmla="*/ 3769535 h 6886994"/>
                <a:gd name="connsiteX615" fmla="*/ 7670022 w 8861126"/>
                <a:gd name="connsiteY615" fmla="*/ 3824075 h 6886994"/>
                <a:gd name="connsiteX616" fmla="*/ 7588845 w 8861126"/>
                <a:gd name="connsiteY616" fmla="*/ 3921088 h 6886994"/>
                <a:gd name="connsiteX617" fmla="*/ 7588703 w 8861126"/>
                <a:gd name="connsiteY617" fmla="*/ 3921284 h 6886994"/>
                <a:gd name="connsiteX618" fmla="*/ 7507597 w 8861126"/>
                <a:gd name="connsiteY618" fmla="*/ 4055305 h 6886994"/>
                <a:gd name="connsiteX619" fmla="*/ 7435828 w 8861126"/>
                <a:gd name="connsiteY619" fmla="*/ 4165207 h 6886994"/>
                <a:gd name="connsiteX620" fmla="*/ 7354313 w 8861126"/>
                <a:gd name="connsiteY620" fmla="*/ 4119647 h 6886994"/>
                <a:gd name="connsiteX621" fmla="*/ 7313447 w 8861126"/>
                <a:gd name="connsiteY621" fmla="*/ 4030704 h 6886994"/>
                <a:gd name="connsiteX622" fmla="*/ 7178444 w 8861126"/>
                <a:gd name="connsiteY622" fmla="*/ 3989732 h 6886994"/>
                <a:gd name="connsiteX623" fmla="*/ 7254051 w 8861126"/>
                <a:gd name="connsiteY623" fmla="*/ 3897272 h 6886994"/>
                <a:gd name="connsiteX624" fmla="*/ 7254408 w 8861126"/>
                <a:gd name="connsiteY624" fmla="*/ 3896826 h 6886994"/>
                <a:gd name="connsiteX625" fmla="*/ 7281437 w 8861126"/>
                <a:gd name="connsiteY625" fmla="*/ 3820201 h 6886994"/>
                <a:gd name="connsiteX626" fmla="*/ 7185728 w 8861126"/>
                <a:gd name="connsiteY626" fmla="*/ 3809900 h 6886994"/>
                <a:gd name="connsiteX627" fmla="*/ 7184943 w 8861126"/>
                <a:gd name="connsiteY627" fmla="*/ 3809811 h 6886994"/>
                <a:gd name="connsiteX628" fmla="*/ 7050011 w 8861126"/>
                <a:gd name="connsiteY628" fmla="*/ 3861584 h 6886994"/>
                <a:gd name="connsiteX629" fmla="*/ 7029141 w 8861126"/>
                <a:gd name="connsiteY629" fmla="*/ 3770124 h 6886994"/>
                <a:gd name="connsiteX630" fmla="*/ 6921042 w 8861126"/>
                <a:gd name="connsiteY630" fmla="*/ 3754414 h 6886994"/>
                <a:gd name="connsiteX631" fmla="*/ 6852041 w 8861126"/>
                <a:gd name="connsiteY631" fmla="*/ 3877348 h 6886994"/>
                <a:gd name="connsiteX632" fmla="*/ 6760492 w 8861126"/>
                <a:gd name="connsiteY632" fmla="*/ 3993766 h 6886994"/>
                <a:gd name="connsiteX633" fmla="*/ 6778219 w 8861126"/>
                <a:gd name="connsiteY633" fmla="*/ 4131840 h 6886994"/>
                <a:gd name="connsiteX634" fmla="*/ 6681100 w 8861126"/>
                <a:gd name="connsiteY634" fmla="*/ 4277519 h 6886994"/>
                <a:gd name="connsiteX635" fmla="*/ 6680832 w 8861126"/>
                <a:gd name="connsiteY635" fmla="*/ 4277948 h 6886994"/>
                <a:gd name="connsiteX636" fmla="*/ 6657106 w 8861126"/>
                <a:gd name="connsiteY636" fmla="*/ 4360963 h 6886994"/>
                <a:gd name="connsiteX637" fmla="*/ 6656945 w 8861126"/>
                <a:gd name="connsiteY637" fmla="*/ 4361535 h 6886994"/>
                <a:gd name="connsiteX638" fmla="*/ 6672334 w 8861126"/>
                <a:gd name="connsiteY638" fmla="*/ 4543312 h 6886994"/>
                <a:gd name="connsiteX639" fmla="*/ 6576661 w 8861126"/>
                <a:gd name="connsiteY639" fmla="*/ 4702203 h 6886994"/>
                <a:gd name="connsiteX640" fmla="*/ 6576233 w 8861126"/>
                <a:gd name="connsiteY640" fmla="*/ 4702899 h 6886994"/>
                <a:gd name="connsiteX641" fmla="*/ 6568038 w 8861126"/>
                <a:gd name="connsiteY641" fmla="*/ 4881248 h 6886994"/>
                <a:gd name="connsiteX642" fmla="*/ 6568038 w 8861126"/>
                <a:gd name="connsiteY642" fmla="*/ 4882569 h 6886994"/>
                <a:gd name="connsiteX643" fmla="*/ 6721805 w 8861126"/>
                <a:gd name="connsiteY643" fmla="*/ 5056242 h 6886994"/>
                <a:gd name="connsiteX644" fmla="*/ 6722590 w 8861126"/>
                <a:gd name="connsiteY644" fmla="*/ 5057116 h 6886994"/>
                <a:gd name="connsiteX645" fmla="*/ 6841240 w 8861126"/>
                <a:gd name="connsiteY645" fmla="*/ 5074737 h 6886994"/>
                <a:gd name="connsiteX646" fmla="*/ 6831849 w 8861126"/>
                <a:gd name="connsiteY646" fmla="*/ 5144685 h 6886994"/>
                <a:gd name="connsiteX647" fmla="*/ 6728089 w 8861126"/>
                <a:gd name="connsiteY647" fmla="*/ 5207259 h 6886994"/>
                <a:gd name="connsiteX648" fmla="*/ 6631308 w 8861126"/>
                <a:gd name="connsiteY648" fmla="*/ 5232985 h 6886994"/>
                <a:gd name="connsiteX649" fmla="*/ 6531333 w 8861126"/>
                <a:gd name="connsiteY649" fmla="*/ 5344529 h 6886994"/>
                <a:gd name="connsiteX650" fmla="*/ 6374228 w 8861126"/>
                <a:gd name="connsiteY650" fmla="*/ 5416976 h 6886994"/>
                <a:gd name="connsiteX651" fmla="*/ 6336023 w 8861126"/>
                <a:gd name="connsiteY651" fmla="*/ 5400623 h 6886994"/>
                <a:gd name="connsiteX652" fmla="*/ 6229798 w 8861126"/>
                <a:gd name="connsiteY652" fmla="*/ 5374790 h 6886994"/>
                <a:gd name="connsiteX653" fmla="*/ 6082656 w 8861126"/>
                <a:gd name="connsiteY653" fmla="*/ 5432615 h 6886994"/>
                <a:gd name="connsiteX654" fmla="*/ 6082084 w 8861126"/>
                <a:gd name="connsiteY654" fmla="*/ 5432829 h 6886994"/>
                <a:gd name="connsiteX655" fmla="*/ 6000086 w 8861126"/>
                <a:gd name="connsiteY655" fmla="*/ 5508186 h 6886994"/>
                <a:gd name="connsiteX656" fmla="*/ 5988071 w 8861126"/>
                <a:gd name="connsiteY656" fmla="*/ 5575223 h 6886994"/>
                <a:gd name="connsiteX657" fmla="*/ 5969647 w 8861126"/>
                <a:gd name="connsiteY657" fmla="*/ 5635137 h 6886994"/>
                <a:gd name="connsiteX658" fmla="*/ 5875813 w 8861126"/>
                <a:gd name="connsiteY658" fmla="*/ 5602592 h 6886994"/>
                <a:gd name="connsiteX659" fmla="*/ 5814042 w 8861126"/>
                <a:gd name="connsiteY659" fmla="*/ 5580347 h 6886994"/>
                <a:gd name="connsiteX660" fmla="*/ 5815827 w 8861126"/>
                <a:gd name="connsiteY660" fmla="*/ 5699479 h 6886994"/>
                <a:gd name="connsiteX661" fmla="*/ 5891880 w 8861126"/>
                <a:gd name="connsiteY661" fmla="*/ 5790207 h 6886994"/>
                <a:gd name="connsiteX662" fmla="*/ 5944671 w 8861126"/>
                <a:gd name="connsiteY662" fmla="*/ 5893593 h 6886994"/>
                <a:gd name="connsiteX663" fmla="*/ 5945082 w 8861126"/>
                <a:gd name="connsiteY663" fmla="*/ 5894432 h 6886994"/>
                <a:gd name="connsiteX664" fmla="*/ 6081620 w 8861126"/>
                <a:gd name="connsiteY664" fmla="*/ 5975020 h 6886994"/>
                <a:gd name="connsiteX665" fmla="*/ 6138749 w 8861126"/>
                <a:gd name="connsiteY665" fmla="*/ 6050894 h 6886994"/>
                <a:gd name="connsiteX666" fmla="*/ 6138749 w 8861126"/>
                <a:gd name="connsiteY666" fmla="*/ 6129357 h 6886994"/>
                <a:gd name="connsiteX667" fmla="*/ 6068444 w 8861126"/>
                <a:gd name="connsiteY667" fmla="*/ 6087814 h 6886994"/>
                <a:gd name="connsiteX668" fmla="*/ 6067195 w 8861126"/>
                <a:gd name="connsiteY668" fmla="*/ 6087100 h 6886994"/>
                <a:gd name="connsiteX669" fmla="*/ 5981144 w 8861126"/>
                <a:gd name="connsiteY669" fmla="*/ 6114182 h 6886994"/>
                <a:gd name="connsiteX670" fmla="*/ 6038951 w 8861126"/>
                <a:gd name="connsiteY670" fmla="*/ 6187254 h 6886994"/>
                <a:gd name="connsiteX671" fmla="*/ 6029150 w 8861126"/>
                <a:gd name="connsiteY671" fmla="*/ 6268627 h 6886994"/>
                <a:gd name="connsiteX672" fmla="*/ 5974110 w 8861126"/>
                <a:gd name="connsiteY672" fmla="*/ 6274304 h 6886994"/>
                <a:gd name="connsiteX673" fmla="*/ 6020295 w 8861126"/>
                <a:gd name="connsiteY673" fmla="*/ 6420840 h 6886994"/>
                <a:gd name="connsiteX674" fmla="*/ 6024312 w 8861126"/>
                <a:gd name="connsiteY674" fmla="*/ 6523566 h 6886994"/>
                <a:gd name="connsiteX675" fmla="*/ 5974824 w 8861126"/>
                <a:gd name="connsiteY675" fmla="*/ 6537455 h 6886994"/>
                <a:gd name="connsiteX676" fmla="*/ 5964113 w 8861126"/>
                <a:gd name="connsiteY676" fmla="*/ 6461920 h 6886994"/>
                <a:gd name="connsiteX677" fmla="*/ 5963952 w 8861126"/>
                <a:gd name="connsiteY677" fmla="*/ 6460813 h 6886994"/>
                <a:gd name="connsiteX678" fmla="*/ 5903092 w 8861126"/>
                <a:gd name="connsiteY678" fmla="*/ 6402666 h 6886994"/>
                <a:gd name="connsiteX679" fmla="*/ 5873706 w 8861126"/>
                <a:gd name="connsiteY679" fmla="*/ 6482129 h 6886994"/>
                <a:gd name="connsiteX680" fmla="*/ 5838679 w 8861126"/>
                <a:gd name="connsiteY680" fmla="*/ 6481504 h 6886994"/>
                <a:gd name="connsiteX681" fmla="*/ 5816220 w 8861126"/>
                <a:gd name="connsiteY681" fmla="*/ 6405005 h 6886994"/>
                <a:gd name="connsiteX682" fmla="*/ 5780836 w 8861126"/>
                <a:gd name="connsiteY682" fmla="*/ 6373280 h 6886994"/>
                <a:gd name="connsiteX683" fmla="*/ 5782192 w 8861126"/>
                <a:gd name="connsiteY683" fmla="*/ 6295638 h 6886994"/>
                <a:gd name="connsiteX684" fmla="*/ 5655169 w 8861126"/>
                <a:gd name="connsiteY684" fmla="*/ 6253934 h 6886994"/>
                <a:gd name="connsiteX685" fmla="*/ 5605753 w 8861126"/>
                <a:gd name="connsiteY685" fmla="*/ 6185665 h 6886994"/>
                <a:gd name="connsiteX686" fmla="*/ 5519916 w 8861126"/>
                <a:gd name="connsiteY686" fmla="*/ 6129786 h 6886994"/>
                <a:gd name="connsiteX687" fmla="*/ 5561442 w 8861126"/>
                <a:gd name="connsiteY687" fmla="*/ 5936475 h 6886994"/>
                <a:gd name="connsiteX688" fmla="*/ 5561835 w 8861126"/>
                <a:gd name="connsiteY688" fmla="*/ 5934690 h 6886994"/>
                <a:gd name="connsiteX689" fmla="*/ 5293810 w 8861126"/>
                <a:gd name="connsiteY689" fmla="*/ 5687910 h 6886994"/>
                <a:gd name="connsiteX690" fmla="*/ 5256319 w 8861126"/>
                <a:gd name="connsiteY690" fmla="*/ 5631603 h 6886994"/>
                <a:gd name="connsiteX691" fmla="*/ 5235235 w 8861126"/>
                <a:gd name="connsiteY691" fmla="*/ 5542695 h 6886994"/>
                <a:gd name="connsiteX692" fmla="*/ 5262371 w 8861126"/>
                <a:gd name="connsiteY692" fmla="*/ 5424688 h 6886994"/>
                <a:gd name="connsiteX693" fmla="*/ 5239609 w 8861126"/>
                <a:gd name="connsiteY693" fmla="*/ 5406925 h 6886994"/>
                <a:gd name="connsiteX694" fmla="*/ 5267799 w 8861126"/>
                <a:gd name="connsiteY694" fmla="*/ 5300094 h 6886994"/>
                <a:gd name="connsiteX695" fmla="*/ 4751709 w 8861126"/>
                <a:gd name="connsiteY695" fmla="*/ 4970066 h 6886994"/>
                <a:gd name="connsiteX696" fmla="*/ 4750959 w 8861126"/>
                <a:gd name="connsiteY696" fmla="*/ 4969566 h 6886994"/>
                <a:gd name="connsiteX697" fmla="*/ 4617349 w 8861126"/>
                <a:gd name="connsiteY697" fmla="*/ 4965460 h 6886994"/>
                <a:gd name="connsiteX698" fmla="*/ 4592533 w 8861126"/>
                <a:gd name="connsiteY698" fmla="*/ 4928112 h 6886994"/>
                <a:gd name="connsiteX699" fmla="*/ 4459583 w 8861126"/>
                <a:gd name="connsiteY699" fmla="*/ 4851613 h 6886994"/>
                <a:gd name="connsiteX700" fmla="*/ 4435428 w 8861126"/>
                <a:gd name="connsiteY700" fmla="*/ 4815104 h 6886994"/>
                <a:gd name="connsiteX701" fmla="*/ 4446765 w 8861126"/>
                <a:gd name="connsiteY701" fmla="*/ 4742764 h 6886994"/>
                <a:gd name="connsiteX702" fmla="*/ 4446908 w 8861126"/>
                <a:gd name="connsiteY702" fmla="*/ 4741818 h 6886994"/>
                <a:gd name="connsiteX703" fmla="*/ 4389779 w 8861126"/>
                <a:gd name="connsiteY703" fmla="*/ 4613884 h 6886994"/>
                <a:gd name="connsiteX704" fmla="*/ 4389439 w 8861126"/>
                <a:gd name="connsiteY704" fmla="*/ 4613152 h 6886994"/>
                <a:gd name="connsiteX705" fmla="*/ 4317421 w 8861126"/>
                <a:gd name="connsiteY705" fmla="*/ 4556791 h 6886994"/>
                <a:gd name="connsiteX706" fmla="*/ 4273610 w 8861126"/>
                <a:gd name="connsiteY706" fmla="*/ 4637503 h 6886994"/>
                <a:gd name="connsiteX707" fmla="*/ 4250705 w 8861126"/>
                <a:gd name="connsiteY707" fmla="*/ 4689116 h 6886994"/>
                <a:gd name="connsiteX708" fmla="*/ 4188720 w 8861126"/>
                <a:gd name="connsiteY708" fmla="*/ 4657963 h 6886994"/>
                <a:gd name="connsiteX709" fmla="*/ 4162833 w 8861126"/>
                <a:gd name="connsiteY709" fmla="*/ 4610849 h 6886994"/>
                <a:gd name="connsiteX710" fmla="*/ 4144838 w 8861126"/>
                <a:gd name="connsiteY710" fmla="*/ 4544116 h 6886994"/>
                <a:gd name="connsiteX711" fmla="*/ 4215214 w 8861126"/>
                <a:gd name="connsiteY711" fmla="*/ 4514284 h 6886994"/>
                <a:gd name="connsiteX712" fmla="*/ 4163226 w 8861126"/>
                <a:gd name="connsiteY712" fmla="*/ 4463421 h 6886994"/>
                <a:gd name="connsiteX713" fmla="*/ 3935620 w 8861126"/>
                <a:gd name="connsiteY713" fmla="*/ 4586391 h 6886994"/>
                <a:gd name="connsiteX714" fmla="*/ 3998195 w 8861126"/>
                <a:gd name="connsiteY714" fmla="*/ 4663783 h 6886994"/>
                <a:gd name="connsiteX715" fmla="*/ 4001604 w 8861126"/>
                <a:gd name="connsiteY715" fmla="*/ 4691598 h 6886994"/>
                <a:gd name="connsiteX716" fmla="*/ 3944475 w 8861126"/>
                <a:gd name="connsiteY716" fmla="*/ 4740747 h 6886994"/>
                <a:gd name="connsiteX717" fmla="*/ 4113310 w 8861126"/>
                <a:gd name="connsiteY717" fmla="*/ 4928505 h 6886994"/>
                <a:gd name="connsiteX718" fmla="*/ 4128949 w 8861126"/>
                <a:gd name="connsiteY718" fmla="*/ 4969102 h 6886994"/>
                <a:gd name="connsiteX719" fmla="*/ 4202146 w 8861126"/>
                <a:gd name="connsiteY719" fmla="*/ 4980689 h 6886994"/>
                <a:gd name="connsiteX720" fmla="*/ 4256097 w 8861126"/>
                <a:gd name="connsiteY720" fmla="*/ 5169304 h 6886994"/>
                <a:gd name="connsiteX721" fmla="*/ 4566343 w 8861126"/>
                <a:gd name="connsiteY721" fmla="*/ 5338245 h 6886994"/>
                <a:gd name="connsiteX722" fmla="*/ 4566986 w 8861126"/>
                <a:gd name="connsiteY722" fmla="*/ 5338602 h 6886994"/>
                <a:gd name="connsiteX723" fmla="*/ 4679084 w 8861126"/>
                <a:gd name="connsiteY723" fmla="*/ 5345118 h 6886994"/>
                <a:gd name="connsiteX724" fmla="*/ 4679870 w 8861126"/>
                <a:gd name="connsiteY724" fmla="*/ 5351545 h 6886994"/>
                <a:gd name="connsiteX725" fmla="*/ 4654643 w 8861126"/>
                <a:gd name="connsiteY725" fmla="*/ 5395553 h 6886994"/>
                <a:gd name="connsiteX726" fmla="*/ 4649323 w 8861126"/>
                <a:gd name="connsiteY726" fmla="*/ 5440470 h 6886994"/>
                <a:gd name="connsiteX727" fmla="*/ 4968175 w 8861126"/>
                <a:gd name="connsiteY727" fmla="*/ 5588202 h 6886994"/>
                <a:gd name="connsiteX728" fmla="*/ 4968585 w 8861126"/>
                <a:gd name="connsiteY728" fmla="*/ 5588381 h 6886994"/>
                <a:gd name="connsiteX729" fmla="*/ 5041300 w 8861126"/>
                <a:gd name="connsiteY729" fmla="*/ 5599860 h 6886994"/>
                <a:gd name="connsiteX730" fmla="*/ 5113300 w 8861126"/>
                <a:gd name="connsiteY730" fmla="*/ 5692249 h 6886994"/>
                <a:gd name="connsiteX731" fmla="*/ 5124012 w 8861126"/>
                <a:gd name="connsiteY731" fmla="*/ 5779567 h 6886994"/>
                <a:gd name="connsiteX732" fmla="*/ 5078862 w 8861126"/>
                <a:gd name="connsiteY732" fmla="*/ 5785101 h 6886994"/>
                <a:gd name="connsiteX733" fmla="*/ 5037461 w 8861126"/>
                <a:gd name="connsiteY733" fmla="*/ 5698069 h 6886994"/>
                <a:gd name="connsiteX734" fmla="*/ 4853220 w 8861126"/>
                <a:gd name="connsiteY734" fmla="*/ 5657346 h 6886994"/>
                <a:gd name="connsiteX735" fmla="*/ 4788950 w 8861126"/>
                <a:gd name="connsiteY735" fmla="*/ 5824699 h 6886994"/>
                <a:gd name="connsiteX736" fmla="*/ 4923561 w 8861126"/>
                <a:gd name="connsiteY736" fmla="*/ 5911678 h 6886994"/>
                <a:gd name="connsiteX737" fmla="*/ 4906511 w 8861126"/>
                <a:gd name="connsiteY737" fmla="*/ 6011850 h 6886994"/>
                <a:gd name="connsiteX738" fmla="*/ 4866556 w 8861126"/>
                <a:gd name="connsiteY738" fmla="*/ 6006887 h 6886994"/>
                <a:gd name="connsiteX739" fmla="*/ 4826602 w 8861126"/>
                <a:gd name="connsiteY739" fmla="*/ 6033398 h 6886994"/>
                <a:gd name="connsiteX740" fmla="*/ 4748888 w 8861126"/>
                <a:gd name="connsiteY740" fmla="*/ 6238706 h 6886994"/>
                <a:gd name="connsiteX741" fmla="*/ 4703239 w 8861126"/>
                <a:gd name="connsiteY741" fmla="*/ 6263843 h 6886994"/>
                <a:gd name="connsiteX742" fmla="*/ 4673371 w 8861126"/>
                <a:gd name="connsiteY742" fmla="*/ 6248792 h 6886994"/>
                <a:gd name="connsiteX743" fmla="*/ 4666230 w 8861126"/>
                <a:gd name="connsiteY743" fmla="*/ 6190717 h 6886994"/>
                <a:gd name="connsiteX744" fmla="*/ 4701204 w 8861126"/>
                <a:gd name="connsiteY744" fmla="*/ 6133892 h 6886994"/>
                <a:gd name="connsiteX745" fmla="*/ 4678227 w 8861126"/>
                <a:gd name="connsiteY745" fmla="*/ 6107113 h 6886994"/>
                <a:gd name="connsiteX746" fmla="*/ 4773668 w 8861126"/>
                <a:gd name="connsiteY746" fmla="*/ 6054589 h 6886994"/>
                <a:gd name="connsiteX747" fmla="*/ 4757494 w 8861126"/>
                <a:gd name="connsiteY747" fmla="*/ 6012582 h 6886994"/>
                <a:gd name="connsiteX748" fmla="*/ 4757494 w 8861126"/>
                <a:gd name="connsiteY748" fmla="*/ 6012421 h 6886994"/>
                <a:gd name="connsiteX749" fmla="*/ 4676531 w 8861126"/>
                <a:gd name="connsiteY749" fmla="*/ 5857102 h 6886994"/>
                <a:gd name="connsiteX750" fmla="*/ 4624222 w 8861126"/>
                <a:gd name="connsiteY750" fmla="*/ 5778103 h 6886994"/>
                <a:gd name="connsiteX751" fmla="*/ 4547865 w 8861126"/>
                <a:gd name="connsiteY751" fmla="*/ 5817968 h 6886994"/>
                <a:gd name="connsiteX752" fmla="*/ 4527924 w 8861126"/>
                <a:gd name="connsiteY752" fmla="*/ 5739291 h 6886994"/>
                <a:gd name="connsiteX753" fmla="*/ 4477293 w 8861126"/>
                <a:gd name="connsiteY753" fmla="*/ 5745504 h 6886994"/>
                <a:gd name="connsiteX754" fmla="*/ 4453192 w 8861126"/>
                <a:gd name="connsiteY754" fmla="*/ 5633888 h 6886994"/>
                <a:gd name="connsiteX755" fmla="*/ 4371265 w 8861126"/>
                <a:gd name="connsiteY755" fmla="*/ 5672843 h 6886994"/>
                <a:gd name="connsiteX756" fmla="*/ 4393189 w 8861126"/>
                <a:gd name="connsiteY756" fmla="*/ 5634655 h 6886994"/>
                <a:gd name="connsiteX757" fmla="*/ 4168725 w 8861126"/>
                <a:gd name="connsiteY757" fmla="*/ 5505544 h 6886994"/>
                <a:gd name="connsiteX758" fmla="*/ 4166832 w 8861126"/>
                <a:gd name="connsiteY758" fmla="*/ 5504455 h 6886994"/>
                <a:gd name="connsiteX759" fmla="*/ 4120630 w 8861126"/>
                <a:gd name="connsiteY759" fmla="*/ 5540589 h 6886994"/>
                <a:gd name="connsiteX760" fmla="*/ 4026491 w 8861126"/>
                <a:gd name="connsiteY760" fmla="*/ 5431008 h 6886994"/>
                <a:gd name="connsiteX761" fmla="*/ 3873243 w 8861126"/>
                <a:gd name="connsiteY761" fmla="*/ 5274296 h 6886994"/>
                <a:gd name="connsiteX762" fmla="*/ 3873118 w 8861126"/>
                <a:gd name="connsiteY762" fmla="*/ 5274189 h 6886994"/>
                <a:gd name="connsiteX763" fmla="*/ 3678522 w 8861126"/>
                <a:gd name="connsiteY763" fmla="*/ 5112835 h 6886994"/>
                <a:gd name="connsiteX764" fmla="*/ 3556301 w 8861126"/>
                <a:gd name="connsiteY764" fmla="*/ 4870644 h 6886994"/>
                <a:gd name="connsiteX765" fmla="*/ 3555748 w 8861126"/>
                <a:gd name="connsiteY765" fmla="*/ 4869537 h 6886994"/>
                <a:gd name="connsiteX766" fmla="*/ 3337943 w 8861126"/>
                <a:gd name="connsiteY766" fmla="*/ 4782219 h 6886994"/>
                <a:gd name="connsiteX767" fmla="*/ 3335533 w 8861126"/>
                <a:gd name="connsiteY767" fmla="*/ 4781254 h 6886994"/>
                <a:gd name="connsiteX768" fmla="*/ 3264604 w 8861126"/>
                <a:gd name="connsiteY768" fmla="*/ 4884123 h 6886994"/>
                <a:gd name="connsiteX769" fmla="*/ 2908404 w 8861126"/>
                <a:gd name="connsiteY769" fmla="*/ 5071488 h 6886994"/>
                <a:gd name="connsiteX770" fmla="*/ 2774008 w 8861126"/>
                <a:gd name="connsiteY770" fmla="*/ 5047458 h 6886994"/>
                <a:gd name="connsiteX771" fmla="*/ 2749014 w 8861126"/>
                <a:gd name="connsiteY771" fmla="*/ 5009753 h 6886994"/>
                <a:gd name="connsiteX772" fmla="*/ 2571825 w 8861126"/>
                <a:gd name="connsiteY772" fmla="*/ 4926934 h 6886994"/>
                <a:gd name="connsiteX773" fmla="*/ 2396028 w 8861126"/>
                <a:gd name="connsiteY773" fmla="*/ 5032497 h 6886994"/>
                <a:gd name="connsiteX774" fmla="*/ 2408525 w 8861126"/>
                <a:gd name="connsiteY774" fmla="*/ 5217899 h 6886994"/>
                <a:gd name="connsiteX775" fmla="*/ 2378443 w 8861126"/>
                <a:gd name="connsiteY775" fmla="*/ 5302289 h 6886994"/>
                <a:gd name="connsiteX776" fmla="*/ 2242762 w 8861126"/>
                <a:gd name="connsiteY776" fmla="*/ 5359775 h 6886994"/>
                <a:gd name="connsiteX777" fmla="*/ 2241994 w 8861126"/>
                <a:gd name="connsiteY777" fmla="*/ 5360097 h 6886994"/>
                <a:gd name="connsiteX778" fmla="*/ 2197737 w 8861126"/>
                <a:gd name="connsiteY778" fmla="*/ 5416869 h 6886994"/>
                <a:gd name="connsiteX779" fmla="*/ 1968042 w 8861126"/>
                <a:gd name="connsiteY779" fmla="*/ 5465518 h 6886994"/>
                <a:gd name="connsiteX780" fmla="*/ 1966168 w 8861126"/>
                <a:gd name="connsiteY780" fmla="*/ 5465910 h 6886994"/>
                <a:gd name="connsiteX781" fmla="*/ 1936800 w 8861126"/>
                <a:gd name="connsiteY781" fmla="*/ 5562316 h 6886994"/>
                <a:gd name="connsiteX782" fmla="*/ 1858676 w 8861126"/>
                <a:gd name="connsiteY782" fmla="*/ 5581954 h 6886994"/>
                <a:gd name="connsiteX783" fmla="*/ 1857462 w 8861126"/>
                <a:gd name="connsiteY783" fmla="*/ 5582257 h 6886994"/>
                <a:gd name="connsiteX784" fmla="*/ 1699571 w 8861126"/>
                <a:gd name="connsiteY784" fmla="*/ 5820378 h 6886994"/>
                <a:gd name="connsiteX785" fmla="*/ 1735277 w 8861126"/>
                <a:gd name="connsiteY785" fmla="*/ 5941242 h 6886994"/>
                <a:gd name="connsiteX786" fmla="*/ 1735670 w 8861126"/>
                <a:gd name="connsiteY786" fmla="*/ 5942581 h 6886994"/>
                <a:gd name="connsiteX787" fmla="*/ 1799547 w 8861126"/>
                <a:gd name="connsiteY787" fmla="*/ 5974716 h 6886994"/>
                <a:gd name="connsiteX788" fmla="*/ 1759039 w 8861126"/>
                <a:gd name="connsiteY788" fmla="*/ 6037826 h 6886994"/>
                <a:gd name="connsiteX789" fmla="*/ 1648655 w 8861126"/>
                <a:gd name="connsiteY789" fmla="*/ 6061695 h 6886994"/>
                <a:gd name="connsiteX790" fmla="*/ 1568496 w 8861126"/>
                <a:gd name="connsiteY790" fmla="*/ 6188789 h 6886994"/>
                <a:gd name="connsiteX791" fmla="*/ 1596846 w 8861126"/>
                <a:gd name="connsiteY791" fmla="*/ 6203072 h 6886994"/>
                <a:gd name="connsiteX792" fmla="*/ 1525792 w 8861126"/>
                <a:gd name="connsiteY792" fmla="*/ 6220924 h 6886994"/>
                <a:gd name="connsiteX793" fmla="*/ 1452596 w 8861126"/>
                <a:gd name="connsiteY793" fmla="*/ 6219514 h 6886994"/>
                <a:gd name="connsiteX794" fmla="*/ 1296151 w 8861126"/>
                <a:gd name="connsiteY794" fmla="*/ 6372887 h 6886994"/>
                <a:gd name="connsiteX795" fmla="*/ 1277709 w 8861126"/>
                <a:gd name="connsiteY795" fmla="*/ 6375137 h 6886994"/>
                <a:gd name="connsiteX796" fmla="*/ 1234291 w 8861126"/>
                <a:gd name="connsiteY796" fmla="*/ 6359712 h 6886994"/>
                <a:gd name="connsiteX797" fmla="*/ 1184410 w 8861126"/>
                <a:gd name="connsiteY797" fmla="*/ 6376244 h 6886994"/>
                <a:gd name="connsiteX798" fmla="*/ 1091361 w 8861126"/>
                <a:gd name="connsiteY798" fmla="*/ 6367157 h 6886994"/>
                <a:gd name="connsiteX799" fmla="*/ 798575 w 8861126"/>
                <a:gd name="connsiteY799" fmla="*/ 6330898 h 6886994"/>
                <a:gd name="connsiteX800" fmla="*/ 797040 w 8861126"/>
                <a:gd name="connsiteY800" fmla="*/ 6330719 h 6886994"/>
                <a:gd name="connsiteX801" fmla="*/ 723040 w 8861126"/>
                <a:gd name="connsiteY801" fmla="*/ 6401970 h 6886994"/>
                <a:gd name="connsiteX802" fmla="*/ 634454 w 8861126"/>
                <a:gd name="connsiteY802" fmla="*/ 6412735 h 6886994"/>
                <a:gd name="connsiteX803" fmla="*/ 599284 w 8861126"/>
                <a:gd name="connsiteY803" fmla="*/ 6376083 h 6886994"/>
                <a:gd name="connsiteX804" fmla="*/ 548528 w 8861126"/>
                <a:gd name="connsiteY804" fmla="*/ 6372263 h 6886994"/>
                <a:gd name="connsiteX805" fmla="*/ 502236 w 8861126"/>
                <a:gd name="connsiteY805" fmla="*/ 6162492 h 6886994"/>
                <a:gd name="connsiteX806" fmla="*/ 344167 w 8861126"/>
                <a:gd name="connsiteY806" fmla="*/ 6057303 h 6886994"/>
                <a:gd name="connsiteX807" fmla="*/ 343167 w 8861126"/>
                <a:gd name="connsiteY807" fmla="*/ 6056625 h 6886994"/>
                <a:gd name="connsiteX808" fmla="*/ 280325 w 8861126"/>
                <a:gd name="connsiteY808" fmla="*/ 6064337 h 6886994"/>
                <a:gd name="connsiteX809" fmla="*/ 224071 w 8861126"/>
                <a:gd name="connsiteY809" fmla="*/ 6101667 h 6886994"/>
                <a:gd name="connsiteX810" fmla="*/ 82355 w 8861126"/>
                <a:gd name="connsiteY810" fmla="*/ 6036666 h 6886994"/>
                <a:gd name="connsiteX811" fmla="*/ 33242 w 8861126"/>
                <a:gd name="connsiteY811" fmla="*/ 6063677 h 6886994"/>
                <a:gd name="connsiteX812" fmla="*/ 7587 w 8861126"/>
                <a:gd name="connsiteY812" fmla="*/ 6066801 h 6886994"/>
                <a:gd name="connsiteX813" fmla="*/ 18424 w 8861126"/>
                <a:gd name="connsiteY813" fmla="*/ 5997711 h 6886994"/>
                <a:gd name="connsiteX814" fmla="*/ 127201 w 8861126"/>
                <a:gd name="connsiteY814" fmla="*/ 5676931 h 6886994"/>
                <a:gd name="connsiteX815" fmla="*/ 83712 w 8861126"/>
                <a:gd name="connsiteY815" fmla="*/ 5705870 h 6886994"/>
                <a:gd name="connsiteX816" fmla="*/ 50434 w 8861126"/>
                <a:gd name="connsiteY816" fmla="*/ 5663166 h 6886994"/>
                <a:gd name="connsiteX817" fmla="*/ 89300 w 8861126"/>
                <a:gd name="connsiteY817" fmla="*/ 5613393 h 6886994"/>
                <a:gd name="connsiteX818" fmla="*/ 34884 w 8861126"/>
                <a:gd name="connsiteY818" fmla="*/ 5620070 h 6886994"/>
                <a:gd name="connsiteX819" fmla="*/ 43436 w 8861126"/>
                <a:gd name="connsiteY819" fmla="*/ 5531109 h 6886994"/>
                <a:gd name="connsiteX820" fmla="*/ 78338 w 8861126"/>
                <a:gd name="connsiteY820" fmla="*/ 5486477 h 6886994"/>
                <a:gd name="connsiteX821" fmla="*/ 132896 w 8861126"/>
                <a:gd name="connsiteY821" fmla="*/ 5428295 h 6886994"/>
                <a:gd name="connsiteX822" fmla="*/ 133146 w 8861126"/>
                <a:gd name="connsiteY822" fmla="*/ 5428009 h 6886994"/>
                <a:gd name="connsiteX823" fmla="*/ 184205 w 8861126"/>
                <a:gd name="connsiteY823" fmla="*/ 5338923 h 6886994"/>
                <a:gd name="connsiteX824" fmla="*/ 184330 w 8861126"/>
                <a:gd name="connsiteY824" fmla="*/ 5338727 h 6886994"/>
                <a:gd name="connsiteX825" fmla="*/ 231551 w 8861126"/>
                <a:gd name="connsiteY825" fmla="*/ 5219327 h 6886994"/>
                <a:gd name="connsiteX826" fmla="*/ 231551 w 8861126"/>
                <a:gd name="connsiteY826" fmla="*/ 5219202 h 6886994"/>
                <a:gd name="connsiteX827" fmla="*/ 356521 w 8861126"/>
                <a:gd name="connsiteY827" fmla="*/ 4811890 h 6886994"/>
                <a:gd name="connsiteX828" fmla="*/ 357521 w 8861126"/>
                <a:gd name="connsiteY828" fmla="*/ 4808677 h 6886994"/>
                <a:gd name="connsiteX829" fmla="*/ 303516 w 8861126"/>
                <a:gd name="connsiteY829" fmla="*/ 4794394 h 6886994"/>
                <a:gd name="connsiteX830" fmla="*/ 304908 w 8861126"/>
                <a:gd name="connsiteY830" fmla="*/ 4723233 h 6886994"/>
                <a:gd name="connsiteX831" fmla="*/ 270024 w 8861126"/>
                <a:gd name="connsiteY831" fmla="*/ 4686938 h 6886994"/>
                <a:gd name="connsiteX832" fmla="*/ 292536 w 8861126"/>
                <a:gd name="connsiteY832" fmla="*/ 4636218 h 6886994"/>
                <a:gd name="connsiteX833" fmla="*/ 432824 w 8861126"/>
                <a:gd name="connsiteY833" fmla="*/ 4629077 h 6886994"/>
                <a:gd name="connsiteX834" fmla="*/ 493417 w 8861126"/>
                <a:gd name="connsiteY834" fmla="*/ 4666568 h 6886994"/>
                <a:gd name="connsiteX835" fmla="*/ 484258 w 8861126"/>
                <a:gd name="connsiteY835" fmla="*/ 4590836 h 6886994"/>
                <a:gd name="connsiteX836" fmla="*/ 529711 w 8861126"/>
                <a:gd name="connsiteY836" fmla="*/ 4565842 h 6886994"/>
                <a:gd name="connsiteX837" fmla="*/ 693761 w 8861126"/>
                <a:gd name="connsiteY837" fmla="*/ 4576251 h 6886994"/>
                <a:gd name="connsiteX838" fmla="*/ 785971 w 8861126"/>
                <a:gd name="connsiteY838" fmla="*/ 4657553 h 6886994"/>
                <a:gd name="connsiteX839" fmla="*/ 1291474 w 8861126"/>
                <a:gd name="connsiteY839" fmla="*/ 4760063 h 6886994"/>
                <a:gd name="connsiteX840" fmla="*/ 1293830 w 8861126"/>
                <a:gd name="connsiteY840" fmla="*/ 4779184 h 6886994"/>
                <a:gd name="connsiteX841" fmla="*/ 1331321 w 8861126"/>
                <a:gd name="connsiteY841" fmla="*/ 4818299 h 6886994"/>
                <a:gd name="connsiteX842" fmla="*/ 1392271 w 8861126"/>
                <a:gd name="connsiteY842" fmla="*/ 4800268 h 6886994"/>
                <a:gd name="connsiteX843" fmla="*/ 1643996 w 8861126"/>
                <a:gd name="connsiteY843" fmla="*/ 4821334 h 6886994"/>
                <a:gd name="connsiteX844" fmla="*/ 1666419 w 8861126"/>
                <a:gd name="connsiteY844" fmla="*/ 4743960 h 6886994"/>
                <a:gd name="connsiteX845" fmla="*/ 1782855 w 8861126"/>
                <a:gd name="connsiteY845" fmla="*/ 4347163 h 6886994"/>
                <a:gd name="connsiteX846" fmla="*/ 1656868 w 8861126"/>
                <a:gd name="connsiteY846" fmla="*/ 3991892 h 6886994"/>
                <a:gd name="connsiteX847" fmla="*/ 1684772 w 8861126"/>
                <a:gd name="connsiteY847" fmla="*/ 3943243 h 6886994"/>
                <a:gd name="connsiteX848" fmla="*/ 1600060 w 8861126"/>
                <a:gd name="connsiteY848" fmla="*/ 3953580 h 6886994"/>
                <a:gd name="connsiteX849" fmla="*/ 1578065 w 8861126"/>
                <a:gd name="connsiteY849" fmla="*/ 3856085 h 6886994"/>
                <a:gd name="connsiteX850" fmla="*/ 1577762 w 8861126"/>
                <a:gd name="connsiteY850" fmla="*/ 3854764 h 6886994"/>
                <a:gd name="connsiteX851" fmla="*/ 1353744 w 8861126"/>
                <a:gd name="connsiteY851" fmla="*/ 3716441 h 6886994"/>
                <a:gd name="connsiteX852" fmla="*/ 1353334 w 8861126"/>
                <a:gd name="connsiteY852" fmla="*/ 3716191 h 6886994"/>
                <a:gd name="connsiteX853" fmla="*/ 1302418 w 8861126"/>
                <a:gd name="connsiteY853" fmla="*/ 3702676 h 6886994"/>
                <a:gd name="connsiteX854" fmla="*/ 1322270 w 8861126"/>
                <a:gd name="connsiteY854" fmla="*/ 3541037 h 6886994"/>
                <a:gd name="connsiteX855" fmla="*/ 1371169 w 8861126"/>
                <a:gd name="connsiteY855" fmla="*/ 3544714 h 6886994"/>
                <a:gd name="connsiteX856" fmla="*/ 1372115 w 8861126"/>
                <a:gd name="connsiteY856" fmla="*/ 3544714 h 6886994"/>
                <a:gd name="connsiteX857" fmla="*/ 1417961 w 8861126"/>
                <a:gd name="connsiteY857" fmla="*/ 3519595 h 6886994"/>
                <a:gd name="connsiteX858" fmla="*/ 1433332 w 8861126"/>
                <a:gd name="connsiteY858" fmla="*/ 3559568 h 6886994"/>
                <a:gd name="connsiteX859" fmla="*/ 1483070 w 8861126"/>
                <a:gd name="connsiteY859" fmla="*/ 3520756 h 6886994"/>
                <a:gd name="connsiteX860" fmla="*/ 1532630 w 8861126"/>
                <a:gd name="connsiteY860" fmla="*/ 3514668 h 6886994"/>
                <a:gd name="connsiteX861" fmla="*/ 1591740 w 8861126"/>
                <a:gd name="connsiteY861" fmla="*/ 3517221 h 6886994"/>
                <a:gd name="connsiteX862" fmla="*/ 1604630 w 8861126"/>
                <a:gd name="connsiteY862" fmla="*/ 3622071 h 6886994"/>
                <a:gd name="connsiteX863" fmla="*/ 1662063 w 8861126"/>
                <a:gd name="connsiteY863" fmla="*/ 3572636 h 6886994"/>
                <a:gd name="connsiteX864" fmla="*/ 1688164 w 8861126"/>
                <a:gd name="connsiteY864" fmla="*/ 3620143 h 6886994"/>
                <a:gd name="connsiteX865" fmla="*/ 1745293 w 8861126"/>
                <a:gd name="connsiteY865" fmla="*/ 3592935 h 6886994"/>
                <a:gd name="connsiteX866" fmla="*/ 1750077 w 8861126"/>
                <a:gd name="connsiteY866" fmla="*/ 3631872 h 6886994"/>
                <a:gd name="connsiteX867" fmla="*/ 1819221 w 8861126"/>
                <a:gd name="connsiteY867" fmla="*/ 3634853 h 6886994"/>
                <a:gd name="connsiteX868" fmla="*/ 1755058 w 8861126"/>
                <a:gd name="connsiteY868" fmla="*/ 3364222 h 6886994"/>
                <a:gd name="connsiteX869" fmla="*/ 1823345 w 8861126"/>
                <a:gd name="connsiteY869" fmla="*/ 3365543 h 6886994"/>
                <a:gd name="connsiteX870" fmla="*/ 1860158 w 8861126"/>
                <a:gd name="connsiteY870" fmla="*/ 3361027 h 6886994"/>
                <a:gd name="connsiteX871" fmla="*/ 1851231 w 8861126"/>
                <a:gd name="connsiteY871" fmla="*/ 3453683 h 6886994"/>
                <a:gd name="connsiteX872" fmla="*/ 2066822 w 8861126"/>
                <a:gd name="connsiteY872" fmla="*/ 3510812 h 6886994"/>
                <a:gd name="connsiteX873" fmla="*/ 2067429 w 8861126"/>
                <a:gd name="connsiteY873" fmla="*/ 3510990 h 6886994"/>
                <a:gd name="connsiteX874" fmla="*/ 2159264 w 8861126"/>
                <a:gd name="connsiteY874" fmla="*/ 3499725 h 6886994"/>
                <a:gd name="connsiteX875" fmla="*/ 2076034 w 8861126"/>
                <a:gd name="connsiteY875" fmla="*/ 3454397 h 6886994"/>
                <a:gd name="connsiteX876" fmla="*/ 2099368 w 8861126"/>
                <a:gd name="connsiteY876" fmla="*/ 3413746 h 6886994"/>
                <a:gd name="connsiteX877" fmla="*/ 2301605 w 8861126"/>
                <a:gd name="connsiteY877" fmla="*/ 3306629 h 6886994"/>
                <a:gd name="connsiteX878" fmla="*/ 2302908 w 8861126"/>
                <a:gd name="connsiteY878" fmla="*/ 3305915 h 6886994"/>
                <a:gd name="connsiteX879" fmla="*/ 2329794 w 8861126"/>
                <a:gd name="connsiteY879" fmla="*/ 3188943 h 6886994"/>
                <a:gd name="connsiteX880" fmla="*/ 2375426 w 8861126"/>
                <a:gd name="connsiteY880" fmla="*/ 3153238 h 6886994"/>
                <a:gd name="connsiteX881" fmla="*/ 2582394 w 8861126"/>
                <a:gd name="connsiteY881" fmla="*/ 3086807 h 6886994"/>
                <a:gd name="connsiteX882" fmla="*/ 2753371 w 8861126"/>
                <a:gd name="connsiteY882" fmla="*/ 3090235 h 6886994"/>
                <a:gd name="connsiteX883" fmla="*/ 2623045 w 8861126"/>
                <a:gd name="connsiteY883" fmla="*/ 3055708 h 6886994"/>
                <a:gd name="connsiteX884" fmla="*/ 2619867 w 8861126"/>
                <a:gd name="connsiteY884" fmla="*/ 3029892 h 6886994"/>
                <a:gd name="connsiteX885" fmla="*/ 2697241 w 8861126"/>
                <a:gd name="connsiteY885" fmla="*/ 3000167 h 6886994"/>
                <a:gd name="connsiteX886" fmla="*/ 2748354 w 8861126"/>
                <a:gd name="connsiteY886" fmla="*/ 2910903 h 6886994"/>
                <a:gd name="connsiteX887" fmla="*/ 2795753 w 8861126"/>
                <a:gd name="connsiteY887" fmla="*/ 2873859 h 6886994"/>
                <a:gd name="connsiteX888" fmla="*/ 2834726 w 8861126"/>
                <a:gd name="connsiteY888" fmla="*/ 2696652 h 6886994"/>
                <a:gd name="connsiteX889" fmla="*/ 2862987 w 8861126"/>
                <a:gd name="connsiteY889" fmla="*/ 2710934 h 6886994"/>
                <a:gd name="connsiteX890" fmla="*/ 2890605 w 8861126"/>
                <a:gd name="connsiteY890" fmla="*/ 2769045 h 6886994"/>
                <a:gd name="connsiteX891" fmla="*/ 2923722 w 8861126"/>
                <a:gd name="connsiteY891" fmla="*/ 2794985 h 6886994"/>
                <a:gd name="connsiteX892" fmla="*/ 2909440 w 8861126"/>
                <a:gd name="connsiteY892" fmla="*/ 2849097 h 6886994"/>
                <a:gd name="connsiteX893" fmla="*/ 2958374 w 8861126"/>
                <a:gd name="connsiteY893" fmla="*/ 2866539 h 6886994"/>
                <a:gd name="connsiteX894" fmla="*/ 2982869 w 8861126"/>
                <a:gd name="connsiteY894" fmla="*/ 2797502 h 6886994"/>
                <a:gd name="connsiteX895" fmla="*/ 2954733 w 8861126"/>
                <a:gd name="connsiteY895" fmla="*/ 2738302 h 6886994"/>
                <a:gd name="connsiteX896" fmla="*/ 2947592 w 8861126"/>
                <a:gd name="connsiteY896" fmla="*/ 2680459 h 6886994"/>
                <a:gd name="connsiteX897" fmla="*/ 3030982 w 8861126"/>
                <a:gd name="connsiteY897" fmla="*/ 2650877 h 6886994"/>
                <a:gd name="connsiteX898" fmla="*/ 3045907 w 8861126"/>
                <a:gd name="connsiteY898" fmla="*/ 2689671 h 6886994"/>
                <a:gd name="connsiteX899" fmla="*/ 3180249 w 8861126"/>
                <a:gd name="connsiteY899" fmla="*/ 2673211 h 6886994"/>
                <a:gd name="connsiteX900" fmla="*/ 3182374 w 8861126"/>
                <a:gd name="connsiteY900" fmla="*/ 2672943 h 6886994"/>
                <a:gd name="connsiteX901" fmla="*/ 3204083 w 8861126"/>
                <a:gd name="connsiteY901" fmla="*/ 2598122 h 6886994"/>
                <a:gd name="connsiteX902" fmla="*/ 3310914 w 8861126"/>
                <a:gd name="connsiteY902" fmla="*/ 2585018 h 6886994"/>
                <a:gd name="connsiteX903" fmla="*/ 3327303 w 8861126"/>
                <a:gd name="connsiteY903" fmla="*/ 2634559 h 6886994"/>
                <a:gd name="connsiteX904" fmla="*/ 3382486 w 8861126"/>
                <a:gd name="connsiteY904" fmla="*/ 2627775 h 6886994"/>
                <a:gd name="connsiteX905" fmla="*/ 3439240 w 8861126"/>
                <a:gd name="connsiteY905" fmla="*/ 2495468 h 6886994"/>
                <a:gd name="connsiteX906" fmla="*/ 3439472 w 8861126"/>
                <a:gd name="connsiteY906" fmla="*/ 2494915 h 6886994"/>
                <a:gd name="connsiteX907" fmla="*/ 3442079 w 8861126"/>
                <a:gd name="connsiteY907" fmla="*/ 2433144 h 6886994"/>
                <a:gd name="connsiteX908" fmla="*/ 3460271 w 8861126"/>
                <a:gd name="connsiteY908" fmla="*/ 2409935 h 6886994"/>
                <a:gd name="connsiteX909" fmla="*/ 3442240 w 8861126"/>
                <a:gd name="connsiteY909" fmla="*/ 2348896 h 6886994"/>
                <a:gd name="connsiteX910" fmla="*/ 3434742 w 8861126"/>
                <a:gd name="connsiteY910" fmla="*/ 2287947 h 6886994"/>
                <a:gd name="connsiteX911" fmla="*/ 3417103 w 8861126"/>
                <a:gd name="connsiteY911" fmla="*/ 2228247 h 6886994"/>
                <a:gd name="connsiteX912" fmla="*/ 3410676 w 8861126"/>
                <a:gd name="connsiteY912" fmla="*/ 2175920 h 6886994"/>
                <a:gd name="connsiteX913" fmla="*/ 3323536 w 8861126"/>
                <a:gd name="connsiteY913" fmla="*/ 2135198 h 6886994"/>
                <a:gd name="connsiteX914" fmla="*/ 3335033 w 8861126"/>
                <a:gd name="connsiteY914" fmla="*/ 1981664 h 6886994"/>
                <a:gd name="connsiteX915" fmla="*/ 3362902 w 8861126"/>
                <a:gd name="connsiteY915" fmla="*/ 1890132 h 6886994"/>
                <a:gd name="connsiteX916" fmla="*/ 3432064 w 8861126"/>
                <a:gd name="connsiteY916" fmla="*/ 1944226 h 6886994"/>
                <a:gd name="connsiteX917" fmla="*/ 3438205 w 8861126"/>
                <a:gd name="connsiteY917" fmla="*/ 1894095 h 6886994"/>
                <a:gd name="connsiteX918" fmla="*/ 3393573 w 8861126"/>
                <a:gd name="connsiteY918" fmla="*/ 1878171 h 6886994"/>
                <a:gd name="connsiteX919" fmla="*/ 3371935 w 8861126"/>
                <a:gd name="connsiteY919" fmla="*/ 1853123 h 6886994"/>
                <a:gd name="connsiteX920" fmla="*/ 3414782 w 8861126"/>
                <a:gd name="connsiteY920" fmla="*/ 1809205 h 6886994"/>
                <a:gd name="connsiteX921" fmla="*/ 3495691 w 8861126"/>
                <a:gd name="connsiteY921" fmla="*/ 1799279 h 6886994"/>
                <a:gd name="connsiteX922" fmla="*/ 3543430 w 8861126"/>
                <a:gd name="connsiteY922" fmla="*/ 1762074 h 6886994"/>
                <a:gd name="connsiteX923" fmla="*/ 3543929 w 8861126"/>
                <a:gd name="connsiteY923" fmla="*/ 1761681 h 6886994"/>
                <a:gd name="connsiteX924" fmla="*/ 3594721 w 8861126"/>
                <a:gd name="connsiteY924" fmla="*/ 1673024 h 6886994"/>
                <a:gd name="connsiteX925" fmla="*/ 3664079 w 8861126"/>
                <a:gd name="connsiteY925" fmla="*/ 1626999 h 6886994"/>
                <a:gd name="connsiteX926" fmla="*/ 3624196 w 8861126"/>
                <a:gd name="connsiteY926" fmla="*/ 1872172 h 6886994"/>
                <a:gd name="connsiteX927" fmla="*/ 3624035 w 8861126"/>
                <a:gd name="connsiteY927" fmla="*/ 1873172 h 6886994"/>
                <a:gd name="connsiteX928" fmla="*/ 3639067 w 8861126"/>
                <a:gd name="connsiteY928" fmla="*/ 1904807 h 6886994"/>
                <a:gd name="connsiteX929" fmla="*/ 3702195 w 8861126"/>
                <a:gd name="connsiteY929" fmla="*/ 1917608 h 6886994"/>
                <a:gd name="connsiteX930" fmla="*/ 3717352 w 8861126"/>
                <a:gd name="connsiteY930" fmla="*/ 1963365 h 6886994"/>
                <a:gd name="connsiteX931" fmla="*/ 3657134 w 8861126"/>
                <a:gd name="connsiteY931" fmla="*/ 2018708 h 6886994"/>
                <a:gd name="connsiteX932" fmla="*/ 3628838 w 8861126"/>
                <a:gd name="connsiteY932" fmla="*/ 1967131 h 6886994"/>
                <a:gd name="connsiteX933" fmla="*/ 3605147 w 8861126"/>
                <a:gd name="connsiteY933" fmla="*/ 2048933 h 6886994"/>
                <a:gd name="connsiteX934" fmla="*/ 3569530 w 8861126"/>
                <a:gd name="connsiteY934" fmla="*/ 2094583 h 6886994"/>
                <a:gd name="connsiteX935" fmla="*/ 3534860 w 8861126"/>
                <a:gd name="connsiteY935" fmla="*/ 2233389 h 6886994"/>
                <a:gd name="connsiteX936" fmla="*/ 3534521 w 8861126"/>
                <a:gd name="connsiteY936" fmla="*/ 2234781 h 6886994"/>
                <a:gd name="connsiteX937" fmla="*/ 3547536 w 8861126"/>
                <a:gd name="connsiteY937" fmla="*/ 2254419 h 6886994"/>
                <a:gd name="connsiteX938" fmla="*/ 3550107 w 8861126"/>
                <a:gd name="connsiteY938" fmla="*/ 2275378 h 6886994"/>
                <a:gd name="connsiteX939" fmla="*/ 3561497 w 8861126"/>
                <a:gd name="connsiteY939" fmla="*/ 2284305 h 6886994"/>
                <a:gd name="connsiteX940" fmla="*/ 3564228 w 8861126"/>
                <a:gd name="connsiteY940" fmla="*/ 2306478 h 6886994"/>
                <a:gd name="connsiteX941" fmla="*/ 3575243 w 8861126"/>
                <a:gd name="connsiteY941" fmla="*/ 2305139 h 6886994"/>
                <a:gd name="connsiteX942" fmla="*/ 3587919 w 8861126"/>
                <a:gd name="connsiteY942" fmla="*/ 2331811 h 6886994"/>
                <a:gd name="connsiteX943" fmla="*/ 3589258 w 8861126"/>
                <a:gd name="connsiteY943" fmla="*/ 2342719 h 6886994"/>
                <a:gd name="connsiteX944" fmla="*/ 3599969 w 8861126"/>
                <a:gd name="connsiteY944" fmla="*/ 2351074 h 6886994"/>
                <a:gd name="connsiteX945" fmla="*/ 3576582 w 8861126"/>
                <a:gd name="connsiteY945" fmla="*/ 2417130 h 6886994"/>
                <a:gd name="connsiteX946" fmla="*/ 3611770 w 8861126"/>
                <a:gd name="connsiteY946" fmla="*/ 2424271 h 6886994"/>
                <a:gd name="connsiteX947" fmla="*/ 3687270 w 8861126"/>
                <a:gd name="connsiteY947" fmla="*/ 2446212 h 6886994"/>
                <a:gd name="connsiteX948" fmla="*/ 3754253 w 8861126"/>
                <a:gd name="connsiteY948" fmla="*/ 2428074 h 6886994"/>
                <a:gd name="connsiteX949" fmla="*/ 3759734 w 8861126"/>
                <a:gd name="connsiteY949" fmla="*/ 2472706 h 6886994"/>
                <a:gd name="connsiteX950" fmla="*/ 3687538 w 8861126"/>
                <a:gd name="connsiteY950" fmla="*/ 2503359 h 6886994"/>
                <a:gd name="connsiteX951" fmla="*/ 3738418 w 8861126"/>
                <a:gd name="connsiteY951" fmla="*/ 2532655 h 6886994"/>
                <a:gd name="connsiteX952" fmla="*/ 3790191 w 8861126"/>
                <a:gd name="connsiteY952" fmla="*/ 2526300 h 6886994"/>
                <a:gd name="connsiteX953" fmla="*/ 3790709 w 8861126"/>
                <a:gd name="connsiteY953" fmla="*/ 2526300 h 6886994"/>
                <a:gd name="connsiteX954" fmla="*/ 4003782 w 8861126"/>
                <a:gd name="connsiteY954" fmla="*/ 2428413 h 6886994"/>
                <a:gd name="connsiteX955" fmla="*/ 4052360 w 8861126"/>
                <a:gd name="connsiteY955" fmla="*/ 2466386 h 6886994"/>
                <a:gd name="connsiteX956" fmla="*/ 4058180 w 8861126"/>
                <a:gd name="connsiteY956" fmla="*/ 2418826 h 6886994"/>
                <a:gd name="connsiteX957" fmla="*/ 4058180 w 8861126"/>
                <a:gd name="connsiteY957" fmla="*/ 2418415 h 6886994"/>
                <a:gd name="connsiteX958" fmla="*/ 4052574 w 8861126"/>
                <a:gd name="connsiteY958" fmla="*/ 2372926 h 6886994"/>
                <a:gd name="connsiteX959" fmla="*/ 4100938 w 8861126"/>
                <a:gd name="connsiteY959" fmla="*/ 2394457 h 6886994"/>
                <a:gd name="connsiteX960" fmla="*/ 4124450 w 8861126"/>
                <a:gd name="connsiteY960" fmla="*/ 2429770 h 6886994"/>
                <a:gd name="connsiteX961" fmla="*/ 4096921 w 8861126"/>
                <a:gd name="connsiteY961" fmla="*/ 2465083 h 6886994"/>
                <a:gd name="connsiteX962" fmla="*/ 4190131 w 8861126"/>
                <a:gd name="connsiteY962" fmla="*/ 2518641 h 6886994"/>
                <a:gd name="connsiteX963" fmla="*/ 4438535 w 8861126"/>
                <a:gd name="connsiteY963" fmla="*/ 2425806 h 6886994"/>
                <a:gd name="connsiteX964" fmla="*/ 4483167 w 8861126"/>
                <a:gd name="connsiteY964" fmla="*/ 2368677 h 6886994"/>
                <a:gd name="connsiteX965" fmla="*/ 4531245 w 8861126"/>
                <a:gd name="connsiteY965" fmla="*/ 2342219 h 6886994"/>
                <a:gd name="connsiteX966" fmla="*/ 4576501 w 8861126"/>
                <a:gd name="connsiteY966" fmla="*/ 2295802 h 6886994"/>
                <a:gd name="connsiteX967" fmla="*/ 4725751 w 8861126"/>
                <a:gd name="connsiteY967" fmla="*/ 2277503 h 6886994"/>
                <a:gd name="connsiteX968" fmla="*/ 4786451 w 8861126"/>
                <a:gd name="connsiteY968" fmla="*/ 2352485 h 6886994"/>
                <a:gd name="connsiteX969" fmla="*/ 4913206 w 8861126"/>
                <a:gd name="connsiteY969" fmla="*/ 2336935 h 6886994"/>
                <a:gd name="connsiteX970" fmla="*/ 4910421 w 8861126"/>
                <a:gd name="connsiteY970" fmla="*/ 2314208 h 6886994"/>
                <a:gd name="connsiteX971" fmla="*/ 4940771 w 8861126"/>
                <a:gd name="connsiteY971" fmla="*/ 2228943 h 6886994"/>
                <a:gd name="connsiteX972" fmla="*/ 4966122 w 8861126"/>
                <a:gd name="connsiteY972" fmla="*/ 2184704 h 6886994"/>
                <a:gd name="connsiteX973" fmla="*/ 5074220 w 8861126"/>
                <a:gd name="connsiteY973" fmla="*/ 1975487 h 6886994"/>
                <a:gd name="connsiteX974" fmla="*/ 5074846 w 8861126"/>
                <a:gd name="connsiteY974" fmla="*/ 1974290 h 6886994"/>
                <a:gd name="connsiteX975" fmla="*/ 5025340 w 8861126"/>
                <a:gd name="connsiteY975" fmla="*/ 1824648 h 6886994"/>
                <a:gd name="connsiteX976" fmla="*/ 5015485 w 8861126"/>
                <a:gd name="connsiteY976" fmla="*/ 1744435 h 6886994"/>
                <a:gd name="connsiteX977" fmla="*/ 5082504 w 8861126"/>
                <a:gd name="connsiteY977" fmla="*/ 1542038 h 6886994"/>
                <a:gd name="connsiteX978" fmla="*/ 5166037 w 8861126"/>
                <a:gd name="connsiteY978" fmla="*/ 1491871 h 6886994"/>
                <a:gd name="connsiteX979" fmla="*/ 5230897 w 8861126"/>
                <a:gd name="connsiteY979" fmla="*/ 1533754 h 6886994"/>
                <a:gd name="connsiteX980" fmla="*/ 5306307 w 8861126"/>
                <a:gd name="connsiteY980" fmla="*/ 1639282 h 6886994"/>
                <a:gd name="connsiteX981" fmla="*/ 5410836 w 8861126"/>
                <a:gd name="connsiteY981" fmla="*/ 1615681 h 6886994"/>
                <a:gd name="connsiteX982" fmla="*/ 5427832 w 8861126"/>
                <a:gd name="connsiteY982" fmla="*/ 1497995 h 6886994"/>
                <a:gd name="connsiteX983" fmla="*/ 5427938 w 8861126"/>
                <a:gd name="connsiteY983" fmla="*/ 1497299 h 6886994"/>
                <a:gd name="connsiteX984" fmla="*/ 5410229 w 8861126"/>
                <a:gd name="connsiteY984" fmla="*/ 1437295 h 6886994"/>
                <a:gd name="connsiteX985" fmla="*/ 5406515 w 8861126"/>
                <a:gd name="connsiteY985" fmla="*/ 1320752 h 6886994"/>
                <a:gd name="connsiteX986" fmla="*/ 5312806 w 8861126"/>
                <a:gd name="connsiteY986" fmla="*/ 1343015 h 6886994"/>
                <a:gd name="connsiteX987" fmla="*/ 5275422 w 8861126"/>
                <a:gd name="connsiteY987" fmla="*/ 1347603 h 6886994"/>
                <a:gd name="connsiteX988" fmla="*/ 5241055 w 8861126"/>
                <a:gd name="connsiteY988" fmla="*/ 1150133 h 6886994"/>
                <a:gd name="connsiteX989" fmla="*/ 5275261 w 8861126"/>
                <a:gd name="connsiteY989" fmla="*/ 1106304 h 6886994"/>
                <a:gd name="connsiteX990" fmla="*/ 5508616 w 8861126"/>
                <a:gd name="connsiteY990" fmla="*/ 1005917 h 6886994"/>
                <a:gd name="connsiteX991" fmla="*/ 5666292 w 8861126"/>
                <a:gd name="connsiteY991" fmla="*/ 1007596 h 6886994"/>
                <a:gd name="connsiteX992" fmla="*/ 5632139 w 8861126"/>
                <a:gd name="connsiteY992" fmla="*/ 729645 h 6886994"/>
                <a:gd name="connsiteX993" fmla="*/ 5631496 w 8861126"/>
                <a:gd name="connsiteY993" fmla="*/ 724289 h 6886994"/>
                <a:gd name="connsiteX994" fmla="*/ 5184658 w 8861126"/>
                <a:gd name="connsiteY994" fmla="*/ 1026752 h 6886994"/>
                <a:gd name="connsiteX995" fmla="*/ 5180302 w 8861126"/>
                <a:gd name="connsiteY995" fmla="*/ 991350 h 6886994"/>
                <a:gd name="connsiteX996" fmla="*/ 5159432 w 8861126"/>
                <a:gd name="connsiteY996" fmla="*/ 914065 h 6886994"/>
                <a:gd name="connsiteX997" fmla="*/ 5112907 w 8861126"/>
                <a:gd name="connsiteY997" fmla="*/ 986351 h 6886994"/>
                <a:gd name="connsiteX998" fmla="*/ 5057117 w 8861126"/>
                <a:gd name="connsiteY998" fmla="*/ 1002865 h 6886994"/>
                <a:gd name="connsiteX999" fmla="*/ 5045281 w 8861126"/>
                <a:gd name="connsiteY999" fmla="*/ 977871 h 6886994"/>
                <a:gd name="connsiteX1000" fmla="*/ 5091145 w 8861126"/>
                <a:gd name="connsiteY1000" fmla="*/ 919081 h 6886994"/>
                <a:gd name="connsiteX1001" fmla="*/ 4989723 w 8861126"/>
                <a:gd name="connsiteY1001" fmla="*/ 877913 h 6886994"/>
                <a:gd name="connsiteX1002" fmla="*/ 4925167 w 8861126"/>
                <a:gd name="connsiteY1002" fmla="*/ 845385 h 6886994"/>
                <a:gd name="connsiteX1003" fmla="*/ 4878982 w 8861126"/>
                <a:gd name="connsiteY1003" fmla="*/ 711899 h 6886994"/>
                <a:gd name="connsiteX1004" fmla="*/ 4908671 w 8861126"/>
                <a:gd name="connsiteY1004" fmla="*/ 708329 h 6886994"/>
                <a:gd name="connsiteX1005" fmla="*/ 4898299 w 8861126"/>
                <a:gd name="connsiteY1005" fmla="*/ 623885 h 6886994"/>
                <a:gd name="connsiteX1006" fmla="*/ 4898299 w 8861126"/>
                <a:gd name="connsiteY1006" fmla="*/ 623456 h 6886994"/>
                <a:gd name="connsiteX1007" fmla="*/ 4840205 w 8861126"/>
                <a:gd name="connsiteY1007" fmla="*/ 486186 h 6886994"/>
                <a:gd name="connsiteX1008" fmla="*/ 4830208 w 8861126"/>
                <a:gd name="connsiteY1008" fmla="*/ 405259 h 6886994"/>
                <a:gd name="connsiteX1009" fmla="*/ 4830208 w 8861126"/>
                <a:gd name="connsiteY1009" fmla="*/ 404866 h 6886994"/>
                <a:gd name="connsiteX1010" fmla="*/ 4815212 w 8861126"/>
                <a:gd name="connsiteY1010" fmla="*/ 365947 h 6886994"/>
                <a:gd name="connsiteX1011" fmla="*/ 4832725 w 8861126"/>
                <a:gd name="connsiteY1011" fmla="*/ 263365 h 6886994"/>
                <a:gd name="connsiteX1012" fmla="*/ 4925346 w 8861126"/>
                <a:gd name="connsiteY1012" fmla="*/ 230534 h 6886994"/>
                <a:gd name="connsiteX1013" fmla="*/ 4888551 w 8861126"/>
                <a:gd name="connsiteY1013" fmla="*/ 201737 h 6886994"/>
                <a:gd name="connsiteX1014" fmla="*/ 4989794 w 8861126"/>
                <a:gd name="connsiteY1014" fmla="*/ 0 h 6886994"/>
                <a:gd name="connsiteX1015" fmla="*/ 4982546 w 8861126"/>
                <a:gd name="connsiteY1015" fmla="*/ 0 h 6886994"/>
                <a:gd name="connsiteX1016" fmla="*/ 4881607 w 8861126"/>
                <a:gd name="connsiteY1016" fmla="*/ 201148 h 68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Lst>
              <a:rect l="l" t="t" r="r" b="b"/>
              <a:pathLst>
                <a:path w="8861126" h="6886994">
                  <a:moveTo>
                    <a:pt x="4880428" y="203522"/>
                  </a:moveTo>
                  <a:lnTo>
                    <a:pt x="4912045" y="228302"/>
                  </a:lnTo>
                  <a:lnTo>
                    <a:pt x="4826959" y="258473"/>
                  </a:lnTo>
                  <a:lnTo>
                    <a:pt x="4808481" y="366554"/>
                  </a:lnTo>
                  <a:lnTo>
                    <a:pt x="4823835" y="406384"/>
                  </a:lnTo>
                  <a:lnTo>
                    <a:pt x="4833761" y="487257"/>
                  </a:lnTo>
                  <a:lnTo>
                    <a:pt x="4833761" y="487703"/>
                  </a:lnTo>
                  <a:lnTo>
                    <a:pt x="4891854" y="624974"/>
                  </a:lnTo>
                  <a:lnTo>
                    <a:pt x="4901369" y="702527"/>
                  </a:lnTo>
                  <a:lnTo>
                    <a:pt x="4870163" y="706365"/>
                  </a:lnTo>
                  <a:lnTo>
                    <a:pt x="4919401" y="848670"/>
                  </a:lnTo>
                  <a:lnTo>
                    <a:pt x="4919829" y="849902"/>
                  </a:lnTo>
                  <a:lnTo>
                    <a:pt x="4986920" y="883715"/>
                  </a:lnTo>
                  <a:lnTo>
                    <a:pt x="5080754" y="921813"/>
                  </a:lnTo>
                  <a:lnTo>
                    <a:pt x="5037712" y="976996"/>
                  </a:lnTo>
                  <a:lnTo>
                    <a:pt x="5053654" y="1010559"/>
                  </a:lnTo>
                  <a:lnTo>
                    <a:pt x="5117067" y="991742"/>
                  </a:lnTo>
                  <a:lnTo>
                    <a:pt x="5156969" y="929704"/>
                  </a:lnTo>
                  <a:lnTo>
                    <a:pt x="5173911" y="992332"/>
                  </a:lnTo>
                  <a:lnTo>
                    <a:pt x="5179516" y="1037981"/>
                  </a:lnTo>
                  <a:lnTo>
                    <a:pt x="5626373" y="735679"/>
                  </a:lnTo>
                  <a:lnTo>
                    <a:pt x="5658972" y="1001026"/>
                  </a:lnTo>
                  <a:lnTo>
                    <a:pt x="5508008" y="999419"/>
                  </a:lnTo>
                  <a:lnTo>
                    <a:pt x="5507330" y="999419"/>
                  </a:lnTo>
                  <a:lnTo>
                    <a:pt x="5271958" y="1100680"/>
                  </a:lnTo>
                  <a:lnTo>
                    <a:pt x="5271191" y="1101002"/>
                  </a:lnTo>
                  <a:lnTo>
                    <a:pt x="5234218" y="1148383"/>
                  </a:lnTo>
                  <a:lnTo>
                    <a:pt x="5269584" y="1351727"/>
                  </a:lnTo>
                  <a:lnTo>
                    <a:pt x="5270120" y="1354762"/>
                  </a:lnTo>
                  <a:lnTo>
                    <a:pt x="5313805" y="1349406"/>
                  </a:lnTo>
                  <a:lnTo>
                    <a:pt x="5400320" y="1328893"/>
                  </a:lnTo>
                  <a:lnTo>
                    <a:pt x="5403891" y="1438349"/>
                  </a:lnTo>
                  <a:lnTo>
                    <a:pt x="5421440" y="1497781"/>
                  </a:lnTo>
                  <a:lnTo>
                    <a:pt x="5405176" y="1610254"/>
                  </a:lnTo>
                  <a:lnTo>
                    <a:pt x="5309235" y="1631891"/>
                  </a:lnTo>
                  <a:lnTo>
                    <a:pt x="5235485" y="1528862"/>
                  </a:lnTo>
                  <a:lnTo>
                    <a:pt x="5166198" y="1484105"/>
                  </a:lnTo>
                  <a:lnTo>
                    <a:pt x="5077148" y="1537664"/>
                  </a:lnTo>
                  <a:lnTo>
                    <a:pt x="5008933" y="1743721"/>
                  </a:lnTo>
                  <a:lnTo>
                    <a:pt x="5019002" y="1825701"/>
                  </a:lnTo>
                  <a:lnTo>
                    <a:pt x="5019002" y="1826023"/>
                  </a:lnTo>
                  <a:lnTo>
                    <a:pt x="5067847" y="1973684"/>
                  </a:lnTo>
                  <a:lnTo>
                    <a:pt x="4960373" y="2181615"/>
                  </a:lnTo>
                  <a:lnTo>
                    <a:pt x="4934790" y="2226247"/>
                  </a:lnTo>
                  <a:lnTo>
                    <a:pt x="4904083" y="2312762"/>
                  </a:lnTo>
                  <a:lnTo>
                    <a:pt x="4903833" y="2313494"/>
                  </a:lnTo>
                  <a:lnTo>
                    <a:pt x="4906011" y="2331347"/>
                  </a:lnTo>
                  <a:lnTo>
                    <a:pt x="4789289" y="2345629"/>
                  </a:lnTo>
                  <a:lnTo>
                    <a:pt x="4729661" y="2271915"/>
                  </a:lnTo>
                  <a:lnTo>
                    <a:pt x="4728536" y="2270523"/>
                  </a:lnTo>
                  <a:lnTo>
                    <a:pt x="4574591" y="2289393"/>
                  </a:lnTo>
                  <a:lnTo>
                    <a:pt x="4573467" y="2289536"/>
                  </a:lnTo>
                  <a:lnTo>
                    <a:pt x="4527335" y="2336935"/>
                  </a:lnTo>
                  <a:lnTo>
                    <a:pt x="4479525" y="2363232"/>
                  </a:lnTo>
                  <a:lnTo>
                    <a:pt x="4478936" y="2363554"/>
                  </a:lnTo>
                  <a:lnTo>
                    <a:pt x="4434643" y="2420361"/>
                  </a:lnTo>
                  <a:lnTo>
                    <a:pt x="4190791" y="2511554"/>
                  </a:lnTo>
                  <a:lnTo>
                    <a:pt x="4106704" y="2463172"/>
                  </a:lnTo>
                  <a:lnTo>
                    <a:pt x="4132519" y="2430055"/>
                  </a:lnTo>
                  <a:lnTo>
                    <a:pt x="4105936" y="2390011"/>
                  </a:lnTo>
                  <a:lnTo>
                    <a:pt x="4105419" y="2389208"/>
                  </a:lnTo>
                  <a:lnTo>
                    <a:pt x="4044862" y="2362268"/>
                  </a:lnTo>
                  <a:lnTo>
                    <a:pt x="4051753" y="2418326"/>
                  </a:lnTo>
                  <a:lnTo>
                    <a:pt x="4047361" y="2454032"/>
                  </a:lnTo>
                  <a:lnTo>
                    <a:pt x="4004729" y="2420843"/>
                  </a:lnTo>
                  <a:lnTo>
                    <a:pt x="3788978" y="2519962"/>
                  </a:lnTo>
                  <a:lnTo>
                    <a:pt x="3739793" y="2525996"/>
                  </a:lnTo>
                  <a:lnTo>
                    <a:pt x="3702052" y="2504269"/>
                  </a:lnTo>
                  <a:lnTo>
                    <a:pt x="3766786" y="2476794"/>
                  </a:lnTo>
                  <a:lnTo>
                    <a:pt x="3759806" y="2419915"/>
                  </a:lnTo>
                  <a:lnTo>
                    <a:pt x="3687359" y="2439553"/>
                  </a:lnTo>
                  <a:lnTo>
                    <a:pt x="3613484" y="2418130"/>
                  </a:lnTo>
                  <a:lnTo>
                    <a:pt x="3585187" y="2412327"/>
                  </a:lnTo>
                  <a:lnTo>
                    <a:pt x="3607664" y="2348986"/>
                  </a:lnTo>
                  <a:lnTo>
                    <a:pt x="3595470" y="2339417"/>
                  </a:lnTo>
                  <a:lnTo>
                    <a:pt x="3594328" y="2330115"/>
                  </a:lnTo>
                  <a:lnTo>
                    <a:pt x="3579207" y="2298284"/>
                  </a:lnTo>
                  <a:lnTo>
                    <a:pt x="3569995" y="2299408"/>
                  </a:lnTo>
                  <a:lnTo>
                    <a:pt x="3567709" y="2280966"/>
                  </a:lnTo>
                  <a:lnTo>
                    <a:pt x="3556319" y="2272040"/>
                  </a:lnTo>
                  <a:lnTo>
                    <a:pt x="3553891" y="2252259"/>
                  </a:lnTo>
                  <a:lnTo>
                    <a:pt x="3541609" y="2233746"/>
                  </a:lnTo>
                  <a:lnTo>
                    <a:pt x="3575529" y="2097529"/>
                  </a:lnTo>
                  <a:lnTo>
                    <a:pt x="3610681" y="2052468"/>
                  </a:lnTo>
                  <a:lnTo>
                    <a:pt x="3611074" y="2051986"/>
                  </a:lnTo>
                  <a:lnTo>
                    <a:pt x="3630712" y="1984145"/>
                  </a:lnTo>
                  <a:lnTo>
                    <a:pt x="3655456" y="2029224"/>
                  </a:lnTo>
                  <a:lnTo>
                    <a:pt x="3724832" y="1965489"/>
                  </a:lnTo>
                  <a:lnTo>
                    <a:pt x="3707194" y="1912198"/>
                  </a:lnTo>
                  <a:lnTo>
                    <a:pt x="3643548" y="1899309"/>
                  </a:lnTo>
                  <a:lnTo>
                    <a:pt x="3630766" y="1872422"/>
                  </a:lnTo>
                  <a:lnTo>
                    <a:pt x="3672881" y="1613556"/>
                  </a:lnTo>
                  <a:lnTo>
                    <a:pt x="3590650" y="1668043"/>
                  </a:lnTo>
                  <a:lnTo>
                    <a:pt x="3590008" y="1668472"/>
                  </a:lnTo>
                  <a:lnTo>
                    <a:pt x="3539091" y="1757343"/>
                  </a:lnTo>
                  <a:lnTo>
                    <a:pt x="3493335" y="1793049"/>
                  </a:lnTo>
                  <a:lnTo>
                    <a:pt x="3412997" y="1802903"/>
                  </a:lnTo>
                  <a:lnTo>
                    <a:pt x="3411854" y="1803046"/>
                  </a:lnTo>
                  <a:lnTo>
                    <a:pt x="3363241" y="1852855"/>
                  </a:lnTo>
                  <a:lnTo>
                    <a:pt x="3389217" y="1883098"/>
                  </a:lnTo>
                  <a:lnTo>
                    <a:pt x="3389788" y="1883759"/>
                  </a:lnTo>
                  <a:lnTo>
                    <a:pt x="3431224" y="1898505"/>
                  </a:lnTo>
                  <a:lnTo>
                    <a:pt x="3427118" y="1932122"/>
                  </a:lnTo>
                  <a:lnTo>
                    <a:pt x="3359528" y="1879260"/>
                  </a:lnTo>
                  <a:lnTo>
                    <a:pt x="3328821" y="1980146"/>
                  </a:lnTo>
                  <a:lnTo>
                    <a:pt x="3328714" y="1980503"/>
                  </a:lnTo>
                  <a:lnTo>
                    <a:pt x="3316984" y="2136965"/>
                  </a:lnTo>
                  <a:lnTo>
                    <a:pt x="3316824" y="2139197"/>
                  </a:lnTo>
                  <a:lnTo>
                    <a:pt x="3404588" y="2180259"/>
                  </a:lnTo>
                  <a:lnTo>
                    <a:pt x="3410640" y="2229550"/>
                  </a:lnTo>
                  <a:lnTo>
                    <a:pt x="3428279" y="2289250"/>
                  </a:lnTo>
                  <a:lnTo>
                    <a:pt x="3435759" y="2349950"/>
                  </a:lnTo>
                  <a:lnTo>
                    <a:pt x="3435759" y="2350200"/>
                  </a:lnTo>
                  <a:lnTo>
                    <a:pt x="3453005" y="2408560"/>
                  </a:lnTo>
                  <a:lnTo>
                    <a:pt x="3435581" y="2430859"/>
                  </a:lnTo>
                  <a:lnTo>
                    <a:pt x="3432938" y="2493522"/>
                  </a:lnTo>
                  <a:lnTo>
                    <a:pt x="3377880" y="2621884"/>
                  </a:lnTo>
                  <a:lnTo>
                    <a:pt x="3331659" y="2627561"/>
                  </a:lnTo>
                  <a:lnTo>
                    <a:pt x="3315253" y="2578020"/>
                  </a:lnTo>
                  <a:lnTo>
                    <a:pt x="3198923" y="2592302"/>
                  </a:lnTo>
                  <a:lnTo>
                    <a:pt x="3177286" y="2667212"/>
                  </a:lnTo>
                  <a:lnTo>
                    <a:pt x="3050049" y="2682816"/>
                  </a:lnTo>
                  <a:lnTo>
                    <a:pt x="3034677" y="2642861"/>
                  </a:lnTo>
                  <a:lnTo>
                    <a:pt x="2940432" y="2676139"/>
                  </a:lnTo>
                  <a:lnTo>
                    <a:pt x="2948252" y="2739659"/>
                  </a:lnTo>
                  <a:lnTo>
                    <a:pt x="2948252" y="2740177"/>
                  </a:lnTo>
                  <a:lnTo>
                    <a:pt x="2975710" y="2797895"/>
                  </a:lnTo>
                  <a:lnTo>
                    <a:pt x="2954286" y="2858291"/>
                  </a:lnTo>
                  <a:lnTo>
                    <a:pt x="2917081" y="2845026"/>
                  </a:lnTo>
                  <a:lnTo>
                    <a:pt x="2930899" y="2792557"/>
                  </a:lnTo>
                  <a:lnTo>
                    <a:pt x="2895622" y="2764921"/>
                  </a:lnTo>
                  <a:lnTo>
                    <a:pt x="2868182" y="2707185"/>
                  </a:lnTo>
                  <a:lnTo>
                    <a:pt x="2867718" y="2706167"/>
                  </a:lnTo>
                  <a:lnTo>
                    <a:pt x="2830120" y="2687297"/>
                  </a:lnTo>
                  <a:lnTo>
                    <a:pt x="2789862" y="2870360"/>
                  </a:lnTo>
                  <a:lnTo>
                    <a:pt x="2743301" y="2906744"/>
                  </a:lnTo>
                  <a:lnTo>
                    <a:pt x="2692653" y="2995062"/>
                  </a:lnTo>
                  <a:lnTo>
                    <a:pt x="2612690" y="3025786"/>
                  </a:lnTo>
                  <a:lnTo>
                    <a:pt x="2617028" y="3060956"/>
                  </a:lnTo>
                  <a:lnTo>
                    <a:pt x="2699473" y="3082808"/>
                  </a:lnTo>
                  <a:lnTo>
                    <a:pt x="2581912" y="3080452"/>
                  </a:lnTo>
                  <a:lnTo>
                    <a:pt x="2581376" y="3080452"/>
                  </a:lnTo>
                  <a:lnTo>
                    <a:pt x="2372820" y="3147364"/>
                  </a:lnTo>
                  <a:lnTo>
                    <a:pt x="2372266" y="3147560"/>
                  </a:lnTo>
                  <a:lnTo>
                    <a:pt x="2323938" y="3185337"/>
                  </a:lnTo>
                  <a:lnTo>
                    <a:pt x="2297159" y="3301666"/>
                  </a:lnTo>
                  <a:lnTo>
                    <a:pt x="2095422" y="3408444"/>
                  </a:lnTo>
                  <a:lnTo>
                    <a:pt x="2094583" y="3408890"/>
                  </a:lnTo>
                  <a:lnTo>
                    <a:pt x="2067036" y="3456878"/>
                  </a:lnTo>
                  <a:lnTo>
                    <a:pt x="2138448" y="3495726"/>
                  </a:lnTo>
                  <a:lnTo>
                    <a:pt x="2067893" y="3504385"/>
                  </a:lnTo>
                  <a:lnTo>
                    <a:pt x="1858230" y="3448845"/>
                  </a:lnTo>
                  <a:lnTo>
                    <a:pt x="1867424" y="3353635"/>
                  </a:lnTo>
                  <a:lnTo>
                    <a:pt x="1823077" y="3358991"/>
                  </a:lnTo>
                  <a:lnTo>
                    <a:pt x="1746881" y="3357527"/>
                  </a:lnTo>
                  <a:lnTo>
                    <a:pt x="1811009" y="3627944"/>
                  </a:lnTo>
                  <a:lnTo>
                    <a:pt x="1755879" y="3625570"/>
                  </a:lnTo>
                  <a:lnTo>
                    <a:pt x="1750684" y="3583169"/>
                  </a:lnTo>
                  <a:lnTo>
                    <a:pt x="1690966" y="3611627"/>
                  </a:lnTo>
                  <a:lnTo>
                    <a:pt x="1663973" y="3562478"/>
                  </a:lnTo>
                  <a:lnTo>
                    <a:pt x="1609665" y="3609234"/>
                  </a:lnTo>
                  <a:lnTo>
                    <a:pt x="1597578" y="3510937"/>
                  </a:lnTo>
                  <a:lnTo>
                    <a:pt x="1532701" y="3508134"/>
                  </a:lnTo>
                  <a:lnTo>
                    <a:pt x="1532433" y="3508134"/>
                  </a:lnTo>
                  <a:lnTo>
                    <a:pt x="1480553" y="3514472"/>
                  </a:lnTo>
                  <a:lnTo>
                    <a:pt x="1436314" y="3549142"/>
                  </a:lnTo>
                  <a:lnTo>
                    <a:pt x="1421424" y="3510419"/>
                  </a:lnTo>
                  <a:lnTo>
                    <a:pt x="1370812" y="3538234"/>
                  </a:lnTo>
                  <a:lnTo>
                    <a:pt x="1316718" y="3534145"/>
                  </a:lnTo>
                  <a:lnTo>
                    <a:pt x="1295401" y="3707532"/>
                  </a:lnTo>
                  <a:lnTo>
                    <a:pt x="1350888" y="3722278"/>
                  </a:lnTo>
                  <a:lnTo>
                    <a:pt x="1572263" y="3858924"/>
                  </a:lnTo>
                  <a:lnTo>
                    <a:pt x="1595240" y="3960828"/>
                  </a:lnTo>
                  <a:lnTo>
                    <a:pt x="1672881" y="3951312"/>
                  </a:lnTo>
                  <a:lnTo>
                    <a:pt x="1649923" y="3991320"/>
                  </a:lnTo>
                  <a:lnTo>
                    <a:pt x="1776196" y="4347520"/>
                  </a:lnTo>
                  <a:lnTo>
                    <a:pt x="1660313" y="4742264"/>
                  </a:lnTo>
                  <a:lnTo>
                    <a:pt x="1639336" y="4814479"/>
                  </a:lnTo>
                  <a:lnTo>
                    <a:pt x="1391682" y="4793734"/>
                  </a:lnTo>
                  <a:lnTo>
                    <a:pt x="1333339" y="4810998"/>
                  </a:lnTo>
                  <a:lnTo>
                    <a:pt x="1300025" y="4776292"/>
                  </a:lnTo>
                  <a:lnTo>
                    <a:pt x="1297383" y="4754672"/>
                  </a:lnTo>
                  <a:lnTo>
                    <a:pt x="789006" y="4651590"/>
                  </a:lnTo>
                  <a:lnTo>
                    <a:pt x="696457" y="4569931"/>
                  </a:lnTo>
                  <a:lnTo>
                    <a:pt x="529265" y="4559326"/>
                  </a:lnTo>
                  <a:lnTo>
                    <a:pt x="528319" y="4559326"/>
                  </a:lnTo>
                  <a:lnTo>
                    <a:pt x="477367" y="4587373"/>
                  </a:lnTo>
                  <a:lnTo>
                    <a:pt x="485561" y="4653964"/>
                  </a:lnTo>
                  <a:lnTo>
                    <a:pt x="434716" y="4622561"/>
                  </a:lnTo>
                  <a:lnTo>
                    <a:pt x="288430" y="4629970"/>
                  </a:lnTo>
                  <a:lnTo>
                    <a:pt x="262562" y="4688331"/>
                  </a:lnTo>
                  <a:lnTo>
                    <a:pt x="298589" y="4725822"/>
                  </a:lnTo>
                  <a:lnTo>
                    <a:pt x="297160" y="4799393"/>
                  </a:lnTo>
                  <a:lnTo>
                    <a:pt x="349576" y="4813247"/>
                  </a:lnTo>
                  <a:lnTo>
                    <a:pt x="225588" y="5217114"/>
                  </a:lnTo>
                  <a:lnTo>
                    <a:pt x="178582" y="5335942"/>
                  </a:lnTo>
                  <a:lnTo>
                    <a:pt x="128005" y="5424189"/>
                  </a:lnTo>
                  <a:lnTo>
                    <a:pt x="73643" y="5482121"/>
                  </a:lnTo>
                  <a:lnTo>
                    <a:pt x="37223" y="5528663"/>
                  </a:lnTo>
                  <a:lnTo>
                    <a:pt x="27708" y="5627550"/>
                  </a:lnTo>
                  <a:lnTo>
                    <a:pt x="74678" y="5621855"/>
                  </a:lnTo>
                  <a:lnTo>
                    <a:pt x="42329" y="5663309"/>
                  </a:lnTo>
                  <a:lnTo>
                    <a:pt x="82444" y="5714690"/>
                  </a:lnTo>
                  <a:lnTo>
                    <a:pt x="115097" y="5692963"/>
                  </a:lnTo>
                  <a:lnTo>
                    <a:pt x="12336" y="5995961"/>
                  </a:lnTo>
                  <a:lnTo>
                    <a:pt x="0" y="6074353"/>
                  </a:lnTo>
                  <a:lnTo>
                    <a:pt x="35313" y="6069961"/>
                  </a:lnTo>
                  <a:lnTo>
                    <a:pt x="82659" y="6043913"/>
                  </a:lnTo>
                  <a:lnTo>
                    <a:pt x="223053" y="6108327"/>
                  </a:lnTo>
                  <a:lnTo>
                    <a:pt x="224696" y="6109076"/>
                  </a:lnTo>
                  <a:lnTo>
                    <a:pt x="282682" y="6070568"/>
                  </a:lnTo>
                  <a:lnTo>
                    <a:pt x="341596" y="6063427"/>
                  </a:lnTo>
                  <a:lnTo>
                    <a:pt x="496505" y="6166509"/>
                  </a:lnTo>
                  <a:lnTo>
                    <a:pt x="543279" y="6378440"/>
                  </a:lnTo>
                  <a:lnTo>
                    <a:pt x="596392" y="6382439"/>
                  </a:lnTo>
                  <a:lnTo>
                    <a:pt x="632097" y="6419644"/>
                  </a:lnTo>
                  <a:lnTo>
                    <a:pt x="726110" y="6408111"/>
                  </a:lnTo>
                  <a:lnTo>
                    <a:pt x="799432" y="6337503"/>
                  </a:lnTo>
                  <a:lnTo>
                    <a:pt x="1090754" y="6373584"/>
                  </a:lnTo>
                  <a:lnTo>
                    <a:pt x="1184553" y="6382724"/>
                  </a:lnTo>
                  <a:lnTo>
                    <a:pt x="1185249" y="6382724"/>
                  </a:lnTo>
                  <a:lnTo>
                    <a:pt x="1234309" y="6366461"/>
                  </a:lnTo>
                  <a:lnTo>
                    <a:pt x="1277156" y="6381653"/>
                  </a:lnTo>
                  <a:lnTo>
                    <a:pt x="1299275" y="6378940"/>
                  </a:lnTo>
                  <a:lnTo>
                    <a:pt x="1455345" y="6225923"/>
                  </a:lnTo>
                  <a:lnTo>
                    <a:pt x="1526238" y="6227298"/>
                  </a:lnTo>
                  <a:lnTo>
                    <a:pt x="1526667" y="6227298"/>
                  </a:lnTo>
                  <a:lnTo>
                    <a:pt x="1615449" y="6205017"/>
                  </a:lnTo>
                  <a:lnTo>
                    <a:pt x="1577958" y="6186111"/>
                  </a:lnTo>
                  <a:lnTo>
                    <a:pt x="1652940" y="6067337"/>
                  </a:lnTo>
                  <a:lnTo>
                    <a:pt x="1761985" y="6043753"/>
                  </a:lnTo>
                  <a:lnTo>
                    <a:pt x="1763288" y="6043467"/>
                  </a:lnTo>
                  <a:lnTo>
                    <a:pt x="1809152" y="5972145"/>
                  </a:lnTo>
                  <a:lnTo>
                    <a:pt x="1741311" y="5938011"/>
                  </a:lnTo>
                  <a:lnTo>
                    <a:pt x="1706855" y="5821396"/>
                  </a:lnTo>
                  <a:lnTo>
                    <a:pt x="1861729" y="5587970"/>
                  </a:lnTo>
                  <a:lnTo>
                    <a:pt x="1942191" y="5567707"/>
                  </a:lnTo>
                  <a:lnTo>
                    <a:pt x="1971506" y="5471302"/>
                  </a:lnTo>
                  <a:lnTo>
                    <a:pt x="2200486" y="5422796"/>
                  </a:lnTo>
                  <a:lnTo>
                    <a:pt x="2201647" y="5422564"/>
                  </a:lnTo>
                  <a:lnTo>
                    <a:pt x="2246279" y="5365238"/>
                  </a:lnTo>
                  <a:lnTo>
                    <a:pt x="2382514" y="5307520"/>
                  </a:lnTo>
                  <a:lnTo>
                    <a:pt x="2383835" y="5306967"/>
                  </a:lnTo>
                  <a:lnTo>
                    <a:pt x="2414917" y="5219363"/>
                  </a:lnTo>
                  <a:lnTo>
                    <a:pt x="2415149" y="5218738"/>
                  </a:lnTo>
                  <a:lnTo>
                    <a:pt x="2402884" y="5035961"/>
                  </a:lnTo>
                  <a:lnTo>
                    <a:pt x="2572343" y="4934200"/>
                  </a:lnTo>
                  <a:lnTo>
                    <a:pt x="2744765" y="5014787"/>
                  </a:lnTo>
                  <a:lnTo>
                    <a:pt x="2770313" y="5053296"/>
                  </a:lnTo>
                  <a:lnTo>
                    <a:pt x="2908530" y="5078005"/>
                  </a:lnTo>
                  <a:lnTo>
                    <a:pt x="2909618" y="5078201"/>
                  </a:lnTo>
                  <a:lnTo>
                    <a:pt x="3268460" y="4889425"/>
                  </a:lnTo>
                  <a:lnTo>
                    <a:pt x="3269157" y="4889068"/>
                  </a:lnTo>
                  <a:lnTo>
                    <a:pt x="3338069" y="4789092"/>
                  </a:lnTo>
                  <a:lnTo>
                    <a:pt x="3551160" y="4874535"/>
                  </a:lnTo>
                  <a:lnTo>
                    <a:pt x="3673148" y="5116245"/>
                  </a:lnTo>
                  <a:lnTo>
                    <a:pt x="3673452" y="5116852"/>
                  </a:lnTo>
                  <a:lnTo>
                    <a:pt x="3868762" y="5278849"/>
                  </a:lnTo>
                  <a:lnTo>
                    <a:pt x="4021689" y="5435186"/>
                  </a:lnTo>
                  <a:lnTo>
                    <a:pt x="4119772" y="5549444"/>
                  </a:lnTo>
                  <a:lnTo>
                    <a:pt x="4167440" y="5512167"/>
                  </a:lnTo>
                  <a:lnTo>
                    <a:pt x="4384423" y="5636976"/>
                  </a:lnTo>
                  <a:lnTo>
                    <a:pt x="4355377" y="5687536"/>
                  </a:lnTo>
                  <a:lnTo>
                    <a:pt x="4448622" y="5643189"/>
                  </a:lnTo>
                  <a:lnTo>
                    <a:pt x="4472277" y="5752573"/>
                  </a:lnTo>
                  <a:lnTo>
                    <a:pt x="4523086" y="5746361"/>
                  </a:lnTo>
                  <a:lnTo>
                    <a:pt x="4543527" y="5827555"/>
                  </a:lnTo>
                  <a:lnTo>
                    <a:pt x="4621990" y="5786583"/>
                  </a:lnTo>
                  <a:lnTo>
                    <a:pt x="4670836" y="5860315"/>
                  </a:lnTo>
                  <a:lnTo>
                    <a:pt x="4751513" y="6015046"/>
                  </a:lnTo>
                  <a:lnTo>
                    <a:pt x="4765598" y="6051626"/>
                  </a:lnTo>
                  <a:lnTo>
                    <a:pt x="4668122" y="6105184"/>
                  </a:lnTo>
                  <a:lnTo>
                    <a:pt x="4693223" y="6134428"/>
                  </a:lnTo>
                  <a:lnTo>
                    <a:pt x="4659553" y="6189164"/>
                  </a:lnTo>
                  <a:lnTo>
                    <a:pt x="4667373" y="6252917"/>
                  </a:lnTo>
                  <a:lnTo>
                    <a:pt x="4703382" y="6271055"/>
                  </a:lnTo>
                  <a:lnTo>
                    <a:pt x="4754119" y="6243115"/>
                  </a:lnTo>
                  <a:lnTo>
                    <a:pt x="4831922" y="6037826"/>
                  </a:lnTo>
                  <a:lnTo>
                    <a:pt x="4868145" y="6013796"/>
                  </a:lnTo>
                  <a:lnTo>
                    <a:pt x="4911849" y="6019241"/>
                  </a:lnTo>
                  <a:lnTo>
                    <a:pt x="4930648" y="5908750"/>
                  </a:lnTo>
                  <a:lnTo>
                    <a:pt x="4796877" y="5822324"/>
                  </a:lnTo>
                  <a:lnTo>
                    <a:pt x="4857326" y="5665077"/>
                  </a:lnTo>
                  <a:lnTo>
                    <a:pt x="5033034" y="5703924"/>
                  </a:lnTo>
                  <a:lnTo>
                    <a:pt x="5075095" y="5792296"/>
                  </a:lnTo>
                  <a:lnTo>
                    <a:pt x="5131296" y="5785405"/>
                  </a:lnTo>
                  <a:lnTo>
                    <a:pt x="5119656" y="5690785"/>
                  </a:lnTo>
                  <a:lnTo>
                    <a:pt x="5119549" y="5689910"/>
                  </a:lnTo>
                  <a:lnTo>
                    <a:pt x="5044888" y="5594076"/>
                  </a:lnTo>
                  <a:lnTo>
                    <a:pt x="4970549" y="5582347"/>
                  </a:lnTo>
                  <a:lnTo>
                    <a:pt x="4656339" y="5436793"/>
                  </a:lnTo>
                  <a:lnTo>
                    <a:pt x="4661159" y="5397891"/>
                  </a:lnTo>
                  <a:lnTo>
                    <a:pt x="4686796" y="5353152"/>
                  </a:lnTo>
                  <a:lnTo>
                    <a:pt x="4685011" y="5339227"/>
                  </a:lnTo>
                  <a:lnTo>
                    <a:pt x="4568968" y="5332478"/>
                  </a:lnTo>
                  <a:lnTo>
                    <a:pt x="4261917" y="5165090"/>
                  </a:lnTo>
                  <a:lnTo>
                    <a:pt x="4208144" y="4977100"/>
                  </a:lnTo>
                  <a:lnTo>
                    <a:pt x="4207573" y="4975118"/>
                  </a:lnTo>
                  <a:lnTo>
                    <a:pt x="4133912" y="4963478"/>
                  </a:lnTo>
                  <a:lnTo>
                    <a:pt x="4119397" y="4925809"/>
                  </a:lnTo>
                  <a:lnTo>
                    <a:pt x="4119183" y="4925238"/>
                  </a:lnTo>
                  <a:lnTo>
                    <a:pt x="3953991" y="4741514"/>
                  </a:lnTo>
                  <a:lnTo>
                    <a:pt x="4008656" y="4694419"/>
                  </a:lnTo>
                  <a:lnTo>
                    <a:pt x="4004586" y="4661337"/>
                  </a:lnTo>
                  <a:lnTo>
                    <a:pt x="3945672" y="4588569"/>
                  </a:lnTo>
                  <a:lnTo>
                    <a:pt x="4162262" y="4471508"/>
                  </a:lnTo>
                  <a:lnTo>
                    <a:pt x="4203895" y="4512230"/>
                  </a:lnTo>
                  <a:lnTo>
                    <a:pt x="4137268" y="4540474"/>
                  </a:lnTo>
                  <a:lnTo>
                    <a:pt x="4156906" y="4613045"/>
                  </a:lnTo>
                  <a:lnTo>
                    <a:pt x="4157013" y="4613420"/>
                  </a:lnTo>
                  <a:lnTo>
                    <a:pt x="4184239" y="4662980"/>
                  </a:lnTo>
                  <a:lnTo>
                    <a:pt x="4254026" y="4698096"/>
                  </a:lnTo>
                  <a:lnTo>
                    <a:pt x="4279520" y="4640610"/>
                  </a:lnTo>
                  <a:lnTo>
                    <a:pt x="4319582" y="4566753"/>
                  </a:lnTo>
                  <a:lnTo>
                    <a:pt x="4384298" y="4617402"/>
                  </a:lnTo>
                  <a:lnTo>
                    <a:pt x="4440391" y="4742853"/>
                  </a:lnTo>
                  <a:lnTo>
                    <a:pt x="4429019" y="4815497"/>
                  </a:lnTo>
                  <a:lnTo>
                    <a:pt x="4428823" y="4816746"/>
                  </a:lnTo>
                  <a:lnTo>
                    <a:pt x="4455209" y="4856612"/>
                  </a:lnTo>
                  <a:lnTo>
                    <a:pt x="4588159" y="4933129"/>
                  </a:lnTo>
                  <a:lnTo>
                    <a:pt x="4613974" y="4972012"/>
                  </a:lnTo>
                  <a:lnTo>
                    <a:pt x="4749156" y="4976172"/>
                  </a:lnTo>
                  <a:lnTo>
                    <a:pt x="5260515" y="5303182"/>
                  </a:lnTo>
                  <a:lnTo>
                    <a:pt x="5232450" y="5409567"/>
                  </a:lnTo>
                  <a:lnTo>
                    <a:pt x="5255319" y="5427420"/>
                  </a:lnTo>
                  <a:lnTo>
                    <a:pt x="5228773" y="5542892"/>
                  </a:lnTo>
                  <a:lnTo>
                    <a:pt x="5250338" y="5633816"/>
                  </a:lnTo>
                  <a:lnTo>
                    <a:pt x="5250481" y="5634388"/>
                  </a:lnTo>
                  <a:lnTo>
                    <a:pt x="5288722" y="5692034"/>
                  </a:lnTo>
                  <a:lnTo>
                    <a:pt x="5288937" y="5692356"/>
                  </a:lnTo>
                  <a:lnTo>
                    <a:pt x="5554944" y="5937082"/>
                  </a:lnTo>
                  <a:lnTo>
                    <a:pt x="5512882" y="6132946"/>
                  </a:lnTo>
                  <a:lnTo>
                    <a:pt x="5601432" y="6190593"/>
                  </a:lnTo>
                  <a:lnTo>
                    <a:pt x="5651420" y="6259594"/>
                  </a:lnTo>
                  <a:lnTo>
                    <a:pt x="5775908" y="6300477"/>
                  </a:lnTo>
                  <a:lnTo>
                    <a:pt x="5774587" y="6376280"/>
                  </a:lnTo>
                  <a:lnTo>
                    <a:pt x="5810775" y="6408754"/>
                  </a:lnTo>
                  <a:lnTo>
                    <a:pt x="5833983" y="6488056"/>
                  </a:lnTo>
                  <a:lnTo>
                    <a:pt x="5878383" y="6488824"/>
                  </a:lnTo>
                  <a:lnTo>
                    <a:pt x="5905948" y="6414306"/>
                  </a:lnTo>
                  <a:lnTo>
                    <a:pt x="5958043" y="6464080"/>
                  </a:lnTo>
                  <a:lnTo>
                    <a:pt x="5969629" y="6545828"/>
                  </a:lnTo>
                  <a:lnTo>
                    <a:pt x="6031168" y="6528564"/>
                  </a:lnTo>
                  <a:lnTo>
                    <a:pt x="6026919" y="6420305"/>
                  </a:lnTo>
                  <a:lnTo>
                    <a:pt x="6026919" y="6419876"/>
                  </a:lnTo>
                  <a:lnTo>
                    <a:pt x="5982858" y="6280089"/>
                  </a:lnTo>
                  <a:lnTo>
                    <a:pt x="6035131" y="6274733"/>
                  </a:lnTo>
                  <a:lnTo>
                    <a:pt x="6045843" y="6185469"/>
                  </a:lnTo>
                  <a:lnTo>
                    <a:pt x="5992284" y="6117628"/>
                  </a:lnTo>
                  <a:lnTo>
                    <a:pt x="6066588" y="6094259"/>
                  </a:lnTo>
                  <a:lnTo>
                    <a:pt x="6145426" y="6140783"/>
                  </a:lnTo>
                  <a:lnTo>
                    <a:pt x="6145426" y="6048823"/>
                  </a:lnTo>
                  <a:lnTo>
                    <a:pt x="6086208" y="5970164"/>
                  </a:lnTo>
                  <a:lnTo>
                    <a:pt x="5950205" y="5889826"/>
                  </a:lnTo>
                  <a:lnTo>
                    <a:pt x="5897504" y="5786637"/>
                  </a:lnTo>
                  <a:lnTo>
                    <a:pt x="5822522" y="5697087"/>
                  </a:lnTo>
                  <a:lnTo>
                    <a:pt x="5820861" y="5589613"/>
                  </a:lnTo>
                  <a:lnTo>
                    <a:pt x="5873849" y="5608697"/>
                  </a:lnTo>
                  <a:lnTo>
                    <a:pt x="5974003" y="5643528"/>
                  </a:lnTo>
                  <a:lnTo>
                    <a:pt x="5994462" y="5577008"/>
                  </a:lnTo>
                  <a:lnTo>
                    <a:pt x="6006210" y="5511542"/>
                  </a:lnTo>
                  <a:lnTo>
                    <a:pt x="6085726" y="5438489"/>
                  </a:lnTo>
                  <a:lnTo>
                    <a:pt x="6230334" y="5381591"/>
                  </a:lnTo>
                  <a:lnTo>
                    <a:pt x="6333791" y="5406728"/>
                  </a:lnTo>
                  <a:lnTo>
                    <a:pt x="6374406" y="5424117"/>
                  </a:lnTo>
                  <a:lnTo>
                    <a:pt x="6534778" y="5350171"/>
                  </a:lnTo>
                  <a:lnTo>
                    <a:pt x="6535385" y="5349903"/>
                  </a:lnTo>
                  <a:lnTo>
                    <a:pt x="6635022" y="5238787"/>
                  </a:lnTo>
                  <a:lnTo>
                    <a:pt x="6730838" y="5213329"/>
                  </a:lnTo>
                  <a:lnTo>
                    <a:pt x="6836723" y="5149469"/>
                  </a:lnTo>
                  <a:lnTo>
                    <a:pt x="6838044" y="5148666"/>
                  </a:lnTo>
                  <a:lnTo>
                    <a:pt x="6848756" y="5069310"/>
                  </a:lnTo>
                  <a:lnTo>
                    <a:pt x="6726125" y="5051100"/>
                  </a:lnTo>
                  <a:lnTo>
                    <a:pt x="6574840" y="4880142"/>
                  </a:lnTo>
                  <a:lnTo>
                    <a:pt x="6582892" y="4704738"/>
                  </a:lnTo>
                  <a:lnTo>
                    <a:pt x="6678708" y="4545633"/>
                  </a:lnTo>
                  <a:lnTo>
                    <a:pt x="6679226" y="4544740"/>
                  </a:lnTo>
                  <a:lnTo>
                    <a:pt x="6663747" y="4362053"/>
                  </a:lnTo>
                  <a:lnTo>
                    <a:pt x="6687045" y="4280572"/>
                  </a:lnTo>
                  <a:lnTo>
                    <a:pt x="6784539" y="4134304"/>
                  </a:lnTo>
                  <a:lnTo>
                    <a:pt x="6785218" y="4133304"/>
                  </a:lnTo>
                  <a:lnTo>
                    <a:pt x="6767526" y="3995534"/>
                  </a:lnTo>
                  <a:lnTo>
                    <a:pt x="6857557" y="3881044"/>
                  </a:lnTo>
                  <a:lnTo>
                    <a:pt x="6857718" y="3880847"/>
                  </a:lnTo>
                  <a:lnTo>
                    <a:pt x="6924773" y="3761341"/>
                  </a:lnTo>
                  <a:lnTo>
                    <a:pt x="7024088" y="3775783"/>
                  </a:lnTo>
                  <a:lnTo>
                    <a:pt x="7045637" y="3870171"/>
                  </a:lnTo>
                  <a:lnTo>
                    <a:pt x="7186085" y="3816363"/>
                  </a:lnTo>
                  <a:lnTo>
                    <a:pt x="7272886" y="3825700"/>
                  </a:lnTo>
                  <a:lnTo>
                    <a:pt x="7248945" y="3893540"/>
                  </a:lnTo>
                  <a:lnTo>
                    <a:pt x="7167590" y="3993034"/>
                  </a:lnTo>
                  <a:lnTo>
                    <a:pt x="7309056" y="4035881"/>
                  </a:lnTo>
                  <a:lnTo>
                    <a:pt x="7349153" y="4123146"/>
                  </a:lnTo>
                  <a:lnTo>
                    <a:pt x="7349581" y="4124110"/>
                  </a:lnTo>
                  <a:lnTo>
                    <a:pt x="7438203" y="4173669"/>
                  </a:lnTo>
                  <a:lnTo>
                    <a:pt x="7513346" y="4058590"/>
                  </a:lnTo>
                  <a:lnTo>
                    <a:pt x="7594254" y="3924908"/>
                  </a:lnTo>
                  <a:lnTo>
                    <a:pt x="7680591" y="3821701"/>
                  </a:lnTo>
                  <a:lnTo>
                    <a:pt x="7560244" y="3763840"/>
                  </a:lnTo>
                  <a:lnTo>
                    <a:pt x="7457127" y="3679932"/>
                  </a:lnTo>
                  <a:lnTo>
                    <a:pt x="7506026" y="3565495"/>
                  </a:lnTo>
                  <a:lnTo>
                    <a:pt x="7626764" y="3455147"/>
                  </a:lnTo>
                  <a:lnTo>
                    <a:pt x="7744468" y="3365204"/>
                  </a:lnTo>
                  <a:lnTo>
                    <a:pt x="7744646" y="3365079"/>
                  </a:lnTo>
                  <a:lnTo>
                    <a:pt x="7875972" y="3235843"/>
                  </a:lnTo>
                  <a:lnTo>
                    <a:pt x="7990926" y="3171876"/>
                  </a:lnTo>
                  <a:lnTo>
                    <a:pt x="8022508" y="3182480"/>
                  </a:lnTo>
                  <a:lnTo>
                    <a:pt x="7999049" y="3293168"/>
                  </a:lnTo>
                  <a:lnTo>
                    <a:pt x="7881506" y="3401713"/>
                  </a:lnTo>
                  <a:lnTo>
                    <a:pt x="7899538" y="3485086"/>
                  </a:lnTo>
                  <a:lnTo>
                    <a:pt x="7899681" y="3485729"/>
                  </a:lnTo>
                  <a:lnTo>
                    <a:pt x="7936118" y="3537716"/>
                  </a:lnTo>
                  <a:lnTo>
                    <a:pt x="7895289" y="3624909"/>
                  </a:lnTo>
                  <a:lnTo>
                    <a:pt x="7831769" y="3702801"/>
                  </a:lnTo>
                  <a:lnTo>
                    <a:pt x="7831322" y="3703337"/>
                  </a:lnTo>
                  <a:lnTo>
                    <a:pt x="7810720" y="3780247"/>
                  </a:lnTo>
                  <a:lnTo>
                    <a:pt x="7870473" y="3825914"/>
                  </a:lnTo>
                  <a:lnTo>
                    <a:pt x="8051501" y="3852961"/>
                  </a:lnTo>
                  <a:lnTo>
                    <a:pt x="8239367" y="3866708"/>
                  </a:lnTo>
                  <a:lnTo>
                    <a:pt x="8493930" y="3999051"/>
                  </a:lnTo>
                  <a:lnTo>
                    <a:pt x="8494644" y="3999444"/>
                  </a:lnTo>
                  <a:lnTo>
                    <a:pt x="8676260" y="3996837"/>
                  </a:lnTo>
                  <a:lnTo>
                    <a:pt x="8783145" y="4060982"/>
                  </a:lnTo>
                  <a:lnTo>
                    <a:pt x="8854824" y="4146837"/>
                  </a:lnTo>
                  <a:lnTo>
                    <a:pt x="8853914" y="4260202"/>
                  </a:lnTo>
                  <a:lnTo>
                    <a:pt x="8756152" y="4377513"/>
                  </a:lnTo>
                  <a:lnTo>
                    <a:pt x="8755831" y="4377924"/>
                  </a:lnTo>
                  <a:lnTo>
                    <a:pt x="8707431" y="4497734"/>
                  </a:lnTo>
                  <a:lnTo>
                    <a:pt x="8543185" y="4579500"/>
                  </a:lnTo>
                  <a:lnTo>
                    <a:pt x="8400488" y="4651893"/>
                  </a:lnTo>
                  <a:lnTo>
                    <a:pt x="8256005" y="4648644"/>
                  </a:lnTo>
                  <a:lnTo>
                    <a:pt x="8099204" y="4651893"/>
                  </a:lnTo>
                  <a:lnTo>
                    <a:pt x="7927477" y="4621079"/>
                  </a:lnTo>
                  <a:lnTo>
                    <a:pt x="7766195" y="4588658"/>
                  </a:lnTo>
                  <a:lnTo>
                    <a:pt x="7671308" y="4657731"/>
                  </a:lnTo>
                  <a:lnTo>
                    <a:pt x="7539197" y="4735962"/>
                  </a:lnTo>
                  <a:lnTo>
                    <a:pt x="7446362" y="4775542"/>
                  </a:lnTo>
                  <a:lnTo>
                    <a:pt x="7445719" y="4775828"/>
                  </a:lnTo>
                  <a:lnTo>
                    <a:pt x="7324445" y="4906153"/>
                  </a:lnTo>
                  <a:lnTo>
                    <a:pt x="7258389" y="4961122"/>
                  </a:lnTo>
                  <a:lnTo>
                    <a:pt x="7258246" y="4961247"/>
                  </a:lnTo>
                  <a:lnTo>
                    <a:pt x="7192959" y="5030641"/>
                  </a:lnTo>
                  <a:lnTo>
                    <a:pt x="7022053" y="5035836"/>
                  </a:lnTo>
                  <a:lnTo>
                    <a:pt x="7021411" y="5035836"/>
                  </a:lnTo>
                  <a:lnTo>
                    <a:pt x="6914847" y="5085021"/>
                  </a:lnTo>
                  <a:lnTo>
                    <a:pt x="6880159" y="5109068"/>
                  </a:lnTo>
                  <a:lnTo>
                    <a:pt x="6851862" y="5169375"/>
                  </a:lnTo>
                  <a:lnTo>
                    <a:pt x="6851559" y="5170018"/>
                  </a:lnTo>
                  <a:lnTo>
                    <a:pt x="6851559" y="5229093"/>
                  </a:lnTo>
                  <a:lnTo>
                    <a:pt x="6816888" y="5284044"/>
                  </a:lnTo>
                  <a:lnTo>
                    <a:pt x="6769686" y="5316340"/>
                  </a:lnTo>
                  <a:lnTo>
                    <a:pt x="6663765" y="5354991"/>
                  </a:lnTo>
                  <a:lnTo>
                    <a:pt x="6539438" y="5383823"/>
                  </a:lnTo>
                  <a:lnTo>
                    <a:pt x="6435642" y="5427527"/>
                  </a:lnTo>
                  <a:lnTo>
                    <a:pt x="6392384" y="5485781"/>
                  </a:lnTo>
                  <a:lnTo>
                    <a:pt x="6386868" y="5571849"/>
                  </a:lnTo>
                  <a:lnTo>
                    <a:pt x="6386868" y="5572278"/>
                  </a:lnTo>
                  <a:lnTo>
                    <a:pt x="6407380" y="5674039"/>
                  </a:lnTo>
                  <a:lnTo>
                    <a:pt x="6406006" y="5714975"/>
                  </a:lnTo>
                  <a:lnTo>
                    <a:pt x="6546008" y="5784316"/>
                  </a:lnTo>
                  <a:lnTo>
                    <a:pt x="6506999" y="5899931"/>
                  </a:lnTo>
                  <a:lnTo>
                    <a:pt x="6469705" y="5938029"/>
                  </a:lnTo>
                  <a:lnTo>
                    <a:pt x="6630380" y="5970431"/>
                  </a:lnTo>
                  <a:lnTo>
                    <a:pt x="6654963" y="6116503"/>
                  </a:lnTo>
                  <a:lnTo>
                    <a:pt x="6655160" y="6117628"/>
                  </a:lnTo>
                  <a:lnTo>
                    <a:pt x="6728017" y="6182755"/>
                  </a:lnTo>
                  <a:lnTo>
                    <a:pt x="6831867" y="6200697"/>
                  </a:lnTo>
                  <a:lnTo>
                    <a:pt x="6831867" y="6292229"/>
                  </a:lnTo>
                  <a:lnTo>
                    <a:pt x="7009182" y="6252006"/>
                  </a:lnTo>
                  <a:lnTo>
                    <a:pt x="7227093" y="6274911"/>
                  </a:lnTo>
                  <a:lnTo>
                    <a:pt x="7227682" y="6274911"/>
                  </a:lnTo>
                  <a:lnTo>
                    <a:pt x="7333246" y="6246579"/>
                  </a:lnTo>
                  <a:lnTo>
                    <a:pt x="7369219" y="6185540"/>
                  </a:lnTo>
                  <a:lnTo>
                    <a:pt x="7387412" y="6135320"/>
                  </a:lnTo>
                  <a:lnTo>
                    <a:pt x="7368095" y="6035684"/>
                  </a:lnTo>
                  <a:lnTo>
                    <a:pt x="7488155" y="6009993"/>
                  </a:lnTo>
                  <a:lnTo>
                    <a:pt x="7584168" y="6032970"/>
                  </a:lnTo>
                  <a:lnTo>
                    <a:pt x="7669611" y="6070461"/>
                  </a:lnTo>
                  <a:lnTo>
                    <a:pt x="7669843" y="6070568"/>
                  </a:lnTo>
                  <a:lnTo>
                    <a:pt x="7779299" y="6098436"/>
                  </a:lnTo>
                  <a:lnTo>
                    <a:pt x="7780210" y="6098668"/>
                  </a:lnTo>
                  <a:lnTo>
                    <a:pt x="7892540" y="6062784"/>
                  </a:lnTo>
                  <a:lnTo>
                    <a:pt x="7893611" y="6062463"/>
                  </a:lnTo>
                  <a:lnTo>
                    <a:pt x="7964736" y="5957131"/>
                  </a:lnTo>
                  <a:lnTo>
                    <a:pt x="8019580" y="5895378"/>
                  </a:lnTo>
                  <a:lnTo>
                    <a:pt x="8059481" y="5843605"/>
                  </a:lnTo>
                  <a:lnTo>
                    <a:pt x="8115503" y="5791832"/>
                  </a:lnTo>
                  <a:lnTo>
                    <a:pt x="8228422" y="5805721"/>
                  </a:lnTo>
                  <a:lnTo>
                    <a:pt x="8273394" y="5745022"/>
                  </a:lnTo>
                  <a:lnTo>
                    <a:pt x="8325167" y="5704192"/>
                  </a:lnTo>
                  <a:lnTo>
                    <a:pt x="8355999" y="5817004"/>
                  </a:lnTo>
                  <a:lnTo>
                    <a:pt x="8342823" y="5939189"/>
                  </a:lnTo>
                  <a:lnTo>
                    <a:pt x="8342823" y="5939528"/>
                  </a:lnTo>
                  <a:lnTo>
                    <a:pt x="8348911" y="5993086"/>
                  </a:lnTo>
                  <a:lnTo>
                    <a:pt x="8349019" y="5994015"/>
                  </a:lnTo>
                  <a:lnTo>
                    <a:pt x="8433266" y="6099115"/>
                  </a:lnTo>
                  <a:lnTo>
                    <a:pt x="8428177" y="6286123"/>
                  </a:lnTo>
                  <a:lnTo>
                    <a:pt x="8371638" y="6419198"/>
                  </a:lnTo>
                  <a:lnTo>
                    <a:pt x="8371316" y="6419930"/>
                  </a:lnTo>
                  <a:lnTo>
                    <a:pt x="8380243" y="6524869"/>
                  </a:lnTo>
                  <a:lnTo>
                    <a:pt x="8364836" y="6638216"/>
                  </a:lnTo>
                  <a:lnTo>
                    <a:pt x="8364836" y="6638502"/>
                  </a:lnTo>
                  <a:cubicBezTo>
                    <a:pt x="8364836" y="6638823"/>
                    <a:pt x="8363301" y="6671316"/>
                    <a:pt x="8363372" y="6703718"/>
                  </a:cubicBezTo>
                  <a:cubicBezTo>
                    <a:pt x="8363497" y="6768720"/>
                    <a:pt x="8369728" y="6772969"/>
                    <a:pt x="8373495" y="6773934"/>
                  </a:cubicBezTo>
                  <a:cubicBezTo>
                    <a:pt x="8377798" y="6780360"/>
                    <a:pt x="8373905" y="6830581"/>
                    <a:pt x="8366817" y="6886995"/>
                  </a:cubicBezTo>
                  <a:lnTo>
                    <a:pt x="8373280" y="6886995"/>
                  </a:lnTo>
                  <a:cubicBezTo>
                    <a:pt x="8374602" y="6876534"/>
                    <a:pt x="8375958" y="6865179"/>
                    <a:pt x="8377173" y="6853843"/>
                  </a:cubicBezTo>
                  <a:cubicBezTo>
                    <a:pt x="8379707" y="6830277"/>
                    <a:pt x="8381189" y="6811371"/>
                    <a:pt x="8381582" y="6797660"/>
                  </a:cubicBezTo>
                  <a:cubicBezTo>
                    <a:pt x="8382242" y="6774451"/>
                    <a:pt x="8379796" y="6768899"/>
                    <a:pt x="8375655" y="6767774"/>
                  </a:cubicBezTo>
                  <a:cubicBezTo>
                    <a:pt x="8369460" y="6762186"/>
                    <a:pt x="8368514" y="6696774"/>
                    <a:pt x="8371299" y="6638930"/>
                  </a:cubicBezTo>
                  <a:lnTo>
                    <a:pt x="8386741" y="6525387"/>
                  </a:lnTo>
                  <a:lnTo>
                    <a:pt x="8386741" y="6525029"/>
                  </a:lnTo>
                  <a:lnTo>
                    <a:pt x="8377958" y="6420983"/>
                  </a:lnTo>
                  <a:lnTo>
                    <a:pt x="8434497" y="6287712"/>
                  </a:lnTo>
                  <a:lnTo>
                    <a:pt x="8439675" y="6097115"/>
                  </a:lnTo>
                  <a:lnTo>
                    <a:pt x="8355107" y="5991623"/>
                  </a:lnTo>
                  <a:lnTo>
                    <a:pt x="8349215" y="5939653"/>
                  </a:lnTo>
                  <a:lnTo>
                    <a:pt x="8362480" y="5816612"/>
                  </a:lnTo>
                  <a:lnTo>
                    <a:pt x="8328791" y="5693266"/>
                  </a:lnTo>
                  <a:lnTo>
                    <a:pt x="8268984" y="5740415"/>
                  </a:lnTo>
                  <a:lnTo>
                    <a:pt x="8268645" y="5740683"/>
                  </a:lnTo>
                  <a:lnTo>
                    <a:pt x="8225388" y="5799008"/>
                  </a:lnTo>
                  <a:lnTo>
                    <a:pt x="8114700" y="5785423"/>
                  </a:lnTo>
                  <a:lnTo>
                    <a:pt x="8113201" y="5785244"/>
                  </a:lnTo>
                  <a:lnTo>
                    <a:pt x="8054768" y="5839302"/>
                  </a:lnTo>
                  <a:lnTo>
                    <a:pt x="8054572" y="5839481"/>
                  </a:lnTo>
                  <a:lnTo>
                    <a:pt x="8014581" y="5891433"/>
                  </a:lnTo>
                  <a:lnTo>
                    <a:pt x="7959524" y="5953435"/>
                  </a:lnTo>
                  <a:lnTo>
                    <a:pt x="7889415" y="6057161"/>
                  </a:lnTo>
                  <a:lnTo>
                    <a:pt x="7779924" y="6092134"/>
                  </a:lnTo>
                  <a:lnTo>
                    <a:pt x="7671807" y="6064605"/>
                  </a:lnTo>
                  <a:lnTo>
                    <a:pt x="7586345" y="6027114"/>
                  </a:lnTo>
                  <a:lnTo>
                    <a:pt x="7488155" y="6003548"/>
                  </a:lnTo>
                  <a:lnTo>
                    <a:pt x="7360454" y="6030881"/>
                  </a:lnTo>
                  <a:lnTo>
                    <a:pt x="7380646" y="6134999"/>
                  </a:lnTo>
                  <a:lnTo>
                    <a:pt x="7363417" y="6182701"/>
                  </a:lnTo>
                  <a:lnTo>
                    <a:pt x="7328944" y="6241223"/>
                  </a:lnTo>
                  <a:lnTo>
                    <a:pt x="7227182" y="6268556"/>
                  </a:lnTo>
                  <a:lnTo>
                    <a:pt x="7009378" y="6245650"/>
                  </a:lnTo>
                  <a:lnTo>
                    <a:pt x="7008860" y="6245650"/>
                  </a:lnTo>
                  <a:lnTo>
                    <a:pt x="6838241" y="6284195"/>
                  </a:lnTo>
                  <a:lnTo>
                    <a:pt x="6838241" y="6195323"/>
                  </a:lnTo>
                  <a:lnTo>
                    <a:pt x="6730856" y="6176774"/>
                  </a:lnTo>
                  <a:lnTo>
                    <a:pt x="6661069" y="6114290"/>
                  </a:lnTo>
                  <a:lnTo>
                    <a:pt x="6635932" y="5964950"/>
                  </a:lnTo>
                  <a:lnTo>
                    <a:pt x="6482666" y="5934030"/>
                  </a:lnTo>
                  <a:lnTo>
                    <a:pt x="6512659" y="5903394"/>
                  </a:lnTo>
                  <a:lnTo>
                    <a:pt x="6553935" y="5781013"/>
                  </a:lnTo>
                  <a:lnTo>
                    <a:pt x="6412611" y="5710940"/>
                  </a:lnTo>
                  <a:lnTo>
                    <a:pt x="6413861" y="5673789"/>
                  </a:lnTo>
                  <a:lnTo>
                    <a:pt x="6413861" y="5673396"/>
                  </a:lnTo>
                  <a:lnTo>
                    <a:pt x="6393402" y="5571867"/>
                  </a:lnTo>
                  <a:lnTo>
                    <a:pt x="6398757" y="5488137"/>
                  </a:lnTo>
                  <a:lnTo>
                    <a:pt x="6439819" y="5432794"/>
                  </a:lnTo>
                  <a:lnTo>
                    <a:pt x="6541205" y="5390036"/>
                  </a:lnTo>
                  <a:lnTo>
                    <a:pt x="6665425" y="5361222"/>
                  </a:lnTo>
                  <a:lnTo>
                    <a:pt x="6665621" y="5361222"/>
                  </a:lnTo>
                  <a:lnTo>
                    <a:pt x="6772310" y="5322302"/>
                  </a:lnTo>
                  <a:lnTo>
                    <a:pt x="6772703" y="5322159"/>
                  </a:lnTo>
                  <a:lnTo>
                    <a:pt x="6821673" y="5288650"/>
                  </a:lnTo>
                  <a:lnTo>
                    <a:pt x="6857557" y="5231753"/>
                  </a:lnTo>
                  <a:lnTo>
                    <a:pt x="6858057" y="5230967"/>
                  </a:lnTo>
                  <a:lnTo>
                    <a:pt x="6858057" y="5171500"/>
                  </a:lnTo>
                  <a:lnTo>
                    <a:pt x="6885301" y="5113424"/>
                  </a:lnTo>
                  <a:lnTo>
                    <a:pt x="6917846" y="5090787"/>
                  </a:lnTo>
                  <a:lnTo>
                    <a:pt x="7022910" y="5042299"/>
                  </a:lnTo>
                  <a:lnTo>
                    <a:pt x="7194494" y="5037068"/>
                  </a:lnTo>
                  <a:lnTo>
                    <a:pt x="7195833" y="5037068"/>
                  </a:lnTo>
                  <a:lnTo>
                    <a:pt x="7262674" y="4965995"/>
                  </a:lnTo>
                  <a:lnTo>
                    <a:pt x="7328872" y="4910902"/>
                  </a:lnTo>
                  <a:lnTo>
                    <a:pt x="7449486" y="4781219"/>
                  </a:lnTo>
                  <a:lnTo>
                    <a:pt x="7541910" y="4741818"/>
                  </a:lnTo>
                  <a:lnTo>
                    <a:pt x="7542124" y="4741729"/>
                  </a:lnTo>
                  <a:lnTo>
                    <a:pt x="7674664" y="4663176"/>
                  </a:lnTo>
                  <a:lnTo>
                    <a:pt x="7767641" y="4595514"/>
                  </a:lnTo>
                  <a:lnTo>
                    <a:pt x="7926210" y="4627399"/>
                  </a:lnTo>
                  <a:lnTo>
                    <a:pt x="8098633" y="4658338"/>
                  </a:lnTo>
                  <a:lnTo>
                    <a:pt x="8255916" y="4655071"/>
                  </a:lnTo>
                  <a:lnTo>
                    <a:pt x="8401077" y="4658338"/>
                  </a:lnTo>
                  <a:lnTo>
                    <a:pt x="8401899" y="4658338"/>
                  </a:lnTo>
                  <a:lnTo>
                    <a:pt x="8546006" y="4585141"/>
                  </a:lnTo>
                  <a:lnTo>
                    <a:pt x="8711377" y="4502858"/>
                  </a:lnTo>
                  <a:lnTo>
                    <a:pt x="8712466" y="4502304"/>
                  </a:lnTo>
                  <a:lnTo>
                    <a:pt x="8761400" y="4381155"/>
                  </a:lnTo>
                  <a:lnTo>
                    <a:pt x="8859449" y="4263666"/>
                  </a:lnTo>
                  <a:lnTo>
                    <a:pt x="8860199" y="4262773"/>
                  </a:lnTo>
                  <a:lnTo>
                    <a:pt x="8861127" y="4144712"/>
                  </a:lnTo>
                  <a:lnTo>
                    <a:pt x="8787573" y="4056608"/>
                  </a:lnTo>
                  <a:lnTo>
                    <a:pt x="8787234" y="4056198"/>
                  </a:lnTo>
                  <a:lnTo>
                    <a:pt x="8677814" y="3990535"/>
                  </a:lnTo>
                  <a:lnTo>
                    <a:pt x="8495982" y="3993141"/>
                  </a:lnTo>
                  <a:lnTo>
                    <a:pt x="8241544" y="3860888"/>
                  </a:lnTo>
                  <a:lnTo>
                    <a:pt x="8240955" y="3860566"/>
                  </a:lnTo>
                  <a:lnTo>
                    <a:pt x="8052072" y="3846766"/>
                  </a:lnTo>
                  <a:lnTo>
                    <a:pt x="7872830" y="3819987"/>
                  </a:lnTo>
                  <a:lnTo>
                    <a:pt x="7817843" y="3777979"/>
                  </a:lnTo>
                  <a:lnTo>
                    <a:pt x="7836963" y="3706568"/>
                  </a:lnTo>
                  <a:lnTo>
                    <a:pt x="7900288" y="3628908"/>
                  </a:lnTo>
                  <a:lnTo>
                    <a:pt x="7900555" y="3628605"/>
                  </a:lnTo>
                  <a:lnTo>
                    <a:pt x="7943313" y="3537287"/>
                  </a:lnTo>
                  <a:lnTo>
                    <a:pt x="7905483" y="3483301"/>
                  </a:lnTo>
                  <a:lnTo>
                    <a:pt x="7888344" y="3404195"/>
                  </a:lnTo>
                  <a:lnTo>
                    <a:pt x="8003941" y="3297435"/>
                  </a:lnTo>
                  <a:lnTo>
                    <a:pt x="8004691" y="3296739"/>
                  </a:lnTo>
                  <a:lnTo>
                    <a:pt x="8029792" y="3178285"/>
                  </a:lnTo>
                  <a:lnTo>
                    <a:pt x="7990034" y="3164949"/>
                  </a:lnTo>
                  <a:lnTo>
                    <a:pt x="7872205" y="3230522"/>
                  </a:lnTo>
                  <a:lnTo>
                    <a:pt x="7871830" y="3230737"/>
                  </a:lnTo>
                  <a:lnTo>
                    <a:pt x="7740166" y="3360295"/>
                  </a:lnTo>
                  <a:lnTo>
                    <a:pt x="7622480" y="3450201"/>
                  </a:lnTo>
                  <a:lnTo>
                    <a:pt x="7500902" y="3561300"/>
                  </a:lnTo>
                  <a:lnTo>
                    <a:pt x="7500384" y="3561764"/>
                  </a:lnTo>
                  <a:lnTo>
                    <a:pt x="7449022" y="3681985"/>
                  </a:lnTo>
                  <a:lnTo>
                    <a:pt x="7556227" y="3769285"/>
                  </a:lnTo>
                  <a:lnTo>
                    <a:pt x="7556513" y="3769535"/>
                  </a:lnTo>
                  <a:lnTo>
                    <a:pt x="7670022" y="3824075"/>
                  </a:lnTo>
                  <a:lnTo>
                    <a:pt x="7588845" y="3921088"/>
                  </a:lnTo>
                  <a:lnTo>
                    <a:pt x="7588703" y="3921284"/>
                  </a:lnTo>
                  <a:lnTo>
                    <a:pt x="7507597" y="4055305"/>
                  </a:lnTo>
                  <a:lnTo>
                    <a:pt x="7435828" y="4165207"/>
                  </a:lnTo>
                  <a:lnTo>
                    <a:pt x="7354313" y="4119647"/>
                  </a:lnTo>
                  <a:lnTo>
                    <a:pt x="7313447" y="4030704"/>
                  </a:lnTo>
                  <a:lnTo>
                    <a:pt x="7178444" y="3989732"/>
                  </a:lnTo>
                  <a:lnTo>
                    <a:pt x="7254051" y="3897272"/>
                  </a:lnTo>
                  <a:lnTo>
                    <a:pt x="7254408" y="3896826"/>
                  </a:lnTo>
                  <a:lnTo>
                    <a:pt x="7281437" y="3820201"/>
                  </a:lnTo>
                  <a:lnTo>
                    <a:pt x="7185728" y="3809900"/>
                  </a:lnTo>
                  <a:lnTo>
                    <a:pt x="7184943" y="3809811"/>
                  </a:lnTo>
                  <a:lnTo>
                    <a:pt x="7050011" y="3861584"/>
                  </a:lnTo>
                  <a:lnTo>
                    <a:pt x="7029141" y="3770124"/>
                  </a:lnTo>
                  <a:lnTo>
                    <a:pt x="6921042" y="3754414"/>
                  </a:lnTo>
                  <a:lnTo>
                    <a:pt x="6852041" y="3877348"/>
                  </a:lnTo>
                  <a:lnTo>
                    <a:pt x="6760492" y="3993766"/>
                  </a:lnTo>
                  <a:lnTo>
                    <a:pt x="6778219" y="4131840"/>
                  </a:lnTo>
                  <a:lnTo>
                    <a:pt x="6681100" y="4277519"/>
                  </a:lnTo>
                  <a:lnTo>
                    <a:pt x="6680832" y="4277948"/>
                  </a:lnTo>
                  <a:lnTo>
                    <a:pt x="6657106" y="4360963"/>
                  </a:lnTo>
                  <a:lnTo>
                    <a:pt x="6656945" y="4361535"/>
                  </a:lnTo>
                  <a:lnTo>
                    <a:pt x="6672334" y="4543312"/>
                  </a:lnTo>
                  <a:lnTo>
                    <a:pt x="6576661" y="4702203"/>
                  </a:lnTo>
                  <a:lnTo>
                    <a:pt x="6576233" y="4702899"/>
                  </a:lnTo>
                  <a:lnTo>
                    <a:pt x="6568038" y="4881248"/>
                  </a:lnTo>
                  <a:lnTo>
                    <a:pt x="6568038" y="4882569"/>
                  </a:lnTo>
                  <a:lnTo>
                    <a:pt x="6721805" y="5056242"/>
                  </a:lnTo>
                  <a:lnTo>
                    <a:pt x="6722590" y="5057116"/>
                  </a:lnTo>
                  <a:lnTo>
                    <a:pt x="6841240" y="5074737"/>
                  </a:lnTo>
                  <a:lnTo>
                    <a:pt x="6831849" y="5144685"/>
                  </a:lnTo>
                  <a:lnTo>
                    <a:pt x="6728089" y="5207259"/>
                  </a:lnTo>
                  <a:lnTo>
                    <a:pt x="6631308" y="5232985"/>
                  </a:lnTo>
                  <a:lnTo>
                    <a:pt x="6531333" y="5344529"/>
                  </a:lnTo>
                  <a:lnTo>
                    <a:pt x="6374228" y="5416976"/>
                  </a:lnTo>
                  <a:lnTo>
                    <a:pt x="6336023" y="5400623"/>
                  </a:lnTo>
                  <a:lnTo>
                    <a:pt x="6229798" y="5374790"/>
                  </a:lnTo>
                  <a:lnTo>
                    <a:pt x="6082656" y="5432615"/>
                  </a:lnTo>
                  <a:lnTo>
                    <a:pt x="6082084" y="5432829"/>
                  </a:lnTo>
                  <a:lnTo>
                    <a:pt x="6000086" y="5508186"/>
                  </a:lnTo>
                  <a:lnTo>
                    <a:pt x="5988071" y="5575223"/>
                  </a:lnTo>
                  <a:lnTo>
                    <a:pt x="5969647" y="5635137"/>
                  </a:lnTo>
                  <a:lnTo>
                    <a:pt x="5875813" y="5602592"/>
                  </a:lnTo>
                  <a:lnTo>
                    <a:pt x="5814042" y="5580347"/>
                  </a:lnTo>
                  <a:lnTo>
                    <a:pt x="5815827" y="5699479"/>
                  </a:lnTo>
                  <a:lnTo>
                    <a:pt x="5891880" y="5790207"/>
                  </a:lnTo>
                  <a:lnTo>
                    <a:pt x="5944671" y="5893593"/>
                  </a:lnTo>
                  <a:lnTo>
                    <a:pt x="5945082" y="5894432"/>
                  </a:lnTo>
                  <a:lnTo>
                    <a:pt x="6081620" y="5975020"/>
                  </a:lnTo>
                  <a:lnTo>
                    <a:pt x="6138749" y="6050894"/>
                  </a:lnTo>
                  <a:lnTo>
                    <a:pt x="6138749" y="6129357"/>
                  </a:lnTo>
                  <a:lnTo>
                    <a:pt x="6068444" y="6087814"/>
                  </a:lnTo>
                  <a:lnTo>
                    <a:pt x="6067195" y="6087100"/>
                  </a:lnTo>
                  <a:lnTo>
                    <a:pt x="5981144" y="6114182"/>
                  </a:lnTo>
                  <a:lnTo>
                    <a:pt x="6038951" y="6187254"/>
                  </a:lnTo>
                  <a:lnTo>
                    <a:pt x="6029150" y="6268627"/>
                  </a:lnTo>
                  <a:lnTo>
                    <a:pt x="5974110" y="6274304"/>
                  </a:lnTo>
                  <a:lnTo>
                    <a:pt x="6020295" y="6420840"/>
                  </a:lnTo>
                  <a:lnTo>
                    <a:pt x="6024312" y="6523566"/>
                  </a:lnTo>
                  <a:lnTo>
                    <a:pt x="5974824" y="6537455"/>
                  </a:lnTo>
                  <a:lnTo>
                    <a:pt x="5964113" y="6461920"/>
                  </a:lnTo>
                  <a:lnTo>
                    <a:pt x="5963952" y="6460813"/>
                  </a:lnTo>
                  <a:lnTo>
                    <a:pt x="5903092" y="6402666"/>
                  </a:lnTo>
                  <a:lnTo>
                    <a:pt x="5873706" y="6482129"/>
                  </a:lnTo>
                  <a:lnTo>
                    <a:pt x="5838679" y="6481504"/>
                  </a:lnTo>
                  <a:lnTo>
                    <a:pt x="5816220" y="6405005"/>
                  </a:lnTo>
                  <a:lnTo>
                    <a:pt x="5780836" y="6373280"/>
                  </a:lnTo>
                  <a:lnTo>
                    <a:pt x="5782192" y="6295638"/>
                  </a:lnTo>
                  <a:lnTo>
                    <a:pt x="5655169" y="6253934"/>
                  </a:lnTo>
                  <a:lnTo>
                    <a:pt x="5605753" y="6185665"/>
                  </a:lnTo>
                  <a:lnTo>
                    <a:pt x="5519916" y="6129786"/>
                  </a:lnTo>
                  <a:lnTo>
                    <a:pt x="5561442" y="5936475"/>
                  </a:lnTo>
                  <a:lnTo>
                    <a:pt x="5561835" y="5934690"/>
                  </a:lnTo>
                  <a:lnTo>
                    <a:pt x="5293810" y="5687910"/>
                  </a:lnTo>
                  <a:lnTo>
                    <a:pt x="5256319" y="5631603"/>
                  </a:lnTo>
                  <a:lnTo>
                    <a:pt x="5235235" y="5542695"/>
                  </a:lnTo>
                  <a:lnTo>
                    <a:pt x="5262371" y="5424688"/>
                  </a:lnTo>
                  <a:lnTo>
                    <a:pt x="5239609" y="5406925"/>
                  </a:lnTo>
                  <a:lnTo>
                    <a:pt x="5267799" y="5300094"/>
                  </a:lnTo>
                  <a:lnTo>
                    <a:pt x="4751709" y="4970066"/>
                  </a:lnTo>
                  <a:lnTo>
                    <a:pt x="4750959" y="4969566"/>
                  </a:lnTo>
                  <a:lnTo>
                    <a:pt x="4617349" y="4965460"/>
                  </a:lnTo>
                  <a:lnTo>
                    <a:pt x="4592533" y="4928112"/>
                  </a:lnTo>
                  <a:lnTo>
                    <a:pt x="4459583" y="4851613"/>
                  </a:lnTo>
                  <a:lnTo>
                    <a:pt x="4435428" y="4815104"/>
                  </a:lnTo>
                  <a:lnTo>
                    <a:pt x="4446765" y="4742764"/>
                  </a:lnTo>
                  <a:lnTo>
                    <a:pt x="4446908" y="4741818"/>
                  </a:lnTo>
                  <a:lnTo>
                    <a:pt x="4389779" y="4613884"/>
                  </a:lnTo>
                  <a:lnTo>
                    <a:pt x="4389439" y="4613152"/>
                  </a:lnTo>
                  <a:lnTo>
                    <a:pt x="4317421" y="4556791"/>
                  </a:lnTo>
                  <a:lnTo>
                    <a:pt x="4273610" y="4637503"/>
                  </a:lnTo>
                  <a:lnTo>
                    <a:pt x="4250705" y="4689116"/>
                  </a:lnTo>
                  <a:lnTo>
                    <a:pt x="4188720" y="4657963"/>
                  </a:lnTo>
                  <a:lnTo>
                    <a:pt x="4162833" y="4610849"/>
                  </a:lnTo>
                  <a:lnTo>
                    <a:pt x="4144838" y="4544116"/>
                  </a:lnTo>
                  <a:lnTo>
                    <a:pt x="4215214" y="4514284"/>
                  </a:lnTo>
                  <a:lnTo>
                    <a:pt x="4163226" y="4463421"/>
                  </a:lnTo>
                  <a:lnTo>
                    <a:pt x="3935620" y="4586391"/>
                  </a:lnTo>
                  <a:lnTo>
                    <a:pt x="3998195" y="4663783"/>
                  </a:lnTo>
                  <a:lnTo>
                    <a:pt x="4001604" y="4691598"/>
                  </a:lnTo>
                  <a:lnTo>
                    <a:pt x="3944475" y="4740747"/>
                  </a:lnTo>
                  <a:lnTo>
                    <a:pt x="4113310" y="4928505"/>
                  </a:lnTo>
                  <a:lnTo>
                    <a:pt x="4128949" y="4969102"/>
                  </a:lnTo>
                  <a:lnTo>
                    <a:pt x="4202146" y="4980689"/>
                  </a:lnTo>
                  <a:lnTo>
                    <a:pt x="4256097" y="5169304"/>
                  </a:lnTo>
                  <a:lnTo>
                    <a:pt x="4566343" y="5338245"/>
                  </a:lnTo>
                  <a:lnTo>
                    <a:pt x="4566986" y="5338602"/>
                  </a:lnTo>
                  <a:lnTo>
                    <a:pt x="4679084" y="5345118"/>
                  </a:lnTo>
                  <a:lnTo>
                    <a:pt x="4679870" y="5351545"/>
                  </a:lnTo>
                  <a:lnTo>
                    <a:pt x="4654643" y="5395553"/>
                  </a:lnTo>
                  <a:lnTo>
                    <a:pt x="4649323" y="5440470"/>
                  </a:lnTo>
                  <a:lnTo>
                    <a:pt x="4968175" y="5588202"/>
                  </a:lnTo>
                  <a:lnTo>
                    <a:pt x="4968585" y="5588381"/>
                  </a:lnTo>
                  <a:lnTo>
                    <a:pt x="5041300" y="5599860"/>
                  </a:lnTo>
                  <a:lnTo>
                    <a:pt x="5113300" y="5692249"/>
                  </a:lnTo>
                  <a:lnTo>
                    <a:pt x="5124012" y="5779567"/>
                  </a:lnTo>
                  <a:lnTo>
                    <a:pt x="5078862" y="5785101"/>
                  </a:lnTo>
                  <a:lnTo>
                    <a:pt x="5037461" y="5698069"/>
                  </a:lnTo>
                  <a:lnTo>
                    <a:pt x="4853220" y="5657346"/>
                  </a:lnTo>
                  <a:lnTo>
                    <a:pt x="4788950" y="5824699"/>
                  </a:lnTo>
                  <a:lnTo>
                    <a:pt x="4923561" y="5911678"/>
                  </a:lnTo>
                  <a:lnTo>
                    <a:pt x="4906511" y="6011850"/>
                  </a:lnTo>
                  <a:lnTo>
                    <a:pt x="4866556" y="6006887"/>
                  </a:lnTo>
                  <a:lnTo>
                    <a:pt x="4826602" y="6033398"/>
                  </a:lnTo>
                  <a:lnTo>
                    <a:pt x="4748888" y="6238706"/>
                  </a:lnTo>
                  <a:lnTo>
                    <a:pt x="4703239" y="6263843"/>
                  </a:lnTo>
                  <a:lnTo>
                    <a:pt x="4673371" y="6248792"/>
                  </a:lnTo>
                  <a:lnTo>
                    <a:pt x="4666230" y="6190717"/>
                  </a:lnTo>
                  <a:lnTo>
                    <a:pt x="4701204" y="6133892"/>
                  </a:lnTo>
                  <a:lnTo>
                    <a:pt x="4678227" y="6107113"/>
                  </a:lnTo>
                  <a:lnTo>
                    <a:pt x="4773668" y="6054589"/>
                  </a:lnTo>
                  <a:lnTo>
                    <a:pt x="4757494" y="6012582"/>
                  </a:lnTo>
                  <a:lnTo>
                    <a:pt x="4757494" y="6012421"/>
                  </a:lnTo>
                  <a:lnTo>
                    <a:pt x="4676531" y="5857102"/>
                  </a:lnTo>
                  <a:lnTo>
                    <a:pt x="4624222" y="5778103"/>
                  </a:lnTo>
                  <a:lnTo>
                    <a:pt x="4547865" y="5817968"/>
                  </a:lnTo>
                  <a:lnTo>
                    <a:pt x="4527924" y="5739291"/>
                  </a:lnTo>
                  <a:lnTo>
                    <a:pt x="4477293" y="5745504"/>
                  </a:lnTo>
                  <a:lnTo>
                    <a:pt x="4453192" y="5633888"/>
                  </a:lnTo>
                  <a:lnTo>
                    <a:pt x="4371265" y="5672843"/>
                  </a:lnTo>
                  <a:lnTo>
                    <a:pt x="4393189" y="5634655"/>
                  </a:lnTo>
                  <a:lnTo>
                    <a:pt x="4168725" y="5505544"/>
                  </a:lnTo>
                  <a:lnTo>
                    <a:pt x="4166832" y="5504455"/>
                  </a:lnTo>
                  <a:lnTo>
                    <a:pt x="4120630" y="5540589"/>
                  </a:lnTo>
                  <a:lnTo>
                    <a:pt x="4026491" y="5431008"/>
                  </a:lnTo>
                  <a:lnTo>
                    <a:pt x="3873243" y="5274296"/>
                  </a:lnTo>
                  <a:lnTo>
                    <a:pt x="3873118" y="5274189"/>
                  </a:lnTo>
                  <a:lnTo>
                    <a:pt x="3678522" y="5112835"/>
                  </a:lnTo>
                  <a:lnTo>
                    <a:pt x="3556301" y="4870644"/>
                  </a:lnTo>
                  <a:lnTo>
                    <a:pt x="3555748" y="4869537"/>
                  </a:lnTo>
                  <a:lnTo>
                    <a:pt x="3337943" y="4782219"/>
                  </a:lnTo>
                  <a:lnTo>
                    <a:pt x="3335533" y="4781254"/>
                  </a:lnTo>
                  <a:lnTo>
                    <a:pt x="3264604" y="4884123"/>
                  </a:lnTo>
                  <a:lnTo>
                    <a:pt x="2908404" y="5071488"/>
                  </a:lnTo>
                  <a:lnTo>
                    <a:pt x="2774008" y="5047458"/>
                  </a:lnTo>
                  <a:lnTo>
                    <a:pt x="2749014" y="5009753"/>
                  </a:lnTo>
                  <a:lnTo>
                    <a:pt x="2571825" y="4926934"/>
                  </a:lnTo>
                  <a:lnTo>
                    <a:pt x="2396028" y="5032497"/>
                  </a:lnTo>
                  <a:lnTo>
                    <a:pt x="2408525" y="5217899"/>
                  </a:lnTo>
                  <a:lnTo>
                    <a:pt x="2378443" y="5302289"/>
                  </a:lnTo>
                  <a:lnTo>
                    <a:pt x="2242762" y="5359775"/>
                  </a:lnTo>
                  <a:lnTo>
                    <a:pt x="2241994" y="5360097"/>
                  </a:lnTo>
                  <a:lnTo>
                    <a:pt x="2197737" y="5416869"/>
                  </a:lnTo>
                  <a:lnTo>
                    <a:pt x="1968042" y="5465518"/>
                  </a:lnTo>
                  <a:lnTo>
                    <a:pt x="1966168" y="5465910"/>
                  </a:lnTo>
                  <a:lnTo>
                    <a:pt x="1936800" y="5562316"/>
                  </a:lnTo>
                  <a:lnTo>
                    <a:pt x="1858676" y="5581954"/>
                  </a:lnTo>
                  <a:lnTo>
                    <a:pt x="1857462" y="5582257"/>
                  </a:lnTo>
                  <a:lnTo>
                    <a:pt x="1699571" y="5820378"/>
                  </a:lnTo>
                  <a:lnTo>
                    <a:pt x="1735277" y="5941242"/>
                  </a:lnTo>
                  <a:lnTo>
                    <a:pt x="1735670" y="5942581"/>
                  </a:lnTo>
                  <a:lnTo>
                    <a:pt x="1799547" y="5974716"/>
                  </a:lnTo>
                  <a:lnTo>
                    <a:pt x="1759039" y="6037826"/>
                  </a:lnTo>
                  <a:lnTo>
                    <a:pt x="1648655" y="6061695"/>
                  </a:lnTo>
                  <a:lnTo>
                    <a:pt x="1568496" y="6188789"/>
                  </a:lnTo>
                  <a:lnTo>
                    <a:pt x="1596846" y="6203072"/>
                  </a:lnTo>
                  <a:lnTo>
                    <a:pt x="1525792" y="6220924"/>
                  </a:lnTo>
                  <a:lnTo>
                    <a:pt x="1452596" y="6219514"/>
                  </a:lnTo>
                  <a:lnTo>
                    <a:pt x="1296151" y="6372887"/>
                  </a:lnTo>
                  <a:lnTo>
                    <a:pt x="1277709" y="6375137"/>
                  </a:lnTo>
                  <a:lnTo>
                    <a:pt x="1234291" y="6359712"/>
                  </a:lnTo>
                  <a:lnTo>
                    <a:pt x="1184410" y="6376244"/>
                  </a:lnTo>
                  <a:lnTo>
                    <a:pt x="1091361" y="6367157"/>
                  </a:lnTo>
                  <a:lnTo>
                    <a:pt x="798575" y="6330898"/>
                  </a:lnTo>
                  <a:lnTo>
                    <a:pt x="797040" y="6330719"/>
                  </a:lnTo>
                  <a:lnTo>
                    <a:pt x="723040" y="6401970"/>
                  </a:lnTo>
                  <a:lnTo>
                    <a:pt x="634454" y="6412735"/>
                  </a:lnTo>
                  <a:lnTo>
                    <a:pt x="599284" y="6376083"/>
                  </a:lnTo>
                  <a:lnTo>
                    <a:pt x="548528" y="6372263"/>
                  </a:lnTo>
                  <a:lnTo>
                    <a:pt x="502236" y="6162492"/>
                  </a:lnTo>
                  <a:lnTo>
                    <a:pt x="344167" y="6057303"/>
                  </a:lnTo>
                  <a:lnTo>
                    <a:pt x="343167" y="6056625"/>
                  </a:lnTo>
                  <a:lnTo>
                    <a:pt x="280325" y="6064337"/>
                  </a:lnTo>
                  <a:lnTo>
                    <a:pt x="224071" y="6101667"/>
                  </a:lnTo>
                  <a:lnTo>
                    <a:pt x="82355" y="6036666"/>
                  </a:lnTo>
                  <a:lnTo>
                    <a:pt x="33242" y="6063677"/>
                  </a:lnTo>
                  <a:lnTo>
                    <a:pt x="7587" y="6066801"/>
                  </a:lnTo>
                  <a:lnTo>
                    <a:pt x="18424" y="5997711"/>
                  </a:lnTo>
                  <a:lnTo>
                    <a:pt x="127201" y="5676931"/>
                  </a:lnTo>
                  <a:lnTo>
                    <a:pt x="83712" y="5705870"/>
                  </a:lnTo>
                  <a:lnTo>
                    <a:pt x="50434" y="5663166"/>
                  </a:lnTo>
                  <a:lnTo>
                    <a:pt x="89300" y="5613393"/>
                  </a:lnTo>
                  <a:lnTo>
                    <a:pt x="34884" y="5620070"/>
                  </a:lnTo>
                  <a:lnTo>
                    <a:pt x="43436" y="5531109"/>
                  </a:lnTo>
                  <a:lnTo>
                    <a:pt x="78338" y="5486477"/>
                  </a:lnTo>
                  <a:lnTo>
                    <a:pt x="132896" y="5428295"/>
                  </a:lnTo>
                  <a:lnTo>
                    <a:pt x="133146" y="5428009"/>
                  </a:lnTo>
                  <a:lnTo>
                    <a:pt x="184205" y="5338923"/>
                  </a:lnTo>
                  <a:lnTo>
                    <a:pt x="184330" y="5338727"/>
                  </a:lnTo>
                  <a:lnTo>
                    <a:pt x="231551" y="5219327"/>
                  </a:lnTo>
                  <a:lnTo>
                    <a:pt x="231551" y="5219202"/>
                  </a:lnTo>
                  <a:lnTo>
                    <a:pt x="356521" y="4811890"/>
                  </a:lnTo>
                  <a:lnTo>
                    <a:pt x="357521" y="4808677"/>
                  </a:lnTo>
                  <a:lnTo>
                    <a:pt x="303516" y="4794394"/>
                  </a:lnTo>
                  <a:lnTo>
                    <a:pt x="304908" y="4723233"/>
                  </a:lnTo>
                  <a:lnTo>
                    <a:pt x="270024" y="4686938"/>
                  </a:lnTo>
                  <a:lnTo>
                    <a:pt x="292536" y="4636218"/>
                  </a:lnTo>
                  <a:lnTo>
                    <a:pt x="432824" y="4629077"/>
                  </a:lnTo>
                  <a:lnTo>
                    <a:pt x="493417" y="4666568"/>
                  </a:lnTo>
                  <a:lnTo>
                    <a:pt x="484258" y="4590836"/>
                  </a:lnTo>
                  <a:lnTo>
                    <a:pt x="529711" y="4565842"/>
                  </a:lnTo>
                  <a:lnTo>
                    <a:pt x="693761" y="4576251"/>
                  </a:lnTo>
                  <a:lnTo>
                    <a:pt x="785971" y="4657553"/>
                  </a:lnTo>
                  <a:lnTo>
                    <a:pt x="1291474" y="4760063"/>
                  </a:lnTo>
                  <a:lnTo>
                    <a:pt x="1293830" y="4779184"/>
                  </a:lnTo>
                  <a:lnTo>
                    <a:pt x="1331321" y="4818299"/>
                  </a:lnTo>
                  <a:lnTo>
                    <a:pt x="1392271" y="4800268"/>
                  </a:lnTo>
                  <a:lnTo>
                    <a:pt x="1643996" y="4821334"/>
                  </a:lnTo>
                  <a:lnTo>
                    <a:pt x="1666419" y="4743960"/>
                  </a:lnTo>
                  <a:lnTo>
                    <a:pt x="1782855" y="4347163"/>
                  </a:lnTo>
                  <a:lnTo>
                    <a:pt x="1656868" y="3991892"/>
                  </a:lnTo>
                  <a:lnTo>
                    <a:pt x="1684772" y="3943243"/>
                  </a:lnTo>
                  <a:lnTo>
                    <a:pt x="1600060" y="3953580"/>
                  </a:lnTo>
                  <a:lnTo>
                    <a:pt x="1578065" y="3856085"/>
                  </a:lnTo>
                  <a:lnTo>
                    <a:pt x="1577762" y="3854764"/>
                  </a:lnTo>
                  <a:lnTo>
                    <a:pt x="1353744" y="3716441"/>
                  </a:lnTo>
                  <a:lnTo>
                    <a:pt x="1353334" y="3716191"/>
                  </a:lnTo>
                  <a:lnTo>
                    <a:pt x="1302418" y="3702676"/>
                  </a:lnTo>
                  <a:lnTo>
                    <a:pt x="1322270" y="3541037"/>
                  </a:lnTo>
                  <a:lnTo>
                    <a:pt x="1371169" y="3544714"/>
                  </a:lnTo>
                  <a:lnTo>
                    <a:pt x="1372115" y="3544714"/>
                  </a:lnTo>
                  <a:lnTo>
                    <a:pt x="1417961" y="3519595"/>
                  </a:lnTo>
                  <a:lnTo>
                    <a:pt x="1433332" y="3559568"/>
                  </a:lnTo>
                  <a:lnTo>
                    <a:pt x="1483070" y="3520756"/>
                  </a:lnTo>
                  <a:lnTo>
                    <a:pt x="1532630" y="3514668"/>
                  </a:lnTo>
                  <a:lnTo>
                    <a:pt x="1591740" y="3517221"/>
                  </a:lnTo>
                  <a:lnTo>
                    <a:pt x="1604630" y="3622071"/>
                  </a:lnTo>
                  <a:lnTo>
                    <a:pt x="1662063" y="3572636"/>
                  </a:lnTo>
                  <a:lnTo>
                    <a:pt x="1688164" y="3620143"/>
                  </a:lnTo>
                  <a:lnTo>
                    <a:pt x="1745293" y="3592935"/>
                  </a:lnTo>
                  <a:lnTo>
                    <a:pt x="1750077" y="3631872"/>
                  </a:lnTo>
                  <a:lnTo>
                    <a:pt x="1819221" y="3634853"/>
                  </a:lnTo>
                  <a:lnTo>
                    <a:pt x="1755058" y="3364222"/>
                  </a:lnTo>
                  <a:lnTo>
                    <a:pt x="1823345" y="3365543"/>
                  </a:lnTo>
                  <a:lnTo>
                    <a:pt x="1860158" y="3361027"/>
                  </a:lnTo>
                  <a:lnTo>
                    <a:pt x="1851231" y="3453683"/>
                  </a:lnTo>
                  <a:lnTo>
                    <a:pt x="2066822" y="3510812"/>
                  </a:lnTo>
                  <a:lnTo>
                    <a:pt x="2067429" y="3510990"/>
                  </a:lnTo>
                  <a:lnTo>
                    <a:pt x="2159264" y="3499725"/>
                  </a:lnTo>
                  <a:lnTo>
                    <a:pt x="2076034" y="3454397"/>
                  </a:lnTo>
                  <a:lnTo>
                    <a:pt x="2099368" y="3413746"/>
                  </a:lnTo>
                  <a:lnTo>
                    <a:pt x="2301605" y="3306629"/>
                  </a:lnTo>
                  <a:lnTo>
                    <a:pt x="2302908" y="3305915"/>
                  </a:lnTo>
                  <a:lnTo>
                    <a:pt x="2329794" y="3188943"/>
                  </a:lnTo>
                  <a:lnTo>
                    <a:pt x="2375426" y="3153238"/>
                  </a:lnTo>
                  <a:lnTo>
                    <a:pt x="2582394" y="3086807"/>
                  </a:lnTo>
                  <a:lnTo>
                    <a:pt x="2753371" y="3090235"/>
                  </a:lnTo>
                  <a:lnTo>
                    <a:pt x="2623045" y="3055708"/>
                  </a:lnTo>
                  <a:lnTo>
                    <a:pt x="2619867" y="3029892"/>
                  </a:lnTo>
                  <a:lnTo>
                    <a:pt x="2697241" y="3000167"/>
                  </a:lnTo>
                  <a:lnTo>
                    <a:pt x="2748354" y="2910903"/>
                  </a:lnTo>
                  <a:lnTo>
                    <a:pt x="2795753" y="2873859"/>
                  </a:lnTo>
                  <a:lnTo>
                    <a:pt x="2834726" y="2696652"/>
                  </a:lnTo>
                  <a:lnTo>
                    <a:pt x="2862987" y="2710934"/>
                  </a:lnTo>
                  <a:lnTo>
                    <a:pt x="2890605" y="2769045"/>
                  </a:lnTo>
                  <a:lnTo>
                    <a:pt x="2923722" y="2794985"/>
                  </a:lnTo>
                  <a:lnTo>
                    <a:pt x="2909440" y="2849097"/>
                  </a:lnTo>
                  <a:lnTo>
                    <a:pt x="2958374" y="2866539"/>
                  </a:lnTo>
                  <a:lnTo>
                    <a:pt x="2982869" y="2797502"/>
                  </a:lnTo>
                  <a:lnTo>
                    <a:pt x="2954733" y="2738302"/>
                  </a:lnTo>
                  <a:lnTo>
                    <a:pt x="2947592" y="2680459"/>
                  </a:lnTo>
                  <a:lnTo>
                    <a:pt x="3030982" y="2650877"/>
                  </a:lnTo>
                  <a:lnTo>
                    <a:pt x="3045907" y="2689671"/>
                  </a:lnTo>
                  <a:lnTo>
                    <a:pt x="3180249" y="2673211"/>
                  </a:lnTo>
                  <a:lnTo>
                    <a:pt x="3182374" y="2672943"/>
                  </a:lnTo>
                  <a:lnTo>
                    <a:pt x="3204083" y="2598122"/>
                  </a:lnTo>
                  <a:lnTo>
                    <a:pt x="3310914" y="2585018"/>
                  </a:lnTo>
                  <a:lnTo>
                    <a:pt x="3327303" y="2634559"/>
                  </a:lnTo>
                  <a:lnTo>
                    <a:pt x="3382486" y="2627775"/>
                  </a:lnTo>
                  <a:lnTo>
                    <a:pt x="3439240" y="2495468"/>
                  </a:lnTo>
                  <a:lnTo>
                    <a:pt x="3439472" y="2494915"/>
                  </a:lnTo>
                  <a:lnTo>
                    <a:pt x="3442079" y="2433144"/>
                  </a:lnTo>
                  <a:lnTo>
                    <a:pt x="3460271" y="2409935"/>
                  </a:lnTo>
                  <a:lnTo>
                    <a:pt x="3442240" y="2348896"/>
                  </a:lnTo>
                  <a:lnTo>
                    <a:pt x="3434742" y="2287947"/>
                  </a:lnTo>
                  <a:lnTo>
                    <a:pt x="3417103" y="2228247"/>
                  </a:lnTo>
                  <a:lnTo>
                    <a:pt x="3410676" y="2175920"/>
                  </a:lnTo>
                  <a:lnTo>
                    <a:pt x="3323536" y="2135198"/>
                  </a:lnTo>
                  <a:lnTo>
                    <a:pt x="3335033" y="1981664"/>
                  </a:lnTo>
                  <a:lnTo>
                    <a:pt x="3362902" y="1890132"/>
                  </a:lnTo>
                  <a:lnTo>
                    <a:pt x="3432064" y="1944226"/>
                  </a:lnTo>
                  <a:lnTo>
                    <a:pt x="3438205" y="1894095"/>
                  </a:lnTo>
                  <a:lnTo>
                    <a:pt x="3393573" y="1878171"/>
                  </a:lnTo>
                  <a:lnTo>
                    <a:pt x="3371935" y="1853123"/>
                  </a:lnTo>
                  <a:lnTo>
                    <a:pt x="3414782" y="1809205"/>
                  </a:lnTo>
                  <a:lnTo>
                    <a:pt x="3495691" y="1799279"/>
                  </a:lnTo>
                  <a:lnTo>
                    <a:pt x="3543430" y="1762074"/>
                  </a:lnTo>
                  <a:lnTo>
                    <a:pt x="3543929" y="1761681"/>
                  </a:lnTo>
                  <a:lnTo>
                    <a:pt x="3594721" y="1673024"/>
                  </a:lnTo>
                  <a:lnTo>
                    <a:pt x="3664079" y="1626999"/>
                  </a:lnTo>
                  <a:lnTo>
                    <a:pt x="3624196" y="1872172"/>
                  </a:lnTo>
                  <a:lnTo>
                    <a:pt x="3624035" y="1873172"/>
                  </a:lnTo>
                  <a:lnTo>
                    <a:pt x="3639067" y="1904807"/>
                  </a:lnTo>
                  <a:lnTo>
                    <a:pt x="3702195" y="1917608"/>
                  </a:lnTo>
                  <a:lnTo>
                    <a:pt x="3717352" y="1963365"/>
                  </a:lnTo>
                  <a:lnTo>
                    <a:pt x="3657134" y="2018708"/>
                  </a:lnTo>
                  <a:lnTo>
                    <a:pt x="3628838" y="1967131"/>
                  </a:lnTo>
                  <a:lnTo>
                    <a:pt x="3605147" y="2048933"/>
                  </a:lnTo>
                  <a:lnTo>
                    <a:pt x="3569530" y="2094583"/>
                  </a:lnTo>
                  <a:lnTo>
                    <a:pt x="3534860" y="2233389"/>
                  </a:lnTo>
                  <a:lnTo>
                    <a:pt x="3534521" y="2234781"/>
                  </a:lnTo>
                  <a:lnTo>
                    <a:pt x="3547536" y="2254419"/>
                  </a:lnTo>
                  <a:lnTo>
                    <a:pt x="3550107" y="2275378"/>
                  </a:lnTo>
                  <a:lnTo>
                    <a:pt x="3561497" y="2284305"/>
                  </a:lnTo>
                  <a:lnTo>
                    <a:pt x="3564228" y="2306478"/>
                  </a:lnTo>
                  <a:lnTo>
                    <a:pt x="3575243" y="2305139"/>
                  </a:lnTo>
                  <a:lnTo>
                    <a:pt x="3587919" y="2331811"/>
                  </a:lnTo>
                  <a:lnTo>
                    <a:pt x="3589258" y="2342719"/>
                  </a:lnTo>
                  <a:lnTo>
                    <a:pt x="3599969" y="2351074"/>
                  </a:lnTo>
                  <a:lnTo>
                    <a:pt x="3576582" y="2417130"/>
                  </a:lnTo>
                  <a:lnTo>
                    <a:pt x="3611770" y="2424271"/>
                  </a:lnTo>
                  <a:lnTo>
                    <a:pt x="3687270" y="2446212"/>
                  </a:lnTo>
                  <a:lnTo>
                    <a:pt x="3754253" y="2428074"/>
                  </a:lnTo>
                  <a:lnTo>
                    <a:pt x="3759734" y="2472706"/>
                  </a:lnTo>
                  <a:lnTo>
                    <a:pt x="3687538" y="2503359"/>
                  </a:lnTo>
                  <a:lnTo>
                    <a:pt x="3738418" y="2532655"/>
                  </a:lnTo>
                  <a:lnTo>
                    <a:pt x="3790191" y="2526300"/>
                  </a:lnTo>
                  <a:lnTo>
                    <a:pt x="3790709" y="2526300"/>
                  </a:lnTo>
                  <a:lnTo>
                    <a:pt x="4003782" y="2428413"/>
                  </a:lnTo>
                  <a:lnTo>
                    <a:pt x="4052360" y="2466386"/>
                  </a:lnTo>
                  <a:lnTo>
                    <a:pt x="4058180" y="2418826"/>
                  </a:lnTo>
                  <a:lnTo>
                    <a:pt x="4058180" y="2418415"/>
                  </a:lnTo>
                  <a:lnTo>
                    <a:pt x="4052574" y="2372926"/>
                  </a:lnTo>
                  <a:lnTo>
                    <a:pt x="4100938" y="2394457"/>
                  </a:lnTo>
                  <a:lnTo>
                    <a:pt x="4124450" y="2429770"/>
                  </a:lnTo>
                  <a:lnTo>
                    <a:pt x="4096921" y="2465083"/>
                  </a:lnTo>
                  <a:lnTo>
                    <a:pt x="4190131" y="2518641"/>
                  </a:lnTo>
                  <a:lnTo>
                    <a:pt x="4438535" y="2425806"/>
                  </a:lnTo>
                  <a:lnTo>
                    <a:pt x="4483167" y="2368677"/>
                  </a:lnTo>
                  <a:lnTo>
                    <a:pt x="4531245" y="2342219"/>
                  </a:lnTo>
                  <a:lnTo>
                    <a:pt x="4576501" y="2295802"/>
                  </a:lnTo>
                  <a:lnTo>
                    <a:pt x="4725751" y="2277503"/>
                  </a:lnTo>
                  <a:lnTo>
                    <a:pt x="4786451" y="2352485"/>
                  </a:lnTo>
                  <a:lnTo>
                    <a:pt x="4913206" y="2336935"/>
                  </a:lnTo>
                  <a:lnTo>
                    <a:pt x="4910421" y="2314208"/>
                  </a:lnTo>
                  <a:lnTo>
                    <a:pt x="4940771" y="2228943"/>
                  </a:lnTo>
                  <a:lnTo>
                    <a:pt x="4966122" y="2184704"/>
                  </a:lnTo>
                  <a:lnTo>
                    <a:pt x="5074220" y="1975487"/>
                  </a:lnTo>
                  <a:lnTo>
                    <a:pt x="5074846" y="1974290"/>
                  </a:lnTo>
                  <a:lnTo>
                    <a:pt x="5025340" y="1824648"/>
                  </a:lnTo>
                  <a:lnTo>
                    <a:pt x="5015485" y="1744435"/>
                  </a:lnTo>
                  <a:lnTo>
                    <a:pt x="5082504" y="1542038"/>
                  </a:lnTo>
                  <a:lnTo>
                    <a:pt x="5166037" y="1491871"/>
                  </a:lnTo>
                  <a:lnTo>
                    <a:pt x="5230897" y="1533754"/>
                  </a:lnTo>
                  <a:lnTo>
                    <a:pt x="5306307" y="1639282"/>
                  </a:lnTo>
                  <a:lnTo>
                    <a:pt x="5410836" y="1615681"/>
                  </a:lnTo>
                  <a:lnTo>
                    <a:pt x="5427832" y="1497995"/>
                  </a:lnTo>
                  <a:lnTo>
                    <a:pt x="5427938" y="1497299"/>
                  </a:lnTo>
                  <a:lnTo>
                    <a:pt x="5410229" y="1437295"/>
                  </a:lnTo>
                  <a:lnTo>
                    <a:pt x="5406515" y="1320752"/>
                  </a:lnTo>
                  <a:lnTo>
                    <a:pt x="5312806" y="1343015"/>
                  </a:lnTo>
                  <a:lnTo>
                    <a:pt x="5275422" y="1347603"/>
                  </a:lnTo>
                  <a:lnTo>
                    <a:pt x="5241055" y="1150133"/>
                  </a:lnTo>
                  <a:lnTo>
                    <a:pt x="5275261" y="1106304"/>
                  </a:lnTo>
                  <a:lnTo>
                    <a:pt x="5508616" y="1005917"/>
                  </a:lnTo>
                  <a:lnTo>
                    <a:pt x="5666292" y="1007596"/>
                  </a:lnTo>
                  <a:lnTo>
                    <a:pt x="5632139" y="729645"/>
                  </a:lnTo>
                  <a:lnTo>
                    <a:pt x="5631496" y="724289"/>
                  </a:lnTo>
                  <a:lnTo>
                    <a:pt x="5184658" y="1026752"/>
                  </a:lnTo>
                  <a:lnTo>
                    <a:pt x="5180302" y="991350"/>
                  </a:lnTo>
                  <a:lnTo>
                    <a:pt x="5159432" y="914065"/>
                  </a:lnTo>
                  <a:lnTo>
                    <a:pt x="5112907" y="986351"/>
                  </a:lnTo>
                  <a:lnTo>
                    <a:pt x="5057117" y="1002865"/>
                  </a:lnTo>
                  <a:lnTo>
                    <a:pt x="5045281" y="977871"/>
                  </a:lnTo>
                  <a:lnTo>
                    <a:pt x="5091145" y="919081"/>
                  </a:lnTo>
                  <a:lnTo>
                    <a:pt x="4989723" y="877913"/>
                  </a:lnTo>
                  <a:lnTo>
                    <a:pt x="4925167" y="845385"/>
                  </a:lnTo>
                  <a:lnTo>
                    <a:pt x="4878982" y="711899"/>
                  </a:lnTo>
                  <a:lnTo>
                    <a:pt x="4908671" y="708329"/>
                  </a:lnTo>
                  <a:lnTo>
                    <a:pt x="4898299" y="623885"/>
                  </a:lnTo>
                  <a:lnTo>
                    <a:pt x="4898299" y="623456"/>
                  </a:lnTo>
                  <a:lnTo>
                    <a:pt x="4840205" y="486186"/>
                  </a:lnTo>
                  <a:lnTo>
                    <a:pt x="4830208" y="405259"/>
                  </a:lnTo>
                  <a:lnTo>
                    <a:pt x="4830208" y="404866"/>
                  </a:lnTo>
                  <a:lnTo>
                    <a:pt x="4815212" y="365947"/>
                  </a:lnTo>
                  <a:lnTo>
                    <a:pt x="4832725" y="263365"/>
                  </a:lnTo>
                  <a:lnTo>
                    <a:pt x="4925346" y="230534"/>
                  </a:lnTo>
                  <a:lnTo>
                    <a:pt x="4888551" y="201737"/>
                  </a:lnTo>
                  <a:lnTo>
                    <a:pt x="4989794" y="0"/>
                  </a:lnTo>
                  <a:lnTo>
                    <a:pt x="4982546" y="0"/>
                  </a:lnTo>
                  <a:lnTo>
                    <a:pt x="4881607" y="201148"/>
                  </a:lnTo>
                  <a:close/>
                </a:path>
              </a:pathLst>
            </a:custGeom>
            <a:solidFill>
              <a:srgbClr val="231F20"/>
            </a:solidFill>
            <a:ln w="1785" cap="flat">
              <a:noFill/>
              <a:prstDash val="solid"/>
              <a:miter/>
            </a:ln>
          </p:spPr>
          <p:txBody>
            <a:bodyPr rtlCol="0" anchor="ctr"/>
            <a:lstStyle/>
            <a:p>
              <a:endParaRPr lang="de-AT"/>
            </a:p>
          </p:txBody>
        </p:sp>
        <p:sp>
          <p:nvSpPr>
            <p:cNvPr id="193" name="Freihandform: Form 192">
              <a:extLst>
                <a:ext uri="{FF2B5EF4-FFF2-40B4-BE49-F238E27FC236}">
                  <a16:creationId xmlns:a16="http://schemas.microsoft.com/office/drawing/2014/main" id="{01610496-67E4-45A0-A05A-95B8458D2312}"/>
                </a:ext>
              </a:extLst>
            </p:cNvPr>
            <p:cNvSpPr/>
            <p:nvPr/>
          </p:nvSpPr>
          <p:spPr>
            <a:xfrm>
              <a:off x="6190120" y="-16722"/>
              <a:ext cx="1770233" cy="2179544"/>
            </a:xfrm>
            <a:custGeom>
              <a:avLst/>
              <a:gdLst>
                <a:gd name="connsiteX0" fmla="*/ 524587 w 1770233"/>
                <a:gd name="connsiteY0" fmla="*/ 240156 h 2179544"/>
                <a:gd name="connsiteX1" fmla="*/ 440072 w 1770233"/>
                <a:gd name="connsiteY1" fmla="*/ 301731 h 2179544"/>
                <a:gd name="connsiteX2" fmla="*/ 362912 w 1770233"/>
                <a:gd name="connsiteY2" fmla="*/ 342007 h 2179544"/>
                <a:gd name="connsiteX3" fmla="*/ 362270 w 1770233"/>
                <a:gd name="connsiteY3" fmla="*/ 342346 h 2179544"/>
                <a:gd name="connsiteX4" fmla="*/ 299945 w 1770233"/>
                <a:gd name="connsiteY4" fmla="*/ 422273 h 2179544"/>
                <a:gd name="connsiteX5" fmla="*/ 195274 w 1770233"/>
                <a:gd name="connsiteY5" fmla="*/ 486311 h 2179544"/>
                <a:gd name="connsiteX6" fmla="*/ 127005 w 1770233"/>
                <a:gd name="connsiteY6" fmla="*/ 515233 h 2179544"/>
                <a:gd name="connsiteX7" fmla="*/ 126416 w 1770233"/>
                <a:gd name="connsiteY7" fmla="*/ 515482 h 2179544"/>
                <a:gd name="connsiteX8" fmla="*/ 42436 w 1770233"/>
                <a:gd name="connsiteY8" fmla="*/ 599230 h 2179544"/>
                <a:gd name="connsiteX9" fmla="*/ 44775 w 1770233"/>
                <a:gd name="connsiteY9" fmla="*/ 702294 h 2179544"/>
                <a:gd name="connsiteX10" fmla="*/ 0 w 1770233"/>
                <a:gd name="connsiteY10" fmla="*/ 759691 h 2179544"/>
                <a:gd name="connsiteX11" fmla="*/ 19228 w 1770233"/>
                <a:gd name="connsiteY11" fmla="*/ 830799 h 2179544"/>
                <a:gd name="connsiteX12" fmla="*/ 38991 w 1770233"/>
                <a:gd name="connsiteY12" fmla="*/ 1075008 h 2179544"/>
                <a:gd name="connsiteX13" fmla="*/ 3410 w 1770233"/>
                <a:gd name="connsiteY13" fmla="*/ 1202566 h 2179544"/>
                <a:gd name="connsiteX14" fmla="*/ 3249 w 1770233"/>
                <a:gd name="connsiteY14" fmla="*/ 1203191 h 2179544"/>
                <a:gd name="connsiteX15" fmla="*/ 15818 w 1770233"/>
                <a:gd name="connsiteY15" fmla="*/ 1305417 h 2179544"/>
                <a:gd name="connsiteX16" fmla="*/ 15871 w 1770233"/>
                <a:gd name="connsiteY16" fmla="*/ 1305720 h 2179544"/>
                <a:gd name="connsiteX17" fmla="*/ 32367 w 1770233"/>
                <a:gd name="connsiteY17" fmla="*/ 1355601 h 2179544"/>
                <a:gd name="connsiteX18" fmla="*/ 32510 w 1770233"/>
                <a:gd name="connsiteY18" fmla="*/ 1356011 h 2179544"/>
                <a:gd name="connsiteX19" fmla="*/ 57861 w 1770233"/>
                <a:gd name="connsiteY19" fmla="*/ 1394306 h 2179544"/>
                <a:gd name="connsiteX20" fmla="*/ 71679 w 1770233"/>
                <a:gd name="connsiteY20" fmla="*/ 1423317 h 2179544"/>
                <a:gd name="connsiteX21" fmla="*/ 72001 w 1770233"/>
                <a:gd name="connsiteY21" fmla="*/ 1424031 h 2179544"/>
                <a:gd name="connsiteX22" fmla="*/ 95120 w 1770233"/>
                <a:gd name="connsiteY22" fmla="*/ 1442116 h 2179544"/>
                <a:gd name="connsiteX23" fmla="*/ 118936 w 1770233"/>
                <a:gd name="connsiteY23" fmla="*/ 1469895 h 2179544"/>
                <a:gd name="connsiteX24" fmla="*/ 141787 w 1770233"/>
                <a:gd name="connsiteY24" fmla="*/ 1487819 h 2179544"/>
                <a:gd name="connsiteX25" fmla="*/ 167085 w 1770233"/>
                <a:gd name="connsiteY25" fmla="*/ 1525970 h 2179544"/>
                <a:gd name="connsiteX26" fmla="*/ 202737 w 1770233"/>
                <a:gd name="connsiteY26" fmla="*/ 1553874 h 2179544"/>
                <a:gd name="connsiteX27" fmla="*/ 337883 w 1770233"/>
                <a:gd name="connsiteY27" fmla="*/ 1537307 h 2179544"/>
                <a:gd name="connsiteX28" fmla="*/ 345577 w 1770233"/>
                <a:gd name="connsiteY28" fmla="*/ 1515687 h 2179544"/>
                <a:gd name="connsiteX29" fmla="*/ 365198 w 1770233"/>
                <a:gd name="connsiteY29" fmla="*/ 1513277 h 2179544"/>
                <a:gd name="connsiteX30" fmla="*/ 391905 w 1770233"/>
                <a:gd name="connsiteY30" fmla="*/ 1479089 h 2179544"/>
                <a:gd name="connsiteX31" fmla="*/ 402064 w 1770233"/>
                <a:gd name="connsiteY31" fmla="*/ 1477839 h 2179544"/>
                <a:gd name="connsiteX32" fmla="*/ 429254 w 1770233"/>
                <a:gd name="connsiteY32" fmla="*/ 1442973 h 2179544"/>
                <a:gd name="connsiteX33" fmla="*/ 448285 w 1770233"/>
                <a:gd name="connsiteY33" fmla="*/ 1430351 h 2179544"/>
                <a:gd name="connsiteX34" fmla="*/ 474475 w 1770233"/>
                <a:gd name="connsiteY34" fmla="*/ 1396752 h 2179544"/>
                <a:gd name="connsiteX35" fmla="*/ 484597 w 1770233"/>
                <a:gd name="connsiteY35" fmla="*/ 1395520 h 2179544"/>
                <a:gd name="connsiteX36" fmla="*/ 502414 w 1770233"/>
                <a:gd name="connsiteY36" fmla="*/ 1372704 h 2179544"/>
                <a:gd name="connsiteX37" fmla="*/ 511948 w 1770233"/>
                <a:gd name="connsiteY37" fmla="*/ 1371525 h 2179544"/>
                <a:gd name="connsiteX38" fmla="*/ 531015 w 1770233"/>
                <a:gd name="connsiteY38" fmla="*/ 1358904 h 2179544"/>
                <a:gd name="connsiteX39" fmla="*/ 552509 w 1770233"/>
                <a:gd name="connsiteY39" fmla="*/ 1356261 h 2179544"/>
                <a:gd name="connsiteX40" fmla="*/ 560543 w 1770233"/>
                <a:gd name="connsiteY40" fmla="*/ 1333570 h 2179544"/>
                <a:gd name="connsiteX41" fmla="*/ 616672 w 1770233"/>
                <a:gd name="connsiteY41" fmla="*/ 1285314 h 2179544"/>
                <a:gd name="connsiteX42" fmla="*/ 634204 w 1770233"/>
                <a:gd name="connsiteY42" fmla="*/ 1182339 h 2179544"/>
                <a:gd name="connsiteX43" fmla="*/ 682139 w 1770233"/>
                <a:gd name="connsiteY43" fmla="*/ 1194997 h 2179544"/>
                <a:gd name="connsiteX44" fmla="*/ 703080 w 1770233"/>
                <a:gd name="connsiteY44" fmla="*/ 1283297 h 2179544"/>
                <a:gd name="connsiteX45" fmla="*/ 703401 w 1770233"/>
                <a:gd name="connsiteY45" fmla="*/ 1284654 h 2179544"/>
                <a:gd name="connsiteX46" fmla="*/ 746409 w 1770233"/>
                <a:gd name="connsiteY46" fmla="*/ 1309398 h 2179544"/>
                <a:gd name="connsiteX47" fmla="*/ 722986 w 1770233"/>
                <a:gd name="connsiteY47" fmla="*/ 1362260 h 2179544"/>
                <a:gd name="connsiteX48" fmla="*/ 767190 w 1770233"/>
                <a:gd name="connsiteY48" fmla="*/ 1553678 h 2179544"/>
                <a:gd name="connsiteX49" fmla="*/ 778526 w 1770233"/>
                <a:gd name="connsiteY49" fmla="*/ 1645888 h 2179544"/>
                <a:gd name="connsiteX50" fmla="*/ 802895 w 1770233"/>
                <a:gd name="connsiteY50" fmla="*/ 1674309 h 2179544"/>
                <a:gd name="connsiteX51" fmla="*/ 816928 w 1770233"/>
                <a:gd name="connsiteY51" fmla="*/ 1703838 h 2179544"/>
                <a:gd name="connsiteX52" fmla="*/ 839583 w 1770233"/>
                <a:gd name="connsiteY52" fmla="*/ 1721566 h 2179544"/>
                <a:gd name="connsiteX53" fmla="*/ 855829 w 1770233"/>
                <a:gd name="connsiteY53" fmla="*/ 1770822 h 2179544"/>
                <a:gd name="connsiteX54" fmla="*/ 880144 w 1770233"/>
                <a:gd name="connsiteY54" fmla="*/ 1799101 h 2179544"/>
                <a:gd name="connsiteX55" fmla="*/ 917975 w 1770233"/>
                <a:gd name="connsiteY55" fmla="*/ 1856140 h 2179544"/>
                <a:gd name="connsiteX56" fmla="*/ 940683 w 1770233"/>
                <a:gd name="connsiteY56" fmla="*/ 1882598 h 2179544"/>
                <a:gd name="connsiteX57" fmla="*/ 888803 w 1770233"/>
                <a:gd name="connsiteY57" fmla="*/ 1960758 h 2179544"/>
                <a:gd name="connsiteX58" fmla="*/ 968927 w 1770233"/>
                <a:gd name="connsiteY58" fmla="*/ 2106598 h 2179544"/>
                <a:gd name="connsiteX59" fmla="*/ 966159 w 1770233"/>
                <a:gd name="connsiteY59" fmla="*/ 2171136 h 2179544"/>
                <a:gd name="connsiteX60" fmla="*/ 1031537 w 1770233"/>
                <a:gd name="connsiteY60" fmla="*/ 2173939 h 2179544"/>
                <a:gd name="connsiteX61" fmla="*/ 1031786 w 1770233"/>
                <a:gd name="connsiteY61" fmla="*/ 2173939 h 2179544"/>
                <a:gd name="connsiteX62" fmla="*/ 1082328 w 1770233"/>
                <a:gd name="connsiteY62" fmla="*/ 2167762 h 2179544"/>
                <a:gd name="connsiteX63" fmla="*/ 1156971 w 1770233"/>
                <a:gd name="connsiteY63" fmla="*/ 2179544 h 2179544"/>
                <a:gd name="connsiteX64" fmla="*/ 1196889 w 1770233"/>
                <a:gd name="connsiteY64" fmla="*/ 2141125 h 2179544"/>
                <a:gd name="connsiteX65" fmla="*/ 1158274 w 1770233"/>
                <a:gd name="connsiteY65" fmla="*/ 2082854 h 2179544"/>
                <a:gd name="connsiteX66" fmla="*/ 1171520 w 1770233"/>
                <a:gd name="connsiteY66" fmla="*/ 2032669 h 2179544"/>
                <a:gd name="connsiteX67" fmla="*/ 1221384 w 1770233"/>
                <a:gd name="connsiteY67" fmla="*/ 2016173 h 2179544"/>
                <a:gd name="connsiteX68" fmla="*/ 1225168 w 1770233"/>
                <a:gd name="connsiteY68" fmla="*/ 1965703 h 2179544"/>
                <a:gd name="connsiteX69" fmla="*/ 1373240 w 1770233"/>
                <a:gd name="connsiteY69" fmla="*/ 1999070 h 2179544"/>
                <a:gd name="connsiteX70" fmla="*/ 1409606 w 1770233"/>
                <a:gd name="connsiteY70" fmla="*/ 1703267 h 2179544"/>
                <a:gd name="connsiteX71" fmla="*/ 1436599 w 1770233"/>
                <a:gd name="connsiteY71" fmla="*/ 1668686 h 2179544"/>
                <a:gd name="connsiteX72" fmla="*/ 1427709 w 1770233"/>
                <a:gd name="connsiteY72" fmla="*/ 1596257 h 2179544"/>
                <a:gd name="connsiteX73" fmla="*/ 1427530 w 1770233"/>
                <a:gd name="connsiteY73" fmla="*/ 1594936 h 2179544"/>
                <a:gd name="connsiteX74" fmla="*/ 1395377 w 1770233"/>
                <a:gd name="connsiteY74" fmla="*/ 1569781 h 2179544"/>
                <a:gd name="connsiteX75" fmla="*/ 1449382 w 1770233"/>
                <a:gd name="connsiteY75" fmla="*/ 1523346 h 2179544"/>
                <a:gd name="connsiteX76" fmla="*/ 1450881 w 1770233"/>
                <a:gd name="connsiteY76" fmla="*/ 1446829 h 2179544"/>
                <a:gd name="connsiteX77" fmla="*/ 1387629 w 1770233"/>
                <a:gd name="connsiteY77" fmla="*/ 1434010 h 2179544"/>
                <a:gd name="connsiteX78" fmla="*/ 1391182 w 1770233"/>
                <a:gd name="connsiteY78" fmla="*/ 1386932 h 2179544"/>
                <a:gd name="connsiteX79" fmla="*/ 1528649 w 1770233"/>
                <a:gd name="connsiteY79" fmla="*/ 1339337 h 2179544"/>
                <a:gd name="connsiteX80" fmla="*/ 1571888 w 1770233"/>
                <a:gd name="connsiteY80" fmla="*/ 1259660 h 2179544"/>
                <a:gd name="connsiteX81" fmla="*/ 1555892 w 1770233"/>
                <a:gd name="connsiteY81" fmla="*/ 1211261 h 2179544"/>
                <a:gd name="connsiteX82" fmla="*/ 1620876 w 1770233"/>
                <a:gd name="connsiteY82" fmla="*/ 1173413 h 2179544"/>
                <a:gd name="connsiteX83" fmla="*/ 1621894 w 1770233"/>
                <a:gd name="connsiteY83" fmla="*/ 1172824 h 2179544"/>
                <a:gd name="connsiteX84" fmla="*/ 1645674 w 1770233"/>
                <a:gd name="connsiteY84" fmla="*/ 1105750 h 2179544"/>
                <a:gd name="connsiteX85" fmla="*/ 1631177 w 1770233"/>
                <a:gd name="connsiteY85" fmla="*/ 1075294 h 2179544"/>
                <a:gd name="connsiteX86" fmla="*/ 1618770 w 1770233"/>
                <a:gd name="connsiteY86" fmla="*/ 1056477 h 2179544"/>
                <a:gd name="connsiteX87" fmla="*/ 1617520 w 1770233"/>
                <a:gd name="connsiteY87" fmla="*/ 1046301 h 2179544"/>
                <a:gd name="connsiteX88" fmla="*/ 1579297 w 1770233"/>
                <a:gd name="connsiteY88" fmla="*/ 988636 h 2179544"/>
                <a:gd name="connsiteX89" fmla="*/ 1565747 w 1770233"/>
                <a:gd name="connsiteY89" fmla="*/ 960089 h 2179544"/>
                <a:gd name="connsiteX90" fmla="*/ 1563140 w 1770233"/>
                <a:gd name="connsiteY90" fmla="*/ 938791 h 2179544"/>
                <a:gd name="connsiteX91" fmla="*/ 1396448 w 1770233"/>
                <a:gd name="connsiteY91" fmla="*/ 835834 h 2179544"/>
                <a:gd name="connsiteX92" fmla="*/ 1456202 w 1770233"/>
                <a:gd name="connsiteY92" fmla="*/ 410187 h 2179544"/>
                <a:gd name="connsiteX93" fmla="*/ 1485498 w 1770233"/>
                <a:gd name="connsiteY93" fmla="*/ 406580 h 2179544"/>
                <a:gd name="connsiteX94" fmla="*/ 1654779 w 1770233"/>
                <a:gd name="connsiteY94" fmla="*/ 189651 h 2179544"/>
                <a:gd name="connsiteX95" fmla="*/ 1704749 w 1770233"/>
                <a:gd name="connsiteY95" fmla="*/ 173101 h 2179544"/>
                <a:gd name="connsiteX96" fmla="*/ 1770233 w 1770233"/>
                <a:gd name="connsiteY96" fmla="*/ 0 h 2179544"/>
                <a:gd name="connsiteX97" fmla="*/ 1763306 w 1770233"/>
                <a:gd name="connsiteY97" fmla="*/ 0 h 2179544"/>
                <a:gd name="connsiteX98" fmla="*/ 1699786 w 1770233"/>
                <a:gd name="connsiteY98" fmla="*/ 167924 h 2179544"/>
                <a:gd name="connsiteX99" fmla="*/ 1650869 w 1770233"/>
                <a:gd name="connsiteY99" fmla="*/ 184116 h 2179544"/>
                <a:gd name="connsiteX100" fmla="*/ 1482052 w 1770233"/>
                <a:gd name="connsiteY100" fmla="*/ 400492 h 2179544"/>
                <a:gd name="connsiteX101" fmla="*/ 1450489 w 1770233"/>
                <a:gd name="connsiteY101" fmla="*/ 404367 h 2179544"/>
                <a:gd name="connsiteX102" fmla="*/ 1389718 w 1770233"/>
                <a:gd name="connsiteY102" fmla="*/ 837012 h 2179544"/>
                <a:gd name="connsiteX103" fmla="*/ 1389432 w 1770233"/>
                <a:gd name="connsiteY103" fmla="*/ 839119 h 2179544"/>
                <a:gd name="connsiteX104" fmla="*/ 1557088 w 1770233"/>
                <a:gd name="connsiteY104" fmla="*/ 942665 h 2179544"/>
                <a:gd name="connsiteX105" fmla="*/ 1559445 w 1770233"/>
                <a:gd name="connsiteY105" fmla="*/ 961928 h 2179544"/>
                <a:gd name="connsiteX106" fmla="*/ 1573548 w 1770233"/>
                <a:gd name="connsiteY106" fmla="*/ 991653 h 2179544"/>
                <a:gd name="connsiteX107" fmla="*/ 1611289 w 1770233"/>
                <a:gd name="connsiteY107" fmla="*/ 1048604 h 2179544"/>
                <a:gd name="connsiteX108" fmla="*/ 1612521 w 1770233"/>
                <a:gd name="connsiteY108" fmla="*/ 1058780 h 2179544"/>
                <a:gd name="connsiteX109" fmla="*/ 1625447 w 1770233"/>
                <a:gd name="connsiteY109" fmla="*/ 1078275 h 2179544"/>
                <a:gd name="connsiteX110" fmla="*/ 1638676 w 1770233"/>
                <a:gd name="connsiteY110" fmla="*/ 1106108 h 2179544"/>
                <a:gd name="connsiteX111" fmla="*/ 1616574 w 1770233"/>
                <a:gd name="connsiteY111" fmla="*/ 1168414 h 2179544"/>
                <a:gd name="connsiteX112" fmla="*/ 1548090 w 1770233"/>
                <a:gd name="connsiteY112" fmla="*/ 1208315 h 2179544"/>
                <a:gd name="connsiteX113" fmla="*/ 1564854 w 1770233"/>
                <a:gd name="connsiteY113" fmla="*/ 1259017 h 2179544"/>
                <a:gd name="connsiteX114" fmla="*/ 1524150 w 1770233"/>
                <a:gd name="connsiteY114" fmla="*/ 1334035 h 2179544"/>
                <a:gd name="connsiteX115" fmla="*/ 1385040 w 1770233"/>
                <a:gd name="connsiteY115" fmla="*/ 1382184 h 2179544"/>
                <a:gd name="connsiteX116" fmla="*/ 1380756 w 1770233"/>
                <a:gd name="connsiteY116" fmla="*/ 1439206 h 2179544"/>
                <a:gd name="connsiteX117" fmla="*/ 1444294 w 1770233"/>
                <a:gd name="connsiteY117" fmla="*/ 1452113 h 2179544"/>
                <a:gd name="connsiteX118" fmla="*/ 1442973 w 1770233"/>
                <a:gd name="connsiteY118" fmla="*/ 1520329 h 2179544"/>
                <a:gd name="connsiteX119" fmla="*/ 1385166 w 1770233"/>
                <a:gd name="connsiteY119" fmla="*/ 1570013 h 2179544"/>
                <a:gd name="connsiteX120" fmla="*/ 1421442 w 1770233"/>
                <a:gd name="connsiteY120" fmla="*/ 1598381 h 2179544"/>
                <a:gd name="connsiteX121" fmla="*/ 1429833 w 1770233"/>
                <a:gd name="connsiteY121" fmla="*/ 1666811 h 2179544"/>
                <a:gd name="connsiteX122" fmla="*/ 1403411 w 1770233"/>
                <a:gd name="connsiteY122" fmla="*/ 1700696 h 2179544"/>
                <a:gd name="connsiteX123" fmla="*/ 1367688 w 1770233"/>
                <a:gd name="connsiteY123" fmla="*/ 1991179 h 2179544"/>
                <a:gd name="connsiteX124" fmla="*/ 1219259 w 1770233"/>
                <a:gd name="connsiteY124" fmla="*/ 1957741 h 2179544"/>
                <a:gd name="connsiteX125" fmla="*/ 1215242 w 1770233"/>
                <a:gd name="connsiteY125" fmla="*/ 2011389 h 2179544"/>
                <a:gd name="connsiteX126" fmla="*/ 1166165 w 1770233"/>
                <a:gd name="connsiteY126" fmla="*/ 2027617 h 2179544"/>
                <a:gd name="connsiteX127" fmla="*/ 1151276 w 1770233"/>
                <a:gd name="connsiteY127" fmla="*/ 2084014 h 2179544"/>
                <a:gd name="connsiteX128" fmla="*/ 1188516 w 1770233"/>
                <a:gd name="connsiteY128" fmla="*/ 2140197 h 2179544"/>
                <a:gd name="connsiteX129" fmla="*/ 1154810 w 1770233"/>
                <a:gd name="connsiteY129" fmla="*/ 2172635 h 2179544"/>
                <a:gd name="connsiteX130" fmla="*/ 1082899 w 1770233"/>
                <a:gd name="connsiteY130" fmla="*/ 2161299 h 2179544"/>
                <a:gd name="connsiteX131" fmla="*/ 1082453 w 1770233"/>
                <a:gd name="connsiteY131" fmla="*/ 2161227 h 2179544"/>
                <a:gd name="connsiteX132" fmla="*/ 1031554 w 1770233"/>
                <a:gd name="connsiteY132" fmla="*/ 2167458 h 2179544"/>
                <a:gd name="connsiteX133" fmla="*/ 972908 w 1770233"/>
                <a:gd name="connsiteY133" fmla="*/ 2164923 h 2179544"/>
                <a:gd name="connsiteX134" fmla="*/ 975478 w 1770233"/>
                <a:gd name="connsiteY134" fmla="*/ 2105080 h 2179544"/>
                <a:gd name="connsiteX135" fmla="*/ 896373 w 1770233"/>
                <a:gd name="connsiteY135" fmla="*/ 1961079 h 2179544"/>
                <a:gd name="connsiteX136" fmla="*/ 948789 w 1770233"/>
                <a:gd name="connsiteY136" fmla="*/ 1882098 h 2179544"/>
                <a:gd name="connsiteX137" fmla="*/ 923259 w 1770233"/>
                <a:gd name="connsiteY137" fmla="*/ 1852391 h 2179544"/>
                <a:gd name="connsiteX138" fmla="*/ 898122 w 1770233"/>
                <a:gd name="connsiteY138" fmla="*/ 1814418 h 2179544"/>
                <a:gd name="connsiteX139" fmla="*/ 885429 w 1770233"/>
                <a:gd name="connsiteY139" fmla="*/ 1795352 h 2179544"/>
                <a:gd name="connsiteX140" fmla="*/ 861578 w 1770233"/>
                <a:gd name="connsiteY140" fmla="*/ 1767555 h 2179544"/>
                <a:gd name="connsiteX141" fmla="*/ 845421 w 1770233"/>
                <a:gd name="connsiteY141" fmla="*/ 1718584 h 2179544"/>
                <a:gd name="connsiteX142" fmla="*/ 845117 w 1770233"/>
                <a:gd name="connsiteY142" fmla="*/ 1717656 h 2179544"/>
                <a:gd name="connsiteX143" fmla="*/ 822123 w 1770233"/>
                <a:gd name="connsiteY143" fmla="*/ 1699660 h 2179544"/>
                <a:gd name="connsiteX144" fmla="*/ 808376 w 1770233"/>
                <a:gd name="connsiteY144" fmla="*/ 1670739 h 2179544"/>
                <a:gd name="connsiteX145" fmla="*/ 784703 w 1770233"/>
                <a:gd name="connsiteY145" fmla="*/ 1643156 h 2179544"/>
                <a:gd name="connsiteX146" fmla="*/ 773581 w 1770233"/>
                <a:gd name="connsiteY146" fmla="*/ 1552732 h 2179544"/>
                <a:gd name="connsiteX147" fmla="*/ 773581 w 1770233"/>
                <a:gd name="connsiteY147" fmla="*/ 1552553 h 2179544"/>
                <a:gd name="connsiteX148" fmla="*/ 729770 w 1770233"/>
                <a:gd name="connsiteY148" fmla="*/ 1362903 h 2179544"/>
                <a:gd name="connsiteX149" fmla="*/ 754693 w 1770233"/>
                <a:gd name="connsiteY149" fmla="*/ 1306684 h 2179544"/>
                <a:gd name="connsiteX150" fmla="*/ 709079 w 1770233"/>
                <a:gd name="connsiteY150" fmla="*/ 1280440 h 2179544"/>
                <a:gd name="connsiteX151" fmla="*/ 687548 w 1770233"/>
                <a:gd name="connsiteY151" fmla="*/ 1189730 h 2179544"/>
                <a:gd name="connsiteX152" fmla="*/ 629009 w 1770233"/>
                <a:gd name="connsiteY152" fmla="*/ 1174252 h 2179544"/>
                <a:gd name="connsiteX153" fmla="*/ 610692 w 1770233"/>
                <a:gd name="connsiteY153" fmla="*/ 1281922 h 2179544"/>
                <a:gd name="connsiteX154" fmla="*/ 555045 w 1770233"/>
                <a:gd name="connsiteY154" fmla="*/ 1329803 h 2179544"/>
                <a:gd name="connsiteX155" fmla="*/ 547761 w 1770233"/>
                <a:gd name="connsiteY155" fmla="*/ 1350316 h 2179544"/>
                <a:gd name="connsiteX156" fmla="*/ 528712 w 1770233"/>
                <a:gd name="connsiteY156" fmla="*/ 1352655 h 2179544"/>
                <a:gd name="connsiteX157" fmla="*/ 509645 w 1770233"/>
                <a:gd name="connsiteY157" fmla="*/ 1365277 h 2179544"/>
                <a:gd name="connsiteX158" fmla="*/ 498951 w 1770233"/>
                <a:gd name="connsiteY158" fmla="*/ 1366598 h 2179544"/>
                <a:gd name="connsiteX159" fmla="*/ 481152 w 1770233"/>
                <a:gd name="connsiteY159" fmla="*/ 1389414 h 2179544"/>
                <a:gd name="connsiteX160" fmla="*/ 471029 w 1770233"/>
                <a:gd name="connsiteY160" fmla="*/ 1390646 h 2179544"/>
                <a:gd name="connsiteX161" fmla="*/ 443821 w 1770233"/>
                <a:gd name="connsiteY161" fmla="*/ 1425530 h 2179544"/>
                <a:gd name="connsiteX162" fmla="*/ 424790 w 1770233"/>
                <a:gd name="connsiteY162" fmla="*/ 1438170 h 2179544"/>
                <a:gd name="connsiteX163" fmla="*/ 398618 w 1770233"/>
                <a:gd name="connsiteY163" fmla="*/ 1471733 h 2179544"/>
                <a:gd name="connsiteX164" fmla="*/ 388460 w 1770233"/>
                <a:gd name="connsiteY164" fmla="*/ 1472983 h 2179544"/>
                <a:gd name="connsiteX165" fmla="*/ 361752 w 1770233"/>
                <a:gd name="connsiteY165" fmla="*/ 1507189 h 2179544"/>
                <a:gd name="connsiteX166" fmla="*/ 340828 w 1770233"/>
                <a:gd name="connsiteY166" fmla="*/ 1509742 h 2179544"/>
                <a:gd name="connsiteX167" fmla="*/ 333134 w 1770233"/>
                <a:gd name="connsiteY167" fmla="*/ 1531362 h 2179544"/>
                <a:gd name="connsiteX168" fmla="*/ 204611 w 1770233"/>
                <a:gd name="connsiteY168" fmla="*/ 1547126 h 2179544"/>
                <a:gd name="connsiteX169" fmla="*/ 171905 w 1770233"/>
                <a:gd name="connsiteY169" fmla="*/ 1521525 h 2179544"/>
                <a:gd name="connsiteX170" fmla="*/ 146893 w 1770233"/>
                <a:gd name="connsiteY170" fmla="*/ 1483820 h 2179544"/>
                <a:gd name="connsiteX171" fmla="*/ 146607 w 1770233"/>
                <a:gd name="connsiteY171" fmla="*/ 1483373 h 2179544"/>
                <a:gd name="connsiteX172" fmla="*/ 123631 w 1770233"/>
                <a:gd name="connsiteY172" fmla="*/ 1465414 h 2179544"/>
                <a:gd name="connsiteX173" fmla="*/ 99815 w 1770233"/>
                <a:gd name="connsiteY173" fmla="*/ 1437670 h 2179544"/>
                <a:gd name="connsiteX174" fmla="*/ 77196 w 1770233"/>
                <a:gd name="connsiteY174" fmla="*/ 1419871 h 2179544"/>
                <a:gd name="connsiteX175" fmla="*/ 63628 w 1770233"/>
                <a:gd name="connsiteY175" fmla="*/ 1391306 h 2179544"/>
                <a:gd name="connsiteX176" fmla="*/ 38384 w 1770233"/>
                <a:gd name="connsiteY176" fmla="*/ 1353155 h 2179544"/>
                <a:gd name="connsiteX177" fmla="*/ 22227 w 1770233"/>
                <a:gd name="connsiteY177" fmla="*/ 1304292 h 2179544"/>
                <a:gd name="connsiteX178" fmla="*/ 9837 w 1770233"/>
                <a:gd name="connsiteY178" fmla="*/ 1203673 h 2179544"/>
                <a:gd name="connsiteX179" fmla="*/ 45382 w 1770233"/>
                <a:gd name="connsiteY179" fmla="*/ 1076204 h 2179544"/>
                <a:gd name="connsiteX180" fmla="*/ 45543 w 1770233"/>
                <a:gd name="connsiteY180" fmla="*/ 1075633 h 2179544"/>
                <a:gd name="connsiteX181" fmla="*/ 25655 w 1770233"/>
                <a:gd name="connsiteY181" fmla="*/ 829978 h 2179544"/>
                <a:gd name="connsiteX182" fmla="*/ 25655 w 1770233"/>
                <a:gd name="connsiteY182" fmla="*/ 829692 h 2179544"/>
                <a:gd name="connsiteX183" fmla="*/ 7105 w 1770233"/>
                <a:gd name="connsiteY183" fmla="*/ 761120 h 2179544"/>
                <a:gd name="connsiteX184" fmla="*/ 51309 w 1770233"/>
                <a:gd name="connsiteY184" fmla="*/ 704473 h 2179544"/>
                <a:gd name="connsiteX185" fmla="*/ 48970 w 1770233"/>
                <a:gd name="connsiteY185" fmla="*/ 601854 h 2179544"/>
                <a:gd name="connsiteX186" fmla="*/ 130111 w 1770233"/>
                <a:gd name="connsiteY186" fmla="*/ 520945 h 2179544"/>
                <a:gd name="connsiteX187" fmla="*/ 198024 w 1770233"/>
                <a:gd name="connsiteY187" fmla="*/ 492167 h 2179544"/>
                <a:gd name="connsiteX188" fmla="*/ 198256 w 1770233"/>
                <a:gd name="connsiteY188" fmla="*/ 492077 h 2179544"/>
                <a:gd name="connsiteX189" fmla="*/ 303820 w 1770233"/>
                <a:gd name="connsiteY189" fmla="*/ 427486 h 2179544"/>
                <a:gd name="connsiteX190" fmla="*/ 304319 w 1770233"/>
                <a:gd name="connsiteY190" fmla="*/ 427182 h 2179544"/>
                <a:gd name="connsiteX191" fmla="*/ 366537 w 1770233"/>
                <a:gd name="connsiteY191" fmla="*/ 347434 h 2179544"/>
                <a:gd name="connsiteX192" fmla="*/ 443286 w 1770233"/>
                <a:gd name="connsiteY192" fmla="*/ 307354 h 2179544"/>
                <a:gd name="connsiteX193" fmla="*/ 443500 w 1770233"/>
                <a:gd name="connsiteY193" fmla="*/ 307247 h 2179544"/>
                <a:gd name="connsiteX194" fmla="*/ 528801 w 1770233"/>
                <a:gd name="connsiteY194" fmla="*/ 245084 h 2179544"/>
                <a:gd name="connsiteX195" fmla="*/ 529212 w 1770233"/>
                <a:gd name="connsiteY195" fmla="*/ 244780 h 2179544"/>
                <a:gd name="connsiteX196" fmla="*/ 661662 w 1770233"/>
                <a:gd name="connsiteY196" fmla="*/ 63181 h 2179544"/>
                <a:gd name="connsiteX197" fmla="*/ 707543 w 1770233"/>
                <a:gd name="connsiteY197" fmla="*/ 0 h 2179544"/>
                <a:gd name="connsiteX198" fmla="*/ 699528 w 1770233"/>
                <a:gd name="connsiteY198" fmla="*/ 0 h 2179544"/>
                <a:gd name="connsiteX199" fmla="*/ 656413 w 1770233"/>
                <a:gd name="connsiteY199" fmla="*/ 59361 h 2179544"/>
                <a:gd name="connsiteX200" fmla="*/ 524587 w 1770233"/>
                <a:gd name="connsiteY200" fmla="*/ 240156 h 217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770233" h="2179544">
                  <a:moveTo>
                    <a:pt x="524587" y="240156"/>
                  </a:moveTo>
                  <a:lnTo>
                    <a:pt x="440072" y="301731"/>
                  </a:lnTo>
                  <a:lnTo>
                    <a:pt x="362912" y="342007"/>
                  </a:lnTo>
                  <a:lnTo>
                    <a:pt x="362270" y="342346"/>
                  </a:lnTo>
                  <a:lnTo>
                    <a:pt x="299945" y="422273"/>
                  </a:lnTo>
                  <a:lnTo>
                    <a:pt x="195274" y="486311"/>
                  </a:lnTo>
                  <a:lnTo>
                    <a:pt x="127005" y="515233"/>
                  </a:lnTo>
                  <a:lnTo>
                    <a:pt x="126416" y="515482"/>
                  </a:lnTo>
                  <a:lnTo>
                    <a:pt x="42436" y="599230"/>
                  </a:lnTo>
                  <a:lnTo>
                    <a:pt x="44775" y="702294"/>
                  </a:lnTo>
                  <a:lnTo>
                    <a:pt x="0" y="759691"/>
                  </a:lnTo>
                  <a:lnTo>
                    <a:pt x="19228" y="830799"/>
                  </a:lnTo>
                  <a:lnTo>
                    <a:pt x="38991" y="1075008"/>
                  </a:lnTo>
                  <a:lnTo>
                    <a:pt x="3410" y="1202566"/>
                  </a:lnTo>
                  <a:lnTo>
                    <a:pt x="3249" y="1203191"/>
                  </a:lnTo>
                  <a:lnTo>
                    <a:pt x="15818" y="1305417"/>
                  </a:lnTo>
                  <a:lnTo>
                    <a:pt x="15871" y="1305720"/>
                  </a:lnTo>
                  <a:lnTo>
                    <a:pt x="32367" y="1355601"/>
                  </a:lnTo>
                  <a:lnTo>
                    <a:pt x="32510" y="1356011"/>
                  </a:lnTo>
                  <a:lnTo>
                    <a:pt x="57861" y="1394306"/>
                  </a:lnTo>
                  <a:lnTo>
                    <a:pt x="71679" y="1423317"/>
                  </a:lnTo>
                  <a:lnTo>
                    <a:pt x="72001" y="1424031"/>
                  </a:lnTo>
                  <a:lnTo>
                    <a:pt x="95120" y="1442116"/>
                  </a:lnTo>
                  <a:lnTo>
                    <a:pt x="118936" y="1469895"/>
                  </a:lnTo>
                  <a:lnTo>
                    <a:pt x="141787" y="1487819"/>
                  </a:lnTo>
                  <a:lnTo>
                    <a:pt x="167085" y="1525970"/>
                  </a:lnTo>
                  <a:lnTo>
                    <a:pt x="202737" y="1553874"/>
                  </a:lnTo>
                  <a:lnTo>
                    <a:pt x="337883" y="1537307"/>
                  </a:lnTo>
                  <a:lnTo>
                    <a:pt x="345577" y="1515687"/>
                  </a:lnTo>
                  <a:lnTo>
                    <a:pt x="365198" y="1513277"/>
                  </a:lnTo>
                  <a:lnTo>
                    <a:pt x="391905" y="1479089"/>
                  </a:lnTo>
                  <a:lnTo>
                    <a:pt x="402064" y="1477839"/>
                  </a:lnTo>
                  <a:lnTo>
                    <a:pt x="429254" y="1442973"/>
                  </a:lnTo>
                  <a:lnTo>
                    <a:pt x="448285" y="1430351"/>
                  </a:lnTo>
                  <a:lnTo>
                    <a:pt x="474475" y="1396752"/>
                  </a:lnTo>
                  <a:lnTo>
                    <a:pt x="484597" y="1395520"/>
                  </a:lnTo>
                  <a:lnTo>
                    <a:pt x="502414" y="1372704"/>
                  </a:lnTo>
                  <a:lnTo>
                    <a:pt x="511948" y="1371525"/>
                  </a:lnTo>
                  <a:lnTo>
                    <a:pt x="531015" y="1358904"/>
                  </a:lnTo>
                  <a:lnTo>
                    <a:pt x="552509" y="1356261"/>
                  </a:lnTo>
                  <a:lnTo>
                    <a:pt x="560543" y="1333570"/>
                  </a:lnTo>
                  <a:lnTo>
                    <a:pt x="616672" y="1285314"/>
                  </a:lnTo>
                  <a:lnTo>
                    <a:pt x="634204" y="1182339"/>
                  </a:lnTo>
                  <a:lnTo>
                    <a:pt x="682139" y="1194997"/>
                  </a:lnTo>
                  <a:lnTo>
                    <a:pt x="703080" y="1283297"/>
                  </a:lnTo>
                  <a:lnTo>
                    <a:pt x="703401" y="1284654"/>
                  </a:lnTo>
                  <a:lnTo>
                    <a:pt x="746409" y="1309398"/>
                  </a:lnTo>
                  <a:lnTo>
                    <a:pt x="722986" y="1362260"/>
                  </a:lnTo>
                  <a:lnTo>
                    <a:pt x="767190" y="1553678"/>
                  </a:lnTo>
                  <a:lnTo>
                    <a:pt x="778526" y="1645888"/>
                  </a:lnTo>
                  <a:lnTo>
                    <a:pt x="802895" y="1674309"/>
                  </a:lnTo>
                  <a:lnTo>
                    <a:pt x="816928" y="1703838"/>
                  </a:lnTo>
                  <a:lnTo>
                    <a:pt x="839583" y="1721566"/>
                  </a:lnTo>
                  <a:lnTo>
                    <a:pt x="855829" y="1770822"/>
                  </a:lnTo>
                  <a:lnTo>
                    <a:pt x="880144" y="1799101"/>
                  </a:lnTo>
                  <a:lnTo>
                    <a:pt x="917975" y="1856140"/>
                  </a:lnTo>
                  <a:lnTo>
                    <a:pt x="940683" y="1882598"/>
                  </a:lnTo>
                  <a:lnTo>
                    <a:pt x="888803" y="1960758"/>
                  </a:lnTo>
                  <a:lnTo>
                    <a:pt x="968927" y="2106598"/>
                  </a:lnTo>
                  <a:lnTo>
                    <a:pt x="966159" y="2171136"/>
                  </a:lnTo>
                  <a:lnTo>
                    <a:pt x="1031537" y="2173939"/>
                  </a:lnTo>
                  <a:lnTo>
                    <a:pt x="1031786" y="2173939"/>
                  </a:lnTo>
                  <a:lnTo>
                    <a:pt x="1082328" y="2167762"/>
                  </a:lnTo>
                  <a:lnTo>
                    <a:pt x="1156971" y="2179544"/>
                  </a:lnTo>
                  <a:lnTo>
                    <a:pt x="1196889" y="2141125"/>
                  </a:lnTo>
                  <a:lnTo>
                    <a:pt x="1158274" y="2082854"/>
                  </a:lnTo>
                  <a:lnTo>
                    <a:pt x="1171520" y="2032669"/>
                  </a:lnTo>
                  <a:lnTo>
                    <a:pt x="1221384" y="2016173"/>
                  </a:lnTo>
                  <a:lnTo>
                    <a:pt x="1225168" y="1965703"/>
                  </a:lnTo>
                  <a:lnTo>
                    <a:pt x="1373240" y="1999070"/>
                  </a:lnTo>
                  <a:lnTo>
                    <a:pt x="1409606" y="1703267"/>
                  </a:lnTo>
                  <a:lnTo>
                    <a:pt x="1436599" y="1668686"/>
                  </a:lnTo>
                  <a:lnTo>
                    <a:pt x="1427709" y="1596257"/>
                  </a:lnTo>
                  <a:lnTo>
                    <a:pt x="1427530" y="1594936"/>
                  </a:lnTo>
                  <a:lnTo>
                    <a:pt x="1395377" y="1569781"/>
                  </a:lnTo>
                  <a:lnTo>
                    <a:pt x="1449382" y="1523346"/>
                  </a:lnTo>
                  <a:lnTo>
                    <a:pt x="1450881" y="1446829"/>
                  </a:lnTo>
                  <a:lnTo>
                    <a:pt x="1387629" y="1434010"/>
                  </a:lnTo>
                  <a:lnTo>
                    <a:pt x="1391182" y="1386932"/>
                  </a:lnTo>
                  <a:lnTo>
                    <a:pt x="1528649" y="1339337"/>
                  </a:lnTo>
                  <a:lnTo>
                    <a:pt x="1571888" y="1259660"/>
                  </a:lnTo>
                  <a:lnTo>
                    <a:pt x="1555892" y="1211261"/>
                  </a:lnTo>
                  <a:lnTo>
                    <a:pt x="1620876" y="1173413"/>
                  </a:lnTo>
                  <a:lnTo>
                    <a:pt x="1621894" y="1172824"/>
                  </a:lnTo>
                  <a:lnTo>
                    <a:pt x="1645674" y="1105750"/>
                  </a:lnTo>
                  <a:lnTo>
                    <a:pt x="1631177" y="1075294"/>
                  </a:lnTo>
                  <a:lnTo>
                    <a:pt x="1618770" y="1056477"/>
                  </a:lnTo>
                  <a:lnTo>
                    <a:pt x="1617520" y="1046301"/>
                  </a:lnTo>
                  <a:lnTo>
                    <a:pt x="1579297" y="988636"/>
                  </a:lnTo>
                  <a:lnTo>
                    <a:pt x="1565747" y="960089"/>
                  </a:lnTo>
                  <a:lnTo>
                    <a:pt x="1563140" y="938791"/>
                  </a:lnTo>
                  <a:lnTo>
                    <a:pt x="1396448" y="835834"/>
                  </a:lnTo>
                  <a:lnTo>
                    <a:pt x="1456202" y="410187"/>
                  </a:lnTo>
                  <a:lnTo>
                    <a:pt x="1485498" y="406580"/>
                  </a:lnTo>
                  <a:lnTo>
                    <a:pt x="1654779" y="189651"/>
                  </a:lnTo>
                  <a:lnTo>
                    <a:pt x="1704749" y="173101"/>
                  </a:lnTo>
                  <a:lnTo>
                    <a:pt x="1770233" y="0"/>
                  </a:lnTo>
                  <a:lnTo>
                    <a:pt x="1763306" y="0"/>
                  </a:lnTo>
                  <a:lnTo>
                    <a:pt x="1699786" y="167924"/>
                  </a:lnTo>
                  <a:lnTo>
                    <a:pt x="1650869" y="184116"/>
                  </a:lnTo>
                  <a:lnTo>
                    <a:pt x="1482052" y="400492"/>
                  </a:lnTo>
                  <a:lnTo>
                    <a:pt x="1450489" y="404367"/>
                  </a:lnTo>
                  <a:lnTo>
                    <a:pt x="1389718" y="837012"/>
                  </a:lnTo>
                  <a:lnTo>
                    <a:pt x="1389432" y="839119"/>
                  </a:lnTo>
                  <a:lnTo>
                    <a:pt x="1557088" y="942665"/>
                  </a:lnTo>
                  <a:lnTo>
                    <a:pt x="1559445" y="961928"/>
                  </a:lnTo>
                  <a:lnTo>
                    <a:pt x="1573548" y="991653"/>
                  </a:lnTo>
                  <a:lnTo>
                    <a:pt x="1611289" y="1048604"/>
                  </a:lnTo>
                  <a:lnTo>
                    <a:pt x="1612521" y="1058780"/>
                  </a:lnTo>
                  <a:lnTo>
                    <a:pt x="1625447" y="1078275"/>
                  </a:lnTo>
                  <a:lnTo>
                    <a:pt x="1638676" y="1106108"/>
                  </a:lnTo>
                  <a:lnTo>
                    <a:pt x="1616574" y="1168414"/>
                  </a:lnTo>
                  <a:lnTo>
                    <a:pt x="1548090" y="1208315"/>
                  </a:lnTo>
                  <a:lnTo>
                    <a:pt x="1564854" y="1259017"/>
                  </a:lnTo>
                  <a:lnTo>
                    <a:pt x="1524150" y="1334035"/>
                  </a:lnTo>
                  <a:lnTo>
                    <a:pt x="1385040" y="1382184"/>
                  </a:lnTo>
                  <a:lnTo>
                    <a:pt x="1380756" y="1439206"/>
                  </a:lnTo>
                  <a:lnTo>
                    <a:pt x="1444294" y="1452113"/>
                  </a:lnTo>
                  <a:lnTo>
                    <a:pt x="1442973" y="1520329"/>
                  </a:lnTo>
                  <a:lnTo>
                    <a:pt x="1385166" y="1570013"/>
                  </a:lnTo>
                  <a:lnTo>
                    <a:pt x="1421442" y="1598381"/>
                  </a:lnTo>
                  <a:lnTo>
                    <a:pt x="1429833" y="1666811"/>
                  </a:lnTo>
                  <a:lnTo>
                    <a:pt x="1403411" y="1700696"/>
                  </a:lnTo>
                  <a:lnTo>
                    <a:pt x="1367688" y="1991179"/>
                  </a:lnTo>
                  <a:lnTo>
                    <a:pt x="1219259" y="1957741"/>
                  </a:lnTo>
                  <a:lnTo>
                    <a:pt x="1215242" y="2011389"/>
                  </a:lnTo>
                  <a:lnTo>
                    <a:pt x="1166165" y="2027617"/>
                  </a:lnTo>
                  <a:lnTo>
                    <a:pt x="1151276" y="2084014"/>
                  </a:lnTo>
                  <a:lnTo>
                    <a:pt x="1188516" y="2140197"/>
                  </a:lnTo>
                  <a:lnTo>
                    <a:pt x="1154810" y="2172635"/>
                  </a:lnTo>
                  <a:lnTo>
                    <a:pt x="1082899" y="2161299"/>
                  </a:lnTo>
                  <a:lnTo>
                    <a:pt x="1082453" y="2161227"/>
                  </a:lnTo>
                  <a:lnTo>
                    <a:pt x="1031554" y="2167458"/>
                  </a:lnTo>
                  <a:lnTo>
                    <a:pt x="972908" y="2164923"/>
                  </a:lnTo>
                  <a:lnTo>
                    <a:pt x="975478" y="2105080"/>
                  </a:lnTo>
                  <a:lnTo>
                    <a:pt x="896373" y="1961079"/>
                  </a:lnTo>
                  <a:lnTo>
                    <a:pt x="948789" y="1882098"/>
                  </a:lnTo>
                  <a:lnTo>
                    <a:pt x="923259" y="1852391"/>
                  </a:lnTo>
                  <a:lnTo>
                    <a:pt x="898122" y="1814418"/>
                  </a:lnTo>
                  <a:lnTo>
                    <a:pt x="885429" y="1795352"/>
                  </a:lnTo>
                  <a:lnTo>
                    <a:pt x="861578" y="1767555"/>
                  </a:lnTo>
                  <a:lnTo>
                    <a:pt x="845421" y="1718584"/>
                  </a:lnTo>
                  <a:lnTo>
                    <a:pt x="845117" y="1717656"/>
                  </a:lnTo>
                  <a:lnTo>
                    <a:pt x="822123" y="1699660"/>
                  </a:lnTo>
                  <a:lnTo>
                    <a:pt x="808376" y="1670739"/>
                  </a:lnTo>
                  <a:lnTo>
                    <a:pt x="784703" y="1643156"/>
                  </a:lnTo>
                  <a:lnTo>
                    <a:pt x="773581" y="1552732"/>
                  </a:lnTo>
                  <a:lnTo>
                    <a:pt x="773581" y="1552553"/>
                  </a:lnTo>
                  <a:lnTo>
                    <a:pt x="729770" y="1362903"/>
                  </a:lnTo>
                  <a:lnTo>
                    <a:pt x="754693" y="1306684"/>
                  </a:lnTo>
                  <a:lnTo>
                    <a:pt x="709079" y="1280440"/>
                  </a:lnTo>
                  <a:lnTo>
                    <a:pt x="687548" y="1189730"/>
                  </a:lnTo>
                  <a:lnTo>
                    <a:pt x="629009" y="1174252"/>
                  </a:lnTo>
                  <a:lnTo>
                    <a:pt x="610692" y="1281922"/>
                  </a:lnTo>
                  <a:lnTo>
                    <a:pt x="555045" y="1329803"/>
                  </a:lnTo>
                  <a:lnTo>
                    <a:pt x="547761" y="1350316"/>
                  </a:lnTo>
                  <a:lnTo>
                    <a:pt x="528712" y="1352655"/>
                  </a:lnTo>
                  <a:lnTo>
                    <a:pt x="509645" y="1365277"/>
                  </a:lnTo>
                  <a:lnTo>
                    <a:pt x="498951" y="1366598"/>
                  </a:lnTo>
                  <a:lnTo>
                    <a:pt x="481152" y="1389414"/>
                  </a:lnTo>
                  <a:lnTo>
                    <a:pt x="471029" y="1390646"/>
                  </a:lnTo>
                  <a:lnTo>
                    <a:pt x="443821" y="1425530"/>
                  </a:lnTo>
                  <a:lnTo>
                    <a:pt x="424790" y="1438170"/>
                  </a:lnTo>
                  <a:lnTo>
                    <a:pt x="398618" y="1471733"/>
                  </a:lnTo>
                  <a:lnTo>
                    <a:pt x="388460" y="1472983"/>
                  </a:lnTo>
                  <a:lnTo>
                    <a:pt x="361752" y="1507189"/>
                  </a:lnTo>
                  <a:lnTo>
                    <a:pt x="340828" y="1509742"/>
                  </a:lnTo>
                  <a:lnTo>
                    <a:pt x="333134" y="1531362"/>
                  </a:lnTo>
                  <a:lnTo>
                    <a:pt x="204611" y="1547126"/>
                  </a:lnTo>
                  <a:lnTo>
                    <a:pt x="171905" y="1521525"/>
                  </a:lnTo>
                  <a:lnTo>
                    <a:pt x="146893" y="1483820"/>
                  </a:lnTo>
                  <a:lnTo>
                    <a:pt x="146607" y="1483373"/>
                  </a:lnTo>
                  <a:lnTo>
                    <a:pt x="123631" y="1465414"/>
                  </a:lnTo>
                  <a:lnTo>
                    <a:pt x="99815" y="1437670"/>
                  </a:lnTo>
                  <a:lnTo>
                    <a:pt x="77196" y="1419871"/>
                  </a:lnTo>
                  <a:lnTo>
                    <a:pt x="63628" y="1391306"/>
                  </a:lnTo>
                  <a:lnTo>
                    <a:pt x="38384" y="1353155"/>
                  </a:lnTo>
                  <a:lnTo>
                    <a:pt x="22227" y="1304292"/>
                  </a:lnTo>
                  <a:lnTo>
                    <a:pt x="9837" y="1203673"/>
                  </a:lnTo>
                  <a:lnTo>
                    <a:pt x="45382" y="1076204"/>
                  </a:lnTo>
                  <a:lnTo>
                    <a:pt x="45543" y="1075633"/>
                  </a:lnTo>
                  <a:lnTo>
                    <a:pt x="25655" y="829978"/>
                  </a:lnTo>
                  <a:lnTo>
                    <a:pt x="25655" y="829692"/>
                  </a:lnTo>
                  <a:lnTo>
                    <a:pt x="7105" y="761120"/>
                  </a:lnTo>
                  <a:lnTo>
                    <a:pt x="51309" y="704473"/>
                  </a:lnTo>
                  <a:lnTo>
                    <a:pt x="48970" y="601854"/>
                  </a:lnTo>
                  <a:lnTo>
                    <a:pt x="130111" y="520945"/>
                  </a:lnTo>
                  <a:lnTo>
                    <a:pt x="198024" y="492167"/>
                  </a:lnTo>
                  <a:lnTo>
                    <a:pt x="198256" y="492077"/>
                  </a:lnTo>
                  <a:lnTo>
                    <a:pt x="303820" y="427486"/>
                  </a:lnTo>
                  <a:lnTo>
                    <a:pt x="304319" y="427182"/>
                  </a:lnTo>
                  <a:lnTo>
                    <a:pt x="366537" y="347434"/>
                  </a:lnTo>
                  <a:lnTo>
                    <a:pt x="443286" y="307354"/>
                  </a:lnTo>
                  <a:lnTo>
                    <a:pt x="443500" y="307247"/>
                  </a:lnTo>
                  <a:lnTo>
                    <a:pt x="528801" y="245084"/>
                  </a:lnTo>
                  <a:lnTo>
                    <a:pt x="529212" y="244780"/>
                  </a:lnTo>
                  <a:lnTo>
                    <a:pt x="661662" y="63181"/>
                  </a:lnTo>
                  <a:lnTo>
                    <a:pt x="707543" y="0"/>
                  </a:lnTo>
                  <a:lnTo>
                    <a:pt x="699528" y="0"/>
                  </a:lnTo>
                  <a:lnTo>
                    <a:pt x="656413" y="59361"/>
                  </a:lnTo>
                  <a:lnTo>
                    <a:pt x="524587" y="240156"/>
                  </a:lnTo>
                  <a:close/>
                </a:path>
              </a:pathLst>
            </a:custGeom>
            <a:solidFill>
              <a:srgbClr val="231F20"/>
            </a:solidFill>
            <a:ln w="1785" cap="flat">
              <a:noFill/>
              <a:prstDash val="solid"/>
              <a:miter/>
            </a:ln>
          </p:spPr>
          <p:txBody>
            <a:bodyPr rtlCol="0" anchor="ctr"/>
            <a:lstStyle/>
            <a:p>
              <a:endParaRPr lang="de-AT"/>
            </a:p>
          </p:txBody>
        </p:sp>
        <p:sp>
          <p:nvSpPr>
            <p:cNvPr id="194" name="Freihandform: Form 193">
              <a:extLst>
                <a:ext uri="{FF2B5EF4-FFF2-40B4-BE49-F238E27FC236}">
                  <a16:creationId xmlns:a16="http://schemas.microsoft.com/office/drawing/2014/main" id="{7CB11DAD-447F-40B5-A485-D647833E68CC}"/>
                </a:ext>
              </a:extLst>
            </p:cNvPr>
            <p:cNvSpPr/>
            <p:nvPr/>
          </p:nvSpPr>
          <p:spPr>
            <a:xfrm>
              <a:off x="10913354" y="6065432"/>
              <a:ext cx="380586" cy="345077"/>
            </a:xfrm>
            <a:custGeom>
              <a:avLst/>
              <a:gdLst>
                <a:gd name="connsiteX0" fmla="*/ 190383 w 380586"/>
                <a:gd name="connsiteY0" fmla="*/ 340703 h 345077"/>
                <a:gd name="connsiteX1" fmla="*/ 190990 w 380586"/>
                <a:gd name="connsiteY1" fmla="*/ 340703 h 345077"/>
                <a:gd name="connsiteX2" fmla="*/ 260723 w 380586"/>
                <a:gd name="connsiteY2" fmla="*/ 310353 h 345077"/>
                <a:gd name="connsiteX3" fmla="*/ 276201 w 380586"/>
                <a:gd name="connsiteY3" fmla="*/ 248904 h 345077"/>
                <a:gd name="connsiteX4" fmla="*/ 360252 w 380586"/>
                <a:gd name="connsiteY4" fmla="*/ 199005 h 345077"/>
                <a:gd name="connsiteX5" fmla="*/ 360252 w 380586"/>
                <a:gd name="connsiteY5" fmla="*/ 129808 h 345077"/>
                <a:gd name="connsiteX6" fmla="*/ 380587 w 380586"/>
                <a:gd name="connsiteY6" fmla="*/ 0 h 345077"/>
                <a:gd name="connsiteX7" fmla="*/ 296125 w 380586"/>
                <a:gd name="connsiteY7" fmla="*/ 37598 h 345077"/>
                <a:gd name="connsiteX8" fmla="*/ 295232 w 380586"/>
                <a:gd name="connsiteY8" fmla="*/ 38009 h 345077"/>
                <a:gd name="connsiteX9" fmla="*/ 239889 w 380586"/>
                <a:gd name="connsiteY9" fmla="*/ 123345 h 345077"/>
                <a:gd name="connsiteX10" fmla="*/ 123845 w 380586"/>
                <a:gd name="connsiteY10" fmla="*/ 156747 h 345077"/>
                <a:gd name="connsiteX11" fmla="*/ 75554 w 380586"/>
                <a:gd name="connsiteY11" fmla="*/ 196738 h 345077"/>
                <a:gd name="connsiteX12" fmla="*/ 39044 w 380586"/>
                <a:gd name="connsiteY12" fmla="*/ 249029 h 345077"/>
                <a:gd name="connsiteX13" fmla="*/ 0 w 380586"/>
                <a:gd name="connsiteY13" fmla="*/ 273452 h 345077"/>
                <a:gd name="connsiteX14" fmla="*/ 65538 w 380586"/>
                <a:gd name="connsiteY14" fmla="*/ 345077 h 345077"/>
                <a:gd name="connsiteX15" fmla="*/ 43525 w 380586"/>
                <a:gd name="connsiteY15" fmla="*/ 253813 h 345077"/>
                <a:gd name="connsiteX16" fmla="*/ 80392 w 380586"/>
                <a:gd name="connsiteY16" fmla="*/ 201166 h 345077"/>
                <a:gd name="connsiteX17" fmla="*/ 126970 w 380586"/>
                <a:gd name="connsiteY17" fmla="*/ 162603 h 345077"/>
                <a:gd name="connsiteX18" fmla="*/ 244066 w 380586"/>
                <a:gd name="connsiteY18" fmla="*/ 128897 h 345077"/>
                <a:gd name="connsiteX19" fmla="*/ 299660 w 380586"/>
                <a:gd name="connsiteY19" fmla="*/ 43204 h 345077"/>
                <a:gd name="connsiteX20" fmla="*/ 372321 w 380586"/>
                <a:gd name="connsiteY20" fmla="*/ 10854 h 345077"/>
                <a:gd name="connsiteX21" fmla="*/ 353772 w 380586"/>
                <a:gd name="connsiteY21" fmla="*/ 129147 h 345077"/>
                <a:gd name="connsiteX22" fmla="*/ 353772 w 380586"/>
                <a:gd name="connsiteY22" fmla="*/ 129379 h 345077"/>
                <a:gd name="connsiteX23" fmla="*/ 353772 w 380586"/>
                <a:gd name="connsiteY23" fmla="*/ 195435 h 345077"/>
                <a:gd name="connsiteX24" fmla="*/ 270578 w 380586"/>
                <a:gd name="connsiteY24" fmla="*/ 244833 h 345077"/>
                <a:gd name="connsiteX25" fmla="*/ 255224 w 380586"/>
                <a:gd name="connsiteY25" fmla="*/ 305801 h 345077"/>
                <a:gd name="connsiteX26" fmla="*/ 189526 w 380586"/>
                <a:gd name="connsiteY26" fmla="*/ 334366 h 345077"/>
                <a:gd name="connsiteX27" fmla="*/ 68287 w 380586"/>
                <a:gd name="connsiteY27" fmla="*/ 338686 h 345077"/>
                <a:gd name="connsiteX28" fmla="*/ 10016 w 380586"/>
                <a:gd name="connsiteY28" fmla="*/ 274987 h 345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80586" h="345077">
                  <a:moveTo>
                    <a:pt x="190383" y="340703"/>
                  </a:moveTo>
                  <a:lnTo>
                    <a:pt x="190990" y="340703"/>
                  </a:lnTo>
                  <a:lnTo>
                    <a:pt x="260723" y="310353"/>
                  </a:lnTo>
                  <a:lnTo>
                    <a:pt x="276201" y="248904"/>
                  </a:lnTo>
                  <a:lnTo>
                    <a:pt x="360252" y="199005"/>
                  </a:lnTo>
                  <a:lnTo>
                    <a:pt x="360252" y="129808"/>
                  </a:lnTo>
                  <a:lnTo>
                    <a:pt x="380587" y="0"/>
                  </a:lnTo>
                  <a:lnTo>
                    <a:pt x="296125" y="37598"/>
                  </a:lnTo>
                  <a:lnTo>
                    <a:pt x="295232" y="38009"/>
                  </a:lnTo>
                  <a:lnTo>
                    <a:pt x="239889" y="123345"/>
                  </a:lnTo>
                  <a:lnTo>
                    <a:pt x="123845" y="156747"/>
                  </a:lnTo>
                  <a:lnTo>
                    <a:pt x="75554" y="196738"/>
                  </a:lnTo>
                  <a:lnTo>
                    <a:pt x="39044" y="249029"/>
                  </a:lnTo>
                  <a:lnTo>
                    <a:pt x="0" y="273452"/>
                  </a:lnTo>
                  <a:lnTo>
                    <a:pt x="65538" y="345077"/>
                  </a:lnTo>
                  <a:close/>
                  <a:moveTo>
                    <a:pt x="43525" y="253813"/>
                  </a:moveTo>
                  <a:lnTo>
                    <a:pt x="80392" y="201166"/>
                  </a:lnTo>
                  <a:lnTo>
                    <a:pt x="126970" y="162603"/>
                  </a:lnTo>
                  <a:lnTo>
                    <a:pt x="244066" y="128897"/>
                  </a:lnTo>
                  <a:lnTo>
                    <a:pt x="299660" y="43204"/>
                  </a:lnTo>
                  <a:lnTo>
                    <a:pt x="372321" y="10854"/>
                  </a:lnTo>
                  <a:lnTo>
                    <a:pt x="353772" y="129147"/>
                  </a:lnTo>
                  <a:lnTo>
                    <a:pt x="353772" y="129379"/>
                  </a:lnTo>
                  <a:lnTo>
                    <a:pt x="353772" y="195435"/>
                  </a:lnTo>
                  <a:lnTo>
                    <a:pt x="270578" y="244833"/>
                  </a:lnTo>
                  <a:lnTo>
                    <a:pt x="255224" y="305801"/>
                  </a:lnTo>
                  <a:lnTo>
                    <a:pt x="189526" y="334366"/>
                  </a:lnTo>
                  <a:lnTo>
                    <a:pt x="68287" y="338686"/>
                  </a:lnTo>
                  <a:lnTo>
                    <a:pt x="10016" y="274987"/>
                  </a:lnTo>
                  <a:close/>
                </a:path>
              </a:pathLst>
            </a:custGeom>
            <a:solidFill>
              <a:srgbClr val="231F20"/>
            </a:solidFill>
            <a:ln w="1785" cap="flat">
              <a:noFill/>
              <a:prstDash val="solid"/>
              <a:miter/>
            </a:ln>
          </p:spPr>
          <p:txBody>
            <a:bodyPr rtlCol="0" anchor="ctr"/>
            <a:lstStyle/>
            <a:p>
              <a:endParaRPr lang="de-AT"/>
            </a:p>
          </p:txBody>
        </p:sp>
        <p:sp>
          <p:nvSpPr>
            <p:cNvPr id="195" name="Freihandform: Form 194">
              <a:extLst>
                <a:ext uri="{FF2B5EF4-FFF2-40B4-BE49-F238E27FC236}">
                  <a16:creationId xmlns:a16="http://schemas.microsoft.com/office/drawing/2014/main" id="{6E2A40D6-6B1F-4BEE-8AF1-C621FD3DFEE0}"/>
                </a:ext>
              </a:extLst>
            </p:cNvPr>
            <p:cNvSpPr/>
            <p:nvPr/>
          </p:nvSpPr>
          <p:spPr>
            <a:xfrm>
              <a:off x="9390115" y="6301143"/>
              <a:ext cx="55522" cy="55432"/>
            </a:xfrm>
            <a:custGeom>
              <a:avLst/>
              <a:gdLst>
                <a:gd name="connsiteX0" fmla="*/ 0 w 55522"/>
                <a:gd name="connsiteY0" fmla="*/ 40347 h 55432"/>
                <a:gd name="connsiteX1" fmla="*/ 34188 w 55522"/>
                <a:gd name="connsiteY1" fmla="*/ 55433 h 55432"/>
                <a:gd name="connsiteX2" fmla="*/ 52702 w 55522"/>
                <a:gd name="connsiteY2" fmla="*/ 40133 h 55432"/>
                <a:gd name="connsiteX3" fmla="*/ 55522 w 55522"/>
                <a:gd name="connsiteY3" fmla="*/ 14050 h 55432"/>
                <a:gd name="connsiteX4" fmla="*/ 33135 w 55522"/>
                <a:gd name="connsiteY4" fmla="*/ 0 h 55432"/>
                <a:gd name="connsiteX5" fmla="*/ 7284 w 55522"/>
                <a:gd name="connsiteY5" fmla="*/ 9391 h 55432"/>
                <a:gd name="connsiteX6" fmla="*/ 12783 w 55522"/>
                <a:gd name="connsiteY6" fmla="*/ 14282 h 55432"/>
                <a:gd name="connsiteX7" fmla="*/ 32421 w 55522"/>
                <a:gd name="connsiteY7" fmla="*/ 7141 h 55432"/>
                <a:gd name="connsiteX8" fmla="*/ 48685 w 55522"/>
                <a:gd name="connsiteY8" fmla="*/ 17353 h 55432"/>
                <a:gd name="connsiteX9" fmla="*/ 46578 w 55522"/>
                <a:gd name="connsiteY9" fmla="*/ 36794 h 55432"/>
                <a:gd name="connsiteX10" fmla="*/ 33189 w 55522"/>
                <a:gd name="connsiteY10" fmla="*/ 47881 h 55432"/>
                <a:gd name="connsiteX11" fmla="*/ 7587 w 55522"/>
                <a:gd name="connsiteY11" fmla="*/ 36598 h 55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522" h="55432">
                  <a:moveTo>
                    <a:pt x="0" y="40347"/>
                  </a:moveTo>
                  <a:lnTo>
                    <a:pt x="34188" y="55433"/>
                  </a:lnTo>
                  <a:lnTo>
                    <a:pt x="52702" y="40133"/>
                  </a:lnTo>
                  <a:lnTo>
                    <a:pt x="55522" y="14050"/>
                  </a:lnTo>
                  <a:lnTo>
                    <a:pt x="33135" y="0"/>
                  </a:lnTo>
                  <a:lnTo>
                    <a:pt x="7284" y="9391"/>
                  </a:lnTo>
                  <a:close/>
                  <a:moveTo>
                    <a:pt x="12783" y="14282"/>
                  </a:moveTo>
                  <a:lnTo>
                    <a:pt x="32421" y="7141"/>
                  </a:lnTo>
                  <a:lnTo>
                    <a:pt x="48685" y="17353"/>
                  </a:lnTo>
                  <a:lnTo>
                    <a:pt x="46578" y="36794"/>
                  </a:lnTo>
                  <a:lnTo>
                    <a:pt x="33189" y="47881"/>
                  </a:lnTo>
                  <a:lnTo>
                    <a:pt x="7587" y="36598"/>
                  </a:lnTo>
                  <a:close/>
                </a:path>
              </a:pathLst>
            </a:custGeom>
            <a:solidFill>
              <a:srgbClr val="231F20"/>
            </a:solidFill>
            <a:ln w="1785" cap="flat">
              <a:noFill/>
              <a:prstDash val="solid"/>
              <a:miter/>
            </a:ln>
          </p:spPr>
          <p:txBody>
            <a:bodyPr rtlCol="0" anchor="ctr"/>
            <a:lstStyle/>
            <a:p>
              <a:endParaRPr lang="de-AT"/>
            </a:p>
          </p:txBody>
        </p:sp>
        <p:sp>
          <p:nvSpPr>
            <p:cNvPr id="196" name="Freihandform: Form 195">
              <a:extLst>
                <a:ext uri="{FF2B5EF4-FFF2-40B4-BE49-F238E27FC236}">
                  <a16:creationId xmlns:a16="http://schemas.microsoft.com/office/drawing/2014/main" id="{66418021-6431-4BC8-851B-1151D7EB0FD1}"/>
                </a:ext>
              </a:extLst>
            </p:cNvPr>
            <p:cNvSpPr/>
            <p:nvPr/>
          </p:nvSpPr>
          <p:spPr>
            <a:xfrm>
              <a:off x="9472595" y="6248280"/>
              <a:ext cx="41793" cy="38829"/>
            </a:xfrm>
            <a:custGeom>
              <a:avLst/>
              <a:gdLst>
                <a:gd name="connsiteX0" fmla="*/ 14800 w 41793"/>
                <a:gd name="connsiteY0" fmla="*/ 38830 h 38829"/>
                <a:gd name="connsiteX1" fmla="*/ 41793 w 41793"/>
                <a:gd name="connsiteY1" fmla="*/ 29903 h 38829"/>
                <a:gd name="connsiteX2" fmla="*/ 41793 w 41793"/>
                <a:gd name="connsiteY2" fmla="*/ 9069 h 38829"/>
                <a:gd name="connsiteX3" fmla="*/ 15942 w 41793"/>
                <a:gd name="connsiteY3" fmla="*/ 0 h 38829"/>
                <a:gd name="connsiteX4" fmla="*/ 0 w 41793"/>
                <a:gd name="connsiteY4" fmla="*/ 10712 h 38829"/>
                <a:gd name="connsiteX5" fmla="*/ 16871 w 41793"/>
                <a:gd name="connsiteY5" fmla="*/ 7266 h 38829"/>
                <a:gd name="connsiteX6" fmla="*/ 35330 w 41793"/>
                <a:gd name="connsiteY6" fmla="*/ 13747 h 38829"/>
                <a:gd name="connsiteX7" fmla="*/ 35330 w 41793"/>
                <a:gd name="connsiteY7" fmla="*/ 25297 h 38829"/>
                <a:gd name="connsiteX8" fmla="*/ 18013 w 41793"/>
                <a:gd name="connsiteY8" fmla="*/ 30975 h 38829"/>
                <a:gd name="connsiteX9" fmla="*/ 8462 w 41793"/>
                <a:gd name="connsiteY9" fmla="*/ 12872 h 3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93" h="38829">
                  <a:moveTo>
                    <a:pt x="14800" y="38830"/>
                  </a:moveTo>
                  <a:lnTo>
                    <a:pt x="41793" y="29903"/>
                  </a:lnTo>
                  <a:lnTo>
                    <a:pt x="41793" y="9069"/>
                  </a:lnTo>
                  <a:lnTo>
                    <a:pt x="15942" y="0"/>
                  </a:lnTo>
                  <a:lnTo>
                    <a:pt x="0" y="10712"/>
                  </a:lnTo>
                  <a:close/>
                  <a:moveTo>
                    <a:pt x="16871" y="7266"/>
                  </a:moveTo>
                  <a:lnTo>
                    <a:pt x="35330" y="13747"/>
                  </a:lnTo>
                  <a:lnTo>
                    <a:pt x="35330" y="25297"/>
                  </a:lnTo>
                  <a:lnTo>
                    <a:pt x="18013" y="30975"/>
                  </a:lnTo>
                  <a:lnTo>
                    <a:pt x="8462" y="12872"/>
                  </a:lnTo>
                  <a:close/>
                </a:path>
              </a:pathLst>
            </a:custGeom>
            <a:solidFill>
              <a:srgbClr val="231F20"/>
            </a:solidFill>
            <a:ln w="1785" cap="flat">
              <a:noFill/>
              <a:prstDash val="solid"/>
              <a:miter/>
            </a:ln>
          </p:spPr>
          <p:txBody>
            <a:bodyPr rtlCol="0" anchor="ctr"/>
            <a:lstStyle/>
            <a:p>
              <a:endParaRPr lang="de-AT"/>
            </a:p>
          </p:txBody>
        </p:sp>
        <p:sp>
          <p:nvSpPr>
            <p:cNvPr id="197" name="Freihandform: Form 196">
              <a:extLst>
                <a:ext uri="{FF2B5EF4-FFF2-40B4-BE49-F238E27FC236}">
                  <a16:creationId xmlns:a16="http://schemas.microsoft.com/office/drawing/2014/main" id="{971250C3-F492-41C9-9A3B-FC6A7D129FF2}"/>
                </a:ext>
              </a:extLst>
            </p:cNvPr>
            <p:cNvSpPr/>
            <p:nvPr/>
          </p:nvSpPr>
          <p:spPr>
            <a:xfrm>
              <a:off x="9622737" y="6203916"/>
              <a:ext cx="80605" cy="93638"/>
            </a:xfrm>
            <a:custGeom>
              <a:avLst/>
              <a:gdLst>
                <a:gd name="connsiteX0" fmla="*/ 0 w 80605"/>
                <a:gd name="connsiteY0" fmla="*/ 87801 h 93638"/>
                <a:gd name="connsiteX1" fmla="*/ 20620 w 80605"/>
                <a:gd name="connsiteY1" fmla="*/ 93638 h 93638"/>
                <a:gd name="connsiteX2" fmla="*/ 39509 w 80605"/>
                <a:gd name="connsiteY2" fmla="*/ 75357 h 93638"/>
                <a:gd name="connsiteX3" fmla="*/ 65484 w 80605"/>
                <a:gd name="connsiteY3" fmla="*/ 46221 h 93638"/>
                <a:gd name="connsiteX4" fmla="*/ 71679 w 80605"/>
                <a:gd name="connsiteY4" fmla="*/ 31814 h 93638"/>
                <a:gd name="connsiteX5" fmla="*/ 80606 w 80605"/>
                <a:gd name="connsiteY5" fmla="*/ 7338 h 93638"/>
                <a:gd name="connsiteX6" fmla="*/ 52630 w 80605"/>
                <a:gd name="connsiteY6" fmla="*/ 0 h 93638"/>
                <a:gd name="connsiteX7" fmla="*/ 12265 w 80605"/>
                <a:gd name="connsiteY7" fmla="*/ 45418 h 93638"/>
                <a:gd name="connsiteX8" fmla="*/ 36 w 80605"/>
                <a:gd name="connsiteY8" fmla="*/ 72322 h 93638"/>
                <a:gd name="connsiteX9" fmla="*/ 36 w 80605"/>
                <a:gd name="connsiteY9" fmla="*/ 87801 h 93638"/>
                <a:gd name="connsiteX10" fmla="*/ 6463 w 80605"/>
                <a:gd name="connsiteY10" fmla="*/ 73714 h 93638"/>
                <a:gd name="connsiteX11" fmla="*/ 17710 w 80605"/>
                <a:gd name="connsiteY11" fmla="*/ 48971 h 93638"/>
                <a:gd name="connsiteX12" fmla="*/ 54772 w 80605"/>
                <a:gd name="connsiteY12" fmla="*/ 7266 h 93638"/>
                <a:gd name="connsiteX13" fmla="*/ 72036 w 80605"/>
                <a:gd name="connsiteY13" fmla="*/ 11801 h 93638"/>
                <a:gd name="connsiteX14" fmla="*/ 65681 w 80605"/>
                <a:gd name="connsiteY14" fmla="*/ 29333 h 93638"/>
                <a:gd name="connsiteX15" fmla="*/ 59932 w 80605"/>
                <a:gd name="connsiteY15" fmla="*/ 42686 h 93638"/>
                <a:gd name="connsiteX16" fmla="*/ 34938 w 80605"/>
                <a:gd name="connsiteY16" fmla="*/ 70787 h 93638"/>
                <a:gd name="connsiteX17" fmla="*/ 18871 w 80605"/>
                <a:gd name="connsiteY17" fmla="*/ 86390 h 93638"/>
                <a:gd name="connsiteX18" fmla="*/ 6552 w 80605"/>
                <a:gd name="connsiteY18" fmla="*/ 82909 h 93638"/>
                <a:gd name="connsiteX19" fmla="*/ 6552 w 80605"/>
                <a:gd name="connsiteY19" fmla="*/ 73714 h 9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605" h="93638">
                  <a:moveTo>
                    <a:pt x="0" y="87801"/>
                  </a:moveTo>
                  <a:lnTo>
                    <a:pt x="20620" y="93638"/>
                  </a:lnTo>
                  <a:lnTo>
                    <a:pt x="39509" y="75357"/>
                  </a:lnTo>
                  <a:lnTo>
                    <a:pt x="65484" y="46221"/>
                  </a:lnTo>
                  <a:lnTo>
                    <a:pt x="71679" y="31814"/>
                  </a:lnTo>
                  <a:lnTo>
                    <a:pt x="80606" y="7338"/>
                  </a:lnTo>
                  <a:lnTo>
                    <a:pt x="52630" y="0"/>
                  </a:lnTo>
                  <a:lnTo>
                    <a:pt x="12265" y="45418"/>
                  </a:lnTo>
                  <a:lnTo>
                    <a:pt x="36" y="72322"/>
                  </a:lnTo>
                  <a:lnTo>
                    <a:pt x="36" y="87801"/>
                  </a:lnTo>
                  <a:close/>
                  <a:moveTo>
                    <a:pt x="6463" y="73714"/>
                  </a:moveTo>
                  <a:lnTo>
                    <a:pt x="17710" y="48971"/>
                  </a:lnTo>
                  <a:lnTo>
                    <a:pt x="54772" y="7266"/>
                  </a:lnTo>
                  <a:lnTo>
                    <a:pt x="72036" y="11801"/>
                  </a:lnTo>
                  <a:lnTo>
                    <a:pt x="65681" y="29333"/>
                  </a:lnTo>
                  <a:lnTo>
                    <a:pt x="59932" y="42686"/>
                  </a:lnTo>
                  <a:lnTo>
                    <a:pt x="34938" y="70787"/>
                  </a:lnTo>
                  <a:lnTo>
                    <a:pt x="18871" y="86390"/>
                  </a:lnTo>
                  <a:lnTo>
                    <a:pt x="6552" y="82909"/>
                  </a:lnTo>
                  <a:lnTo>
                    <a:pt x="6552" y="73714"/>
                  </a:lnTo>
                  <a:close/>
                </a:path>
              </a:pathLst>
            </a:custGeom>
            <a:solidFill>
              <a:srgbClr val="231F20"/>
            </a:solidFill>
            <a:ln w="1785" cap="flat">
              <a:noFill/>
              <a:prstDash val="solid"/>
              <a:miter/>
            </a:ln>
          </p:spPr>
          <p:txBody>
            <a:bodyPr rtlCol="0" anchor="ctr"/>
            <a:lstStyle/>
            <a:p>
              <a:endParaRPr lang="de-AT"/>
            </a:p>
          </p:txBody>
        </p:sp>
        <p:sp>
          <p:nvSpPr>
            <p:cNvPr id="198" name="Freihandform: Form 197">
              <a:extLst>
                <a:ext uri="{FF2B5EF4-FFF2-40B4-BE49-F238E27FC236}">
                  <a16:creationId xmlns:a16="http://schemas.microsoft.com/office/drawing/2014/main" id="{F59F43D0-260F-48BF-8963-8EA2D8C19F3B}"/>
                </a:ext>
              </a:extLst>
            </p:cNvPr>
            <p:cNvSpPr/>
            <p:nvPr/>
          </p:nvSpPr>
          <p:spPr>
            <a:xfrm>
              <a:off x="9553093" y="5836165"/>
              <a:ext cx="73420" cy="123524"/>
            </a:xfrm>
            <a:custGeom>
              <a:avLst/>
              <a:gdLst>
                <a:gd name="connsiteX0" fmla="*/ 18442 w 73420"/>
                <a:gd name="connsiteY0" fmla="*/ 71644 h 123524"/>
                <a:gd name="connsiteX1" fmla="*/ 4660 w 73420"/>
                <a:gd name="connsiteY1" fmla="*/ 88818 h 123524"/>
                <a:gd name="connsiteX2" fmla="*/ 11908 w 73420"/>
                <a:gd name="connsiteY2" fmla="*/ 109063 h 123524"/>
                <a:gd name="connsiteX3" fmla="*/ 47274 w 73420"/>
                <a:gd name="connsiteY3" fmla="*/ 123524 h 123524"/>
                <a:gd name="connsiteX4" fmla="*/ 71822 w 73420"/>
                <a:gd name="connsiteY4" fmla="*/ 97441 h 123524"/>
                <a:gd name="connsiteX5" fmla="*/ 72054 w 73420"/>
                <a:gd name="connsiteY5" fmla="*/ 96781 h 123524"/>
                <a:gd name="connsiteX6" fmla="*/ 72215 w 73420"/>
                <a:gd name="connsiteY6" fmla="*/ 40258 h 123524"/>
                <a:gd name="connsiteX7" fmla="*/ 72215 w 73420"/>
                <a:gd name="connsiteY7" fmla="*/ 39794 h 123524"/>
                <a:gd name="connsiteX8" fmla="*/ 63288 w 73420"/>
                <a:gd name="connsiteY8" fmla="*/ 15246 h 123524"/>
                <a:gd name="connsiteX9" fmla="*/ 47221 w 73420"/>
                <a:gd name="connsiteY9" fmla="*/ 0 h 123524"/>
                <a:gd name="connsiteX10" fmla="*/ 607 w 73420"/>
                <a:gd name="connsiteY10" fmla="*/ 0 h 123524"/>
                <a:gd name="connsiteX11" fmla="*/ 0 w 73420"/>
                <a:gd name="connsiteY11" fmla="*/ 41561 h 123524"/>
                <a:gd name="connsiteX12" fmla="*/ 24369 w 73420"/>
                <a:gd name="connsiteY12" fmla="*/ 49881 h 123524"/>
                <a:gd name="connsiteX13" fmla="*/ 6552 w 73420"/>
                <a:gd name="connsiteY13" fmla="*/ 36974 h 123524"/>
                <a:gd name="connsiteX14" fmla="*/ 6999 w 73420"/>
                <a:gd name="connsiteY14" fmla="*/ 6463 h 123524"/>
                <a:gd name="connsiteX15" fmla="*/ 44632 w 73420"/>
                <a:gd name="connsiteY15" fmla="*/ 6463 h 123524"/>
                <a:gd name="connsiteX16" fmla="*/ 57700 w 73420"/>
                <a:gd name="connsiteY16" fmla="*/ 18960 h 123524"/>
                <a:gd name="connsiteX17" fmla="*/ 65806 w 73420"/>
                <a:gd name="connsiteY17" fmla="*/ 41169 h 123524"/>
                <a:gd name="connsiteX18" fmla="*/ 66109 w 73420"/>
                <a:gd name="connsiteY18" fmla="*/ 94174 h 123524"/>
                <a:gd name="connsiteX19" fmla="*/ 45632 w 73420"/>
                <a:gd name="connsiteY19" fmla="*/ 115901 h 123524"/>
                <a:gd name="connsiteX20" fmla="*/ 17067 w 73420"/>
                <a:gd name="connsiteY20" fmla="*/ 104207 h 123524"/>
                <a:gd name="connsiteX21" fmla="*/ 12015 w 73420"/>
                <a:gd name="connsiteY21" fmla="*/ 90086 h 123524"/>
                <a:gd name="connsiteX22" fmla="*/ 24352 w 73420"/>
                <a:gd name="connsiteY22" fmla="*/ 74679 h 123524"/>
                <a:gd name="connsiteX23" fmla="*/ 32242 w 73420"/>
                <a:gd name="connsiteY23" fmla="*/ 45775 h 12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3420" h="123524">
                  <a:moveTo>
                    <a:pt x="18442" y="71644"/>
                  </a:moveTo>
                  <a:lnTo>
                    <a:pt x="4660" y="88818"/>
                  </a:lnTo>
                  <a:lnTo>
                    <a:pt x="11908" y="109063"/>
                  </a:lnTo>
                  <a:lnTo>
                    <a:pt x="47274" y="123524"/>
                  </a:lnTo>
                  <a:lnTo>
                    <a:pt x="71822" y="97441"/>
                  </a:lnTo>
                  <a:lnTo>
                    <a:pt x="72054" y="96781"/>
                  </a:lnTo>
                  <a:cubicBezTo>
                    <a:pt x="74875" y="88300"/>
                    <a:pt x="72501" y="45150"/>
                    <a:pt x="72215" y="40258"/>
                  </a:cubicBezTo>
                  <a:lnTo>
                    <a:pt x="72215" y="39794"/>
                  </a:lnTo>
                  <a:lnTo>
                    <a:pt x="63288" y="15246"/>
                  </a:lnTo>
                  <a:lnTo>
                    <a:pt x="47221" y="0"/>
                  </a:lnTo>
                  <a:lnTo>
                    <a:pt x="607" y="0"/>
                  </a:lnTo>
                  <a:lnTo>
                    <a:pt x="0" y="41561"/>
                  </a:lnTo>
                  <a:lnTo>
                    <a:pt x="24369" y="49881"/>
                  </a:lnTo>
                  <a:close/>
                  <a:moveTo>
                    <a:pt x="6552" y="36974"/>
                  </a:moveTo>
                  <a:lnTo>
                    <a:pt x="6999" y="6463"/>
                  </a:lnTo>
                  <a:lnTo>
                    <a:pt x="44632" y="6463"/>
                  </a:lnTo>
                  <a:lnTo>
                    <a:pt x="57700" y="18960"/>
                  </a:lnTo>
                  <a:lnTo>
                    <a:pt x="65806" y="41169"/>
                  </a:lnTo>
                  <a:cubicBezTo>
                    <a:pt x="66788" y="58629"/>
                    <a:pt x="67680" y="87354"/>
                    <a:pt x="66109" y="94174"/>
                  </a:cubicBezTo>
                  <a:lnTo>
                    <a:pt x="45632" y="115901"/>
                  </a:lnTo>
                  <a:lnTo>
                    <a:pt x="17067" y="104207"/>
                  </a:lnTo>
                  <a:lnTo>
                    <a:pt x="12015" y="90086"/>
                  </a:lnTo>
                  <a:lnTo>
                    <a:pt x="24352" y="74679"/>
                  </a:lnTo>
                  <a:lnTo>
                    <a:pt x="32242" y="45775"/>
                  </a:lnTo>
                  <a:close/>
                </a:path>
              </a:pathLst>
            </a:custGeom>
            <a:solidFill>
              <a:srgbClr val="231F20"/>
            </a:solidFill>
            <a:ln w="1785" cap="flat">
              <a:noFill/>
              <a:prstDash val="solid"/>
              <a:miter/>
            </a:ln>
          </p:spPr>
          <p:txBody>
            <a:bodyPr rtlCol="0" anchor="ctr"/>
            <a:lstStyle/>
            <a:p>
              <a:endParaRPr lang="de-AT"/>
            </a:p>
          </p:txBody>
        </p:sp>
      </p:grpSp>
      <p:sp>
        <p:nvSpPr>
          <p:cNvPr id="202" name="Rectangle: Rounded Corners 147">
            <a:extLst>
              <a:ext uri="{FF2B5EF4-FFF2-40B4-BE49-F238E27FC236}">
                <a16:creationId xmlns:a16="http://schemas.microsoft.com/office/drawing/2014/main" id="{B64AB8F2-2A1A-4050-9085-E8354542FCD4}"/>
              </a:ext>
            </a:extLst>
          </p:cNvPr>
          <p:cNvSpPr/>
          <p:nvPr userDrawn="1">
            <p:custDataLst>
              <p:tags r:id="rId5"/>
            </p:custDataLst>
          </p:nvPr>
        </p:nvSpPr>
        <p:spPr>
          <a:xfrm>
            <a:off x="7412223" y="4701236"/>
            <a:ext cx="914400" cy="148760"/>
          </a:xfrm>
          <a:prstGeom prst="round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03" name="Graphic 132">
            <a:extLst>
              <a:ext uri="{FF2B5EF4-FFF2-40B4-BE49-F238E27FC236}">
                <a16:creationId xmlns:a16="http://schemas.microsoft.com/office/drawing/2014/main" id="{598B748D-FFF5-4B81-81E8-6DBAA153CBBC}"/>
              </a:ext>
            </a:extLst>
          </p:cNvPr>
          <p:cNvGrpSpPr/>
          <p:nvPr userDrawn="1">
            <p:custDataLst>
              <p:tags r:id="rId6"/>
            </p:custDataLst>
          </p:nvPr>
        </p:nvGrpSpPr>
        <p:grpSpPr>
          <a:xfrm>
            <a:off x="7112192" y="3426387"/>
            <a:ext cx="1137985" cy="198000"/>
            <a:chOff x="6761312" y="3245633"/>
            <a:chExt cx="1137985" cy="198000"/>
          </a:xfrm>
          <a:solidFill>
            <a:srgbClr val="000000"/>
          </a:solidFill>
        </p:grpSpPr>
        <p:sp>
          <p:nvSpPr>
            <p:cNvPr id="204" name="Freeform: Shape 5">
              <a:extLst>
                <a:ext uri="{FF2B5EF4-FFF2-40B4-BE49-F238E27FC236}">
                  <a16:creationId xmlns:a16="http://schemas.microsoft.com/office/drawing/2014/main" id="{6D2EA83A-8878-4664-8CEE-6A2F2EFA9BA6}"/>
                </a:ext>
              </a:extLst>
            </p:cNvPr>
            <p:cNvSpPr/>
            <p:nvPr/>
          </p:nvSpPr>
          <p:spPr>
            <a:xfrm>
              <a:off x="7033408" y="3334554"/>
              <a:ext cx="32397" cy="14637"/>
            </a:xfrm>
            <a:custGeom>
              <a:avLst/>
              <a:gdLst>
                <a:gd name="connsiteX0" fmla="*/ 16132 w 32397"/>
                <a:gd name="connsiteY0" fmla="*/ 0 h 14637"/>
                <a:gd name="connsiteX1" fmla="*/ 0 w 32397"/>
                <a:gd name="connsiteY1" fmla="*/ 14637 h 14637"/>
                <a:gd name="connsiteX2" fmla="*/ 32398 w 32397"/>
                <a:gd name="connsiteY2" fmla="*/ 14637 h 14637"/>
                <a:gd name="connsiteX3" fmla="*/ 16132 w 32397"/>
                <a:gd name="connsiteY3" fmla="*/ 0 h 14637"/>
              </a:gdLst>
              <a:ahLst/>
              <a:cxnLst>
                <a:cxn ang="0">
                  <a:pos x="connsiteX0" y="connsiteY0"/>
                </a:cxn>
                <a:cxn ang="0">
                  <a:pos x="connsiteX1" y="connsiteY1"/>
                </a:cxn>
                <a:cxn ang="0">
                  <a:pos x="connsiteX2" y="connsiteY2"/>
                </a:cxn>
                <a:cxn ang="0">
                  <a:pos x="connsiteX3" y="connsiteY3"/>
                </a:cxn>
              </a:cxnLst>
              <a:rect l="l" t="t" r="r" b="b"/>
              <a:pathLst>
                <a:path w="32397" h="14637">
                  <a:moveTo>
                    <a:pt x="16132" y="0"/>
                  </a:moveTo>
                  <a:cubicBezTo>
                    <a:pt x="6232" y="0"/>
                    <a:pt x="540" y="7588"/>
                    <a:pt x="0" y="14637"/>
                  </a:cubicBezTo>
                  <a:lnTo>
                    <a:pt x="32398" y="14637"/>
                  </a:lnTo>
                  <a:cubicBezTo>
                    <a:pt x="32126" y="6905"/>
                    <a:pt x="26973" y="0"/>
                    <a:pt x="16132" y="0"/>
                  </a:cubicBezTo>
                  <a:close/>
                </a:path>
              </a:pathLst>
            </a:custGeom>
            <a:solidFill>
              <a:srgbClr val="000000"/>
            </a:solidFill>
            <a:ln w="493" cap="flat">
              <a:noFill/>
              <a:prstDash val="solid"/>
              <a:miter/>
            </a:ln>
          </p:spPr>
          <p:txBody>
            <a:bodyPr rtlCol="0" anchor="ctr"/>
            <a:lstStyle/>
            <a:p>
              <a:endParaRPr lang="en-US"/>
            </a:p>
          </p:txBody>
        </p:sp>
        <p:sp>
          <p:nvSpPr>
            <p:cNvPr id="205" name="Freeform: Shape 7">
              <a:extLst>
                <a:ext uri="{FF2B5EF4-FFF2-40B4-BE49-F238E27FC236}">
                  <a16:creationId xmlns:a16="http://schemas.microsoft.com/office/drawing/2014/main" id="{7FEE7FE5-43BF-46B3-A5DA-416AD341F71D}"/>
                </a:ext>
              </a:extLst>
            </p:cNvPr>
            <p:cNvSpPr/>
            <p:nvPr/>
          </p:nvSpPr>
          <p:spPr>
            <a:xfrm>
              <a:off x="7613909" y="3335638"/>
              <a:ext cx="35511" cy="41466"/>
            </a:xfrm>
            <a:custGeom>
              <a:avLst/>
              <a:gdLst>
                <a:gd name="connsiteX0" fmla="*/ 17761 w 35511"/>
                <a:gd name="connsiteY0" fmla="*/ 0 h 41466"/>
                <a:gd name="connsiteX1" fmla="*/ 0 w 35511"/>
                <a:gd name="connsiteY1" fmla="*/ 20602 h 41466"/>
                <a:gd name="connsiteX2" fmla="*/ 17761 w 35511"/>
                <a:gd name="connsiteY2" fmla="*/ 41466 h 41466"/>
                <a:gd name="connsiteX3" fmla="*/ 35511 w 35511"/>
                <a:gd name="connsiteY3" fmla="*/ 20602 h 41466"/>
                <a:gd name="connsiteX4" fmla="*/ 17761 w 35511"/>
                <a:gd name="connsiteY4" fmla="*/ 0 h 4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1" h="41466">
                  <a:moveTo>
                    <a:pt x="17761" y="0"/>
                  </a:moveTo>
                  <a:cubicBezTo>
                    <a:pt x="7732" y="0"/>
                    <a:pt x="0" y="7450"/>
                    <a:pt x="0" y="20602"/>
                  </a:cubicBezTo>
                  <a:cubicBezTo>
                    <a:pt x="0" y="33615"/>
                    <a:pt x="7732" y="41466"/>
                    <a:pt x="17761" y="41466"/>
                  </a:cubicBezTo>
                  <a:cubicBezTo>
                    <a:pt x="28062" y="41466"/>
                    <a:pt x="35511" y="33615"/>
                    <a:pt x="35511" y="20602"/>
                  </a:cubicBezTo>
                  <a:cubicBezTo>
                    <a:pt x="35511" y="7450"/>
                    <a:pt x="28190" y="0"/>
                    <a:pt x="17761" y="0"/>
                  </a:cubicBezTo>
                  <a:close/>
                </a:path>
              </a:pathLst>
            </a:custGeom>
            <a:solidFill>
              <a:srgbClr val="000000"/>
            </a:solidFill>
            <a:ln w="493" cap="flat">
              <a:noFill/>
              <a:prstDash val="solid"/>
              <a:miter/>
            </a:ln>
          </p:spPr>
          <p:txBody>
            <a:bodyPr rtlCol="0" anchor="ctr"/>
            <a:lstStyle/>
            <a:p>
              <a:endParaRPr lang="en-US"/>
            </a:p>
          </p:txBody>
        </p:sp>
        <p:sp>
          <p:nvSpPr>
            <p:cNvPr id="206" name="Freeform: Shape 8">
              <a:extLst>
                <a:ext uri="{FF2B5EF4-FFF2-40B4-BE49-F238E27FC236}">
                  <a16:creationId xmlns:a16="http://schemas.microsoft.com/office/drawing/2014/main" id="{B703EC6C-63E8-4C7F-8F5D-8F2FEB3CE8AC}"/>
                </a:ext>
              </a:extLst>
            </p:cNvPr>
            <p:cNvSpPr/>
            <p:nvPr/>
          </p:nvSpPr>
          <p:spPr>
            <a:xfrm>
              <a:off x="7375607" y="3334554"/>
              <a:ext cx="32392" cy="14637"/>
            </a:xfrm>
            <a:custGeom>
              <a:avLst/>
              <a:gdLst>
                <a:gd name="connsiteX0" fmla="*/ 16132 w 32392"/>
                <a:gd name="connsiteY0" fmla="*/ 0 h 14637"/>
                <a:gd name="connsiteX1" fmla="*/ 0 w 32392"/>
                <a:gd name="connsiteY1" fmla="*/ 14637 h 14637"/>
                <a:gd name="connsiteX2" fmla="*/ 32393 w 32392"/>
                <a:gd name="connsiteY2" fmla="*/ 14637 h 14637"/>
                <a:gd name="connsiteX3" fmla="*/ 16132 w 32392"/>
                <a:gd name="connsiteY3" fmla="*/ 0 h 14637"/>
              </a:gdLst>
              <a:ahLst/>
              <a:cxnLst>
                <a:cxn ang="0">
                  <a:pos x="connsiteX0" y="connsiteY0"/>
                </a:cxn>
                <a:cxn ang="0">
                  <a:pos x="connsiteX1" y="connsiteY1"/>
                </a:cxn>
                <a:cxn ang="0">
                  <a:pos x="connsiteX2" y="connsiteY2"/>
                </a:cxn>
                <a:cxn ang="0">
                  <a:pos x="connsiteX3" y="connsiteY3"/>
                </a:cxn>
              </a:cxnLst>
              <a:rect l="l" t="t" r="r" b="b"/>
              <a:pathLst>
                <a:path w="32392" h="14637">
                  <a:moveTo>
                    <a:pt x="16132" y="0"/>
                  </a:moveTo>
                  <a:cubicBezTo>
                    <a:pt x="6237" y="0"/>
                    <a:pt x="544" y="7588"/>
                    <a:pt x="0" y="14637"/>
                  </a:cubicBezTo>
                  <a:lnTo>
                    <a:pt x="32393" y="14637"/>
                  </a:lnTo>
                  <a:cubicBezTo>
                    <a:pt x="32130" y="6905"/>
                    <a:pt x="26978" y="0"/>
                    <a:pt x="16132" y="0"/>
                  </a:cubicBezTo>
                  <a:close/>
                </a:path>
              </a:pathLst>
            </a:custGeom>
            <a:solidFill>
              <a:srgbClr val="000000"/>
            </a:solidFill>
            <a:ln w="493" cap="flat">
              <a:noFill/>
              <a:prstDash val="solid"/>
              <a:miter/>
            </a:ln>
          </p:spPr>
          <p:txBody>
            <a:bodyPr rtlCol="0" anchor="ctr"/>
            <a:lstStyle/>
            <a:p>
              <a:endParaRPr lang="en-US"/>
            </a:p>
          </p:txBody>
        </p:sp>
        <p:sp>
          <p:nvSpPr>
            <p:cNvPr id="207" name="Freeform: Shape 9">
              <a:extLst>
                <a:ext uri="{FF2B5EF4-FFF2-40B4-BE49-F238E27FC236}">
                  <a16:creationId xmlns:a16="http://schemas.microsoft.com/office/drawing/2014/main" id="{F52B35E7-B818-44D4-857E-3B2C4B4125A9}"/>
                </a:ext>
              </a:extLst>
            </p:cNvPr>
            <p:cNvSpPr/>
            <p:nvPr/>
          </p:nvSpPr>
          <p:spPr>
            <a:xfrm>
              <a:off x="7300287" y="3307706"/>
              <a:ext cx="34026" cy="29417"/>
            </a:xfrm>
            <a:custGeom>
              <a:avLst/>
              <a:gdLst>
                <a:gd name="connsiteX0" fmla="*/ 17488 w 34026"/>
                <a:gd name="connsiteY0" fmla="*/ 0 h 29417"/>
                <a:gd name="connsiteX1" fmla="*/ 0 w 34026"/>
                <a:gd name="connsiteY1" fmla="*/ 0 h 29417"/>
                <a:gd name="connsiteX2" fmla="*/ 0 w 34026"/>
                <a:gd name="connsiteY2" fmla="*/ 29418 h 29417"/>
                <a:gd name="connsiteX3" fmla="*/ 17488 w 34026"/>
                <a:gd name="connsiteY3" fmla="*/ 29418 h 29417"/>
                <a:gd name="connsiteX4" fmla="*/ 34026 w 34026"/>
                <a:gd name="connsiteY4" fmla="*/ 14781 h 29417"/>
                <a:gd name="connsiteX5" fmla="*/ 17488 w 34026"/>
                <a:gd name="connsiteY5" fmla="*/ 0 h 2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6" h="29417">
                  <a:moveTo>
                    <a:pt x="17488" y="0"/>
                  </a:moveTo>
                  <a:lnTo>
                    <a:pt x="0" y="0"/>
                  </a:lnTo>
                  <a:lnTo>
                    <a:pt x="0" y="29418"/>
                  </a:lnTo>
                  <a:lnTo>
                    <a:pt x="17488" y="29418"/>
                  </a:lnTo>
                  <a:cubicBezTo>
                    <a:pt x="27517" y="29418"/>
                    <a:pt x="34026" y="23592"/>
                    <a:pt x="34026" y="14781"/>
                  </a:cubicBezTo>
                  <a:cubicBezTo>
                    <a:pt x="34026" y="5831"/>
                    <a:pt x="27517" y="0"/>
                    <a:pt x="17488" y="0"/>
                  </a:cubicBezTo>
                  <a:close/>
                </a:path>
              </a:pathLst>
            </a:custGeom>
            <a:solidFill>
              <a:srgbClr val="000000"/>
            </a:solidFill>
            <a:ln w="493" cap="flat">
              <a:noFill/>
              <a:prstDash val="solid"/>
              <a:miter/>
            </a:ln>
          </p:spPr>
          <p:txBody>
            <a:bodyPr rtlCol="0" anchor="ctr"/>
            <a:lstStyle/>
            <a:p>
              <a:endParaRPr lang="en-US"/>
            </a:p>
          </p:txBody>
        </p:sp>
        <p:sp>
          <p:nvSpPr>
            <p:cNvPr id="208" name="Freeform: Shape 10">
              <a:extLst>
                <a:ext uri="{FF2B5EF4-FFF2-40B4-BE49-F238E27FC236}">
                  <a16:creationId xmlns:a16="http://schemas.microsoft.com/office/drawing/2014/main" id="{FE62C7EF-7AFF-477D-8CB9-EA68236D232C}"/>
                </a:ext>
              </a:extLst>
            </p:cNvPr>
            <p:cNvSpPr/>
            <p:nvPr/>
          </p:nvSpPr>
          <p:spPr>
            <a:xfrm>
              <a:off x="7454594" y="3335896"/>
              <a:ext cx="35511" cy="41208"/>
            </a:xfrm>
            <a:custGeom>
              <a:avLst/>
              <a:gdLst>
                <a:gd name="connsiteX0" fmla="*/ 17761 w 35511"/>
                <a:gd name="connsiteY0" fmla="*/ 0 h 41208"/>
                <a:gd name="connsiteX1" fmla="*/ 0 w 35511"/>
                <a:gd name="connsiteY1" fmla="*/ 20473 h 41208"/>
                <a:gd name="connsiteX2" fmla="*/ 17761 w 35511"/>
                <a:gd name="connsiteY2" fmla="*/ 41209 h 41208"/>
                <a:gd name="connsiteX3" fmla="*/ 35511 w 35511"/>
                <a:gd name="connsiteY3" fmla="*/ 20473 h 41208"/>
                <a:gd name="connsiteX4" fmla="*/ 17761 w 35511"/>
                <a:gd name="connsiteY4" fmla="*/ 0 h 41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1" h="41208">
                  <a:moveTo>
                    <a:pt x="17761" y="0"/>
                  </a:moveTo>
                  <a:cubicBezTo>
                    <a:pt x="7460" y="0"/>
                    <a:pt x="0" y="8133"/>
                    <a:pt x="0" y="20473"/>
                  </a:cubicBezTo>
                  <a:cubicBezTo>
                    <a:pt x="0" y="33076"/>
                    <a:pt x="7460" y="41209"/>
                    <a:pt x="17761" y="41209"/>
                  </a:cubicBezTo>
                  <a:cubicBezTo>
                    <a:pt x="28195" y="41209"/>
                    <a:pt x="35511" y="33076"/>
                    <a:pt x="35511" y="20473"/>
                  </a:cubicBezTo>
                  <a:cubicBezTo>
                    <a:pt x="35511" y="8133"/>
                    <a:pt x="28329" y="0"/>
                    <a:pt x="17761" y="0"/>
                  </a:cubicBezTo>
                  <a:close/>
                </a:path>
              </a:pathLst>
            </a:custGeom>
            <a:solidFill>
              <a:srgbClr val="000000"/>
            </a:solidFill>
            <a:ln w="493" cap="flat">
              <a:noFill/>
              <a:prstDash val="solid"/>
              <a:miter/>
            </a:ln>
          </p:spPr>
          <p:txBody>
            <a:bodyPr rtlCol="0" anchor="ctr"/>
            <a:lstStyle/>
            <a:p>
              <a:endParaRPr lang="en-US"/>
            </a:p>
          </p:txBody>
        </p:sp>
        <p:sp>
          <p:nvSpPr>
            <p:cNvPr id="209" name="Freeform: Shape 11">
              <a:extLst>
                <a:ext uri="{FF2B5EF4-FFF2-40B4-BE49-F238E27FC236}">
                  <a16:creationId xmlns:a16="http://schemas.microsoft.com/office/drawing/2014/main" id="{B02473C2-DF20-44A3-A235-8A02C25329D8}"/>
                </a:ext>
              </a:extLst>
            </p:cNvPr>
            <p:cNvSpPr/>
            <p:nvPr/>
          </p:nvSpPr>
          <p:spPr>
            <a:xfrm>
              <a:off x="6761312" y="3245633"/>
              <a:ext cx="1137985" cy="198000"/>
            </a:xfrm>
            <a:custGeom>
              <a:avLst/>
              <a:gdLst>
                <a:gd name="connsiteX0" fmla="*/ 1038990 w 1137985"/>
                <a:gd name="connsiteY0" fmla="*/ 0 h 198000"/>
                <a:gd name="connsiteX1" fmla="*/ 99000 w 1137985"/>
                <a:gd name="connsiteY1" fmla="*/ 0 h 198000"/>
                <a:gd name="connsiteX2" fmla="*/ 0 w 1137985"/>
                <a:gd name="connsiteY2" fmla="*/ 99000 h 198000"/>
                <a:gd name="connsiteX3" fmla="*/ 99000 w 1137985"/>
                <a:gd name="connsiteY3" fmla="*/ 198000 h 198000"/>
                <a:gd name="connsiteX4" fmla="*/ 1038985 w 1137985"/>
                <a:gd name="connsiteY4" fmla="*/ 198000 h 198000"/>
                <a:gd name="connsiteX5" fmla="*/ 1137985 w 1137985"/>
                <a:gd name="connsiteY5" fmla="*/ 99000 h 198000"/>
                <a:gd name="connsiteX6" fmla="*/ 1038990 w 1137985"/>
                <a:gd name="connsiteY6" fmla="*/ 0 h 198000"/>
                <a:gd name="connsiteX7" fmla="*/ 137858 w 1137985"/>
                <a:gd name="connsiteY7" fmla="*/ 145847 h 198000"/>
                <a:gd name="connsiteX8" fmla="*/ 89333 w 1137985"/>
                <a:gd name="connsiteY8" fmla="*/ 95827 h 198000"/>
                <a:gd name="connsiteX9" fmla="*/ 137729 w 1137985"/>
                <a:gd name="connsiteY9" fmla="*/ 45674 h 198000"/>
                <a:gd name="connsiteX10" fmla="*/ 180962 w 1137985"/>
                <a:gd name="connsiteY10" fmla="*/ 76849 h 198000"/>
                <a:gd name="connsiteX11" fmla="*/ 165652 w 1137985"/>
                <a:gd name="connsiteY11" fmla="*/ 82002 h 198000"/>
                <a:gd name="connsiteX12" fmla="*/ 137729 w 1137985"/>
                <a:gd name="connsiteY12" fmla="*/ 60989 h 198000"/>
                <a:gd name="connsiteX13" fmla="*/ 106009 w 1137985"/>
                <a:gd name="connsiteY13" fmla="*/ 95827 h 198000"/>
                <a:gd name="connsiteX14" fmla="*/ 137858 w 1137985"/>
                <a:gd name="connsiteY14" fmla="*/ 130254 h 198000"/>
                <a:gd name="connsiteX15" fmla="*/ 166464 w 1137985"/>
                <a:gd name="connsiteY15" fmla="*/ 109108 h 198000"/>
                <a:gd name="connsiteX16" fmla="*/ 181373 w 1137985"/>
                <a:gd name="connsiteY16" fmla="*/ 113989 h 198000"/>
                <a:gd name="connsiteX17" fmla="*/ 137858 w 1137985"/>
                <a:gd name="connsiteY17" fmla="*/ 145847 h 198000"/>
                <a:gd name="connsiteX18" fmla="*/ 245154 w 1137985"/>
                <a:gd name="connsiteY18" fmla="*/ 143812 h 198000"/>
                <a:gd name="connsiteX19" fmla="*/ 191209 w 1137985"/>
                <a:gd name="connsiteY19" fmla="*/ 143812 h 198000"/>
                <a:gd name="connsiteX20" fmla="*/ 191209 w 1137985"/>
                <a:gd name="connsiteY20" fmla="*/ 130126 h 198000"/>
                <a:gd name="connsiteX21" fmla="*/ 224690 w 1137985"/>
                <a:gd name="connsiteY21" fmla="*/ 91629 h 198000"/>
                <a:gd name="connsiteX22" fmla="*/ 191887 w 1137985"/>
                <a:gd name="connsiteY22" fmla="*/ 91629 h 198000"/>
                <a:gd name="connsiteX23" fmla="*/ 191887 w 1137985"/>
                <a:gd name="connsiteY23" fmla="*/ 77794 h 198000"/>
                <a:gd name="connsiteX24" fmla="*/ 244481 w 1137985"/>
                <a:gd name="connsiteY24" fmla="*/ 77794 h 198000"/>
                <a:gd name="connsiteX25" fmla="*/ 244481 w 1137985"/>
                <a:gd name="connsiteY25" fmla="*/ 91085 h 198000"/>
                <a:gd name="connsiteX26" fmla="*/ 210593 w 1137985"/>
                <a:gd name="connsiteY26" fmla="*/ 129982 h 198000"/>
                <a:gd name="connsiteX27" fmla="*/ 245159 w 1137985"/>
                <a:gd name="connsiteY27" fmla="*/ 129982 h 198000"/>
                <a:gd name="connsiteX28" fmla="*/ 245159 w 1137985"/>
                <a:gd name="connsiteY28" fmla="*/ 143812 h 198000"/>
                <a:gd name="connsiteX29" fmla="*/ 319943 w 1137985"/>
                <a:gd name="connsiteY29" fmla="*/ 115073 h 198000"/>
                <a:gd name="connsiteX30" fmla="*/ 271691 w 1137985"/>
                <a:gd name="connsiteY30" fmla="*/ 115073 h 198000"/>
                <a:gd name="connsiteX31" fmla="*/ 289714 w 1137985"/>
                <a:gd name="connsiteY31" fmla="*/ 132294 h 198000"/>
                <a:gd name="connsiteX32" fmla="*/ 306252 w 1137985"/>
                <a:gd name="connsiteY32" fmla="*/ 120770 h 198000"/>
                <a:gd name="connsiteX33" fmla="*/ 319537 w 1137985"/>
                <a:gd name="connsiteY33" fmla="*/ 124968 h 198000"/>
                <a:gd name="connsiteX34" fmla="*/ 289719 w 1137985"/>
                <a:gd name="connsiteY34" fmla="*/ 145852 h 198000"/>
                <a:gd name="connsiteX35" fmla="*/ 255974 w 1137985"/>
                <a:gd name="connsiteY35" fmla="*/ 110469 h 198000"/>
                <a:gd name="connsiteX36" fmla="*/ 288095 w 1137985"/>
                <a:gd name="connsiteY36" fmla="*/ 75770 h 198000"/>
                <a:gd name="connsiteX37" fmla="*/ 320354 w 1137985"/>
                <a:gd name="connsiteY37" fmla="*/ 110068 h 198000"/>
                <a:gd name="connsiteX38" fmla="*/ 319943 w 1137985"/>
                <a:gd name="connsiteY38" fmla="*/ 115073 h 198000"/>
                <a:gd name="connsiteX39" fmla="*/ 365582 w 1137985"/>
                <a:gd name="connsiteY39" fmla="*/ 145847 h 198000"/>
                <a:gd name="connsiteX40" fmla="*/ 331427 w 1137985"/>
                <a:gd name="connsiteY40" fmla="*/ 110736 h 198000"/>
                <a:gd name="connsiteX41" fmla="*/ 365176 w 1137985"/>
                <a:gd name="connsiteY41" fmla="*/ 75765 h 198000"/>
                <a:gd name="connsiteX42" fmla="*/ 395401 w 1137985"/>
                <a:gd name="connsiteY42" fmla="*/ 97451 h 198000"/>
                <a:gd name="connsiteX43" fmla="*/ 381303 w 1137985"/>
                <a:gd name="connsiteY43" fmla="*/ 102604 h 198000"/>
                <a:gd name="connsiteX44" fmla="*/ 365310 w 1137985"/>
                <a:gd name="connsiteY44" fmla="*/ 90263 h 198000"/>
                <a:gd name="connsiteX45" fmla="*/ 347148 w 1137985"/>
                <a:gd name="connsiteY45" fmla="*/ 110736 h 198000"/>
                <a:gd name="connsiteX46" fmla="*/ 365582 w 1137985"/>
                <a:gd name="connsiteY46" fmla="*/ 131472 h 198000"/>
                <a:gd name="connsiteX47" fmla="*/ 382120 w 1137985"/>
                <a:gd name="connsiteY47" fmla="*/ 119280 h 198000"/>
                <a:gd name="connsiteX48" fmla="*/ 395946 w 1137985"/>
                <a:gd name="connsiteY48" fmla="*/ 124290 h 198000"/>
                <a:gd name="connsiteX49" fmla="*/ 365582 w 1137985"/>
                <a:gd name="connsiteY49" fmla="*/ 145847 h 198000"/>
                <a:gd name="connsiteX50" fmla="*/ 468686 w 1137985"/>
                <a:gd name="connsiteY50" fmla="*/ 143812 h 198000"/>
                <a:gd name="connsiteX51" fmla="*/ 452965 w 1137985"/>
                <a:gd name="connsiteY51" fmla="*/ 143812 h 198000"/>
                <a:gd name="connsiteX52" fmla="*/ 452965 w 1137985"/>
                <a:gd name="connsiteY52" fmla="*/ 104777 h 198000"/>
                <a:gd name="connsiteX53" fmla="*/ 439412 w 1137985"/>
                <a:gd name="connsiteY53" fmla="*/ 90140 h 198000"/>
                <a:gd name="connsiteX54" fmla="*/ 425725 w 1137985"/>
                <a:gd name="connsiteY54" fmla="*/ 105049 h 198000"/>
                <a:gd name="connsiteX55" fmla="*/ 425725 w 1137985"/>
                <a:gd name="connsiteY55" fmla="*/ 143812 h 198000"/>
                <a:gd name="connsiteX56" fmla="*/ 410004 w 1137985"/>
                <a:gd name="connsiteY56" fmla="*/ 143812 h 198000"/>
                <a:gd name="connsiteX57" fmla="*/ 410004 w 1137985"/>
                <a:gd name="connsiteY57" fmla="*/ 45679 h 198000"/>
                <a:gd name="connsiteX58" fmla="*/ 425725 w 1137985"/>
                <a:gd name="connsiteY58" fmla="*/ 45679 h 198000"/>
                <a:gd name="connsiteX59" fmla="*/ 425725 w 1137985"/>
                <a:gd name="connsiteY59" fmla="*/ 84175 h 198000"/>
                <a:gd name="connsiteX60" fmla="*/ 444560 w 1137985"/>
                <a:gd name="connsiteY60" fmla="*/ 75913 h 198000"/>
                <a:gd name="connsiteX61" fmla="*/ 468686 w 1137985"/>
                <a:gd name="connsiteY61" fmla="*/ 102069 h 198000"/>
                <a:gd name="connsiteX62" fmla="*/ 468686 w 1137985"/>
                <a:gd name="connsiteY62" fmla="*/ 143812 h 198000"/>
                <a:gd name="connsiteX63" fmla="*/ 589535 w 1137985"/>
                <a:gd name="connsiteY63" fmla="*/ 143812 h 198000"/>
                <a:gd name="connsiteX64" fmla="*/ 571101 w 1137985"/>
                <a:gd name="connsiteY64" fmla="*/ 143812 h 198000"/>
                <a:gd name="connsiteX65" fmla="*/ 550900 w 1137985"/>
                <a:gd name="connsiteY65" fmla="*/ 105861 h 198000"/>
                <a:gd name="connsiteX66" fmla="*/ 538971 w 1137985"/>
                <a:gd name="connsiteY66" fmla="*/ 105861 h 198000"/>
                <a:gd name="connsiteX67" fmla="*/ 538971 w 1137985"/>
                <a:gd name="connsiteY67" fmla="*/ 143812 h 198000"/>
                <a:gd name="connsiteX68" fmla="*/ 522576 w 1137985"/>
                <a:gd name="connsiteY68" fmla="*/ 143812 h 198000"/>
                <a:gd name="connsiteX69" fmla="*/ 522576 w 1137985"/>
                <a:gd name="connsiteY69" fmla="*/ 47713 h 198000"/>
                <a:gd name="connsiteX70" fmla="*/ 559444 w 1137985"/>
                <a:gd name="connsiteY70" fmla="*/ 47713 h 198000"/>
                <a:gd name="connsiteX71" fmla="*/ 589535 w 1137985"/>
                <a:gd name="connsiteY71" fmla="*/ 76849 h 198000"/>
                <a:gd name="connsiteX72" fmla="*/ 567849 w 1137985"/>
                <a:gd name="connsiteY72" fmla="*/ 104227 h 198000"/>
                <a:gd name="connsiteX73" fmla="*/ 589535 w 1137985"/>
                <a:gd name="connsiteY73" fmla="*/ 143812 h 198000"/>
                <a:gd name="connsiteX74" fmla="*/ 662147 w 1137985"/>
                <a:gd name="connsiteY74" fmla="*/ 115073 h 198000"/>
                <a:gd name="connsiteX75" fmla="*/ 613894 w 1137985"/>
                <a:gd name="connsiteY75" fmla="*/ 115073 h 198000"/>
                <a:gd name="connsiteX76" fmla="*/ 631922 w 1137985"/>
                <a:gd name="connsiteY76" fmla="*/ 132294 h 198000"/>
                <a:gd name="connsiteX77" fmla="*/ 648460 w 1137985"/>
                <a:gd name="connsiteY77" fmla="*/ 120770 h 198000"/>
                <a:gd name="connsiteX78" fmla="*/ 661746 w 1137985"/>
                <a:gd name="connsiteY78" fmla="*/ 124968 h 198000"/>
                <a:gd name="connsiteX79" fmla="*/ 631927 w 1137985"/>
                <a:gd name="connsiteY79" fmla="*/ 145852 h 198000"/>
                <a:gd name="connsiteX80" fmla="*/ 598178 w 1137985"/>
                <a:gd name="connsiteY80" fmla="*/ 110469 h 198000"/>
                <a:gd name="connsiteX81" fmla="*/ 630303 w 1137985"/>
                <a:gd name="connsiteY81" fmla="*/ 75770 h 198000"/>
                <a:gd name="connsiteX82" fmla="*/ 662562 w 1137985"/>
                <a:gd name="connsiteY82" fmla="*/ 110068 h 198000"/>
                <a:gd name="connsiteX83" fmla="*/ 662147 w 1137985"/>
                <a:gd name="connsiteY83" fmla="*/ 115073 h 198000"/>
                <a:gd name="connsiteX84" fmla="*/ 713483 w 1137985"/>
                <a:gd name="connsiteY84" fmla="*/ 145436 h 198000"/>
                <a:gd name="connsiteX85" fmla="*/ 693421 w 1137985"/>
                <a:gd name="connsiteY85" fmla="*/ 136348 h 198000"/>
                <a:gd name="connsiteX86" fmla="*/ 693421 w 1137985"/>
                <a:gd name="connsiteY86" fmla="*/ 169562 h 198000"/>
                <a:gd name="connsiteX87" fmla="*/ 677828 w 1137985"/>
                <a:gd name="connsiteY87" fmla="*/ 169562 h 198000"/>
                <a:gd name="connsiteX88" fmla="*/ 677828 w 1137985"/>
                <a:gd name="connsiteY88" fmla="*/ 77794 h 198000"/>
                <a:gd name="connsiteX89" fmla="*/ 693010 w 1137985"/>
                <a:gd name="connsiteY89" fmla="*/ 77794 h 198000"/>
                <a:gd name="connsiteX90" fmla="*/ 693010 w 1137985"/>
                <a:gd name="connsiteY90" fmla="*/ 86749 h 198000"/>
                <a:gd name="connsiteX91" fmla="*/ 714023 w 1137985"/>
                <a:gd name="connsiteY91" fmla="*/ 76309 h 198000"/>
                <a:gd name="connsiteX92" fmla="*/ 744515 w 1137985"/>
                <a:gd name="connsiteY92" fmla="*/ 110736 h 198000"/>
                <a:gd name="connsiteX93" fmla="*/ 713483 w 1137985"/>
                <a:gd name="connsiteY93" fmla="*/ 145436 h 198000"/>
                <a:gd name="connsiteX94" fmla="*/ 803435 w 1137985"/>
                <a:gd name="connsiteY94" fmla="*/ 143812 h 198000"/>
                <a:gd name="connsiteX95" fmla="*/ 802890 w 1137985"/>
                <a:gd name="connsiteY95" fmla="*/ 136491 h 198000"/>
                <a:gd name="connsiteX96" fmla="*/ 784184 w 1137985"/>
                <a:gd name="connsiteY96" fmla="*/ 145708 h 198000"/>
                <a:gd name="connsiteX97" fmla="*/ 759246 w 1137985"/>
                <a:gd name="connsiteY97" fmla="*/ 119414 h 198000"/>
                <a:gd name="connsiteX98" fmla="*/ 759246 w 1137985"/>
                <a:gd name="connsiteY98" fmla="*/ 77799 h 198000"/>
                <a:gd name="connsiteX99" fmla="*/ 774967 w 1137985"/>
                <a:gd name="connsiteY99" fmla="*/ 77799 h 198000"/>
                <a:gd name="connsiteX100" fmla="*/ 774967 w 1137985"/>
                <a:gd name="connsiteY100" fmla="*/ 116573 h 198000"/>
                <a:gd name="connsiteX101" fmla="*/ 788248 w 1137985"/>
                <a:gd name="connsiteY101" fmla="*/ 131616 h 198000"/>
                <a:gd name="connsiteX102" fmla="*/ 802073 w 1137985"/>
                <a:gd name="connsiteY102" fmla="*/ 116835 h 198000"/>
                <a:gd name="connsiteX103" fmla="*/ 802073 w 1137985"/>
                <a:gd name="connsiteY103" fmla="*/ 77799 h 198000"/>
                <a:gd name="connsiteX104" fmla="*/ 817794 w 1137985"/>
                <a:gd name="connsiteY104" fmla="*/ 77799 h 198000"/>
                <a:gd name="connsiteX105" fmla="*/ 817794 w 1137985"/>
                <a:gd name="connsiteY105" fmla="*/ 131754 h 198000"/>
                <a:gd name="connsiteX106" fmla="*/ 818473 w 1137985"/>
                <a:gd name="connsiteY106" fmla="*/ 143812 h 198000"/>
                <a:gd name="connsiteX107" fmla="*/ 803435 w 1137985"/>
                <a:gd name="connsiteY107" fmla="*/ 143812 h 198000"/>
                <a:gd name="connsiteX108" fmla="*/ 872928 w 1137985"/>
                <a:gd name="connsiteY108" fmla="*/ 145436 h 198000"/>
                <a:gd name="connsiteX109" fmla="*/ 852598 w 1137985"/>
                <a:gd name="connsiteY109" fmla="*/ 135001 h 198000"/>
                <a:gd name="connsiteX110" fmla="*/ 852598 w 1137985"/>
                <a:gd name="connsiteY110" fmla="*/ 143807 h 198000"/>
                <a:gd name="connsiteX111" fmla="*/ 837288 w 1137985"/>
                <a:gd name="connsiteY111" fmla="*/ 143807 h 198000"/>
                <a:gd name="connsiteX112" fmla="*/ 837288 w 1137985"/>
                <a:gd name="connsiteY112" fmla="*/ 45679 h 198000"/>
                <a:gd name="connsiteX113" fmla="*/ 852741 w 1137985"/>
                <a:gd name="connsiteY113" fmla="*/ 45679 h 198000"/>
                <a:gd name="connsiteX114" fmla="*/ 852741 w 1137985"/>
                <a:gd name="connsiteY114" fmla="*/ 85932 h 198000"/>
                <a:gd name="connsiteX115" fmla="*/ 873477 w 1137985"/>
                <a:gd name="connsiteY115" fmla="*/ 76042 h 198000"/>
                <a:gd name="connsiteX116" fmla="*/ 903979 w 1137985"/>
                <a:gd name="connsiteY116" fmla="*/ 110469 h 198000"/>
                <a:gd name="connsiteX117" fmla="*/ 872928 w 1137985"/>
                <a:gd name="connsiteY117" fmla="*/ 145436 h 198000"/>
                <a:gd name="connsiteX118" fmla="*/ 935100 w 1137985"/>
                <a:gd name="connsiteY118" fmla="*/ 143812 h 198000"/>
                <a:gd name="connsiteX119" fmla="*/ 919378 w 1137985"/>
                <a:gd name="connsiteY119" fmla="*/ 143812 h 198000"/>
                <a:gd name="connsiteX120" fmla="*/ 919378 w 1137985"/>
                <a:gd name="connsiteY120" fmla="*/ 45679 h 198000"/>
                <a:gd name="connsiteX121" fmla="*/ 935100 w 1137985"/>
                <a:gd name="connsiteY121" fmla="*/ 45679 h 198000"/>
                <a:gd name="connsiteX122" fmla="*/ 935100 w 1137985"/>
                <a:gd name="connsiteY122" fmla="*/ 143812 h 198000"/>
                <a:gd name="connsiteX123" fmla="*/ 970190 w 1137985"/>
                <a:gd name="connsiteY123" fmla="*/ 143812 h 198000"/>
                <a:gd name="connsiteX124" fmla="*/ 954603 w 1137985"/>
                <a:gd name="connsiteY124" fmla="*/ 143812 h 198000"/>
                <a:gd name="connsiteX125" fmla="*/ 954603 w 1137985"/>
                <a:gd name="connsiteY125" fmla="*/ 77794 h 198000"/>
                <a:gd name="connsiteX126" fmla="*/ 970190 w 1137985"/>
                <a:gd name="connsiteY126" fmla="*/ 77794 h 198000"/>
                <a:gd name="connsiteX127" fmla="*/ 970190 w 1137985"/>
                <a:gd name="connsiteY127" fmla="*/ 143812 h 198000"/>
                <a:gd name="connsiteX128" fmla="*/ 962325 w 1137985"/>
                <a:gd name="connsiteY128" fmla="*/ 64786 h 198000"/>
                <a:gd name="connsiteX129" fmla="*/ 952157 w 1137985"/>
                <a:gd name="connsiteY129" fmla="*/ 54623 h 198000"/>
                <a:gd name="connsiteX130" fmla="*/ 962325 w 1137985"/>
                <a:gd name="connsiteY130" fmla="*/ 44322 h 198000"/>
                <a:gd name="connsiteX131" fmla="*/ 972626 w 1137985"/>
                <a:gd name="connsiteY131" fmla="*/ 54623 h 198000"/>
                <a:gd name="connsiteX132" fmla="*/ 962325 w 1137985"/>
                <a:gd name="connsiteY132" fmla="*/ 64786 h 198000"/>
                <a:gd name="connsiteX133" fmla="*/ 1019641 w 1137985"/>
                <a:gd name="connsiteY133" fmla="*/ 145847 h 198000"/>
                <a:gd name="connsiteX134" fmla="*/ 985486 w 1137985"/>
                <a:gd name="connsiteY134" fmla="*/ 110736 h 198000"/>
                <a:gd name="connsiteX135" fmla="*/ 1019235 w 1137985"/>
                <a:gd name="connsiteY135" fmla="*/ 75765 h 198000"/>
                <a:gd name="connsiteX136" fmla="*/ 1049460 w 1137985"/>
                <a:gd name="connsiteY136" fmla="*/ 97451 h 198000"/>
                <a:gd name="connsiteX137" fmla="*/ 1035362 w 1137985"/>
                <a:gd name="connsiteY137" fmla="*/ 102604 h 198000"/>
                <a:gd name="connsiteX138" fmla="*/ 1019368 w 1137985"/>
                <a:gd name="connsiteY138" fmla="*/ 90263 h 198000"/>
                <a:gd name="connsiteX139" fmla="*/ 1001207 w 1137985"/>
                <a:gd name="connsiteY139" fmla="*/ 110736 h 198000"/>
                <a:gd name="connsiteX140" fmla="*/ 1019641 w 1137985"/>
                <a:gd name="connsiteY140" fmla="*/ 131472 h 198000"/>
                <a:gd name="connsiteX141" fmla="*/ 1036179 w 1137985"/>
                <a:gd name="connsiteY141" fmla="*/ 119280 h 198000"/>
                <a:gd name="connsiteX142" fmla="*/ 1050004 w 1137985"/>
                <a:gd name="connsiteY142" fmla="*/ 124290 h 198000"/>
                <a:gd name="connsiteX143" fmla="*/ 1019641 w 1137985"/>
                <a:gd name="connsiteY143" fmla="*/ 145847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137985" h="198000">
                  <a:moveTo>
                    <a:pt x="1038990" y="0"/>
                  </a:moveTo>
                  <a:lnTo>
                    <a:pt x="99000" y="0"/>
                  </a:lnTo>
                  <a:cubicBezTo>
                    <a:pt x="44322" y="0"/>
                    <a:pt x="0" y="44322"/>
                    <a:pt x="0" y="99000"/>
                  </a:cubicBezTo>
                  <a:cubicBezTo>
                    <a:pt x="0" y="153678"/>
                    <a:pt x="44322" y="198000"/>
                    <a:pt x="99000" y="198000"/>
                  </a:cubicBezTo>
                  <a:lnTo>
                    <a:pt x="1038985" y="198000"/>
                  </a:lnTo>
                  <a:cubicBezTo>
                    <a:pt x="1093663" y="198000"/>
                    <a:pt x="1137985" y="153678"/>
                    <a:pt x="1137985" y="99000"/>
                  </a:cubicBezTo>
                  <a:cubicBezTo>
                    <a:pt x="1137990" y="44322"/>
                    <a:pt x="1093663" y="0"/>
                    <a:pt x="1038990" y="0"/>
                  </a:cubicBezTo>
                  <a:close/>
                  <a:moveTo>
                    <a:pt x="137858" y="145847"/>
                  </a:moveTo>
                  <a:cubicBezTo>
                    <a:pt x="111974" y="145847"/>
                    <a:pt x="89333" y="127131"/>
                    <a:pt x="89333" y="95827"/>
                  </a:cubicBezTo>
                  <a:cubicBezTo>
                    <a:pt x="89333" y="64523"/>
                    <a:pt x="112786" y="45674"/>
                    <a:pt x="137729" y="45674"/>
                  </a:cubicBezTo>
                  <a:cubicBezTo>
                    <a:pt x="162127" y="45674"/>
                    <a:pt x="176626" y="60044"/>
                    <a:pt x="180962" y="76849"/>
                  </a:cubicBezTo>
                  <a:lnTo>
                    <a:pt x="165652" y="82002"/>
                  </a:lnTo>
                  <a:cubicBezTo>
                    <a:pt x="162801" y="70344"/>
                    <a:pt x="153856" y="60989"/>
                    <a:pt x="137729" y="60989"/>
                  </a:cubicBezTo>
                  <a:cubicBezTo>
                    <a:pt x="121864" y="60989"/>
                    <a:pt x="106009" y="72513"/>
                    <a:pt x="106009" y="95827"/>
                  </a:cubicBezTo>
                  <a:cubicBezTo>
                    <a:pt x="106009" y="118330"/>
                    <a:pt x="121463" y="130254"/>
                    <a:pt x="137858" y="130254"/>
                  </a:cubicBezTo>
                  <a:cubicBezTo>
                    <a:pt x="153990" y="130254"/>
                    <a:pt x="163211" y="119953"/>
                    <a:pt x="166464" y="109108"/>
                  </a:cubicBezTo>
                  <a:lnTo>
                    <a:pt x="181373" y="113989"/>
                  </a:lnTo>
                  <a:cubicBezTo>
                    <a:pt x="177032" y="130254"/>
                    <a:pt x="162395" y="145847"/>
                    <a:pt x="137858" y="145847"/>
                  </a:cubicBezTo>
                  <a:close/>
                  <a:moveTo>
                    <a:pt x="245154" y="143812"/>
                  </a:moveTo>
                  <a:lnTo>
                    <a:pt x="191209" y="143812"/>
                  </a:lnTo>
                  <a:lnTo>
                    <a:pt x="191209" y="130126"/>
                  </a:lnTo>
                  <a:lnTo>
                    <a:pt x="224690" y="91629"/>
                  </a:lnTo>
                  <a:lnTo>
                    <a:pt x="191887" y="91629"/>
                  </a:lnTo>
                  <a:lnTo>
                    <a:pt x="191887" y="77794"/>
                  </a:lnTo>
                  <a:lnTo>
                    <a:pt x="244481" y="77794"/>
                  </a:lnTo>
                  <a:lnTo>
                    <a:pt x="244481" y="91085"/>
                  </a:lnTo>
                  <a:lnTo>
                    <a:pt x="210593" y="129982"/>
                  </a:lnTo>
                  <a:lnTo>
                    <a:pt x="245159" y="129982"/>
                  </a:lnTo>
                  <a:lnTo>
                    <a:pt x="245159" y="143812"/>
                  </a:lnTo>
                  <a:close/>
                  <a:moveTo>
                    <a:pt x="319943" y="115073"/>
                  </a:moveTo>
                  <a:lnTo>
                    <a:pt x="271691" y="115073"/>
                  </a:lnTo>
                  <a:cubicBezTo>
                    <a:pt x="272092" y="125101"/>
                    <a:pt x="279952" y="132294"/>
                    <a:pt x="289714" y="132294"/>
                  </a:cubicBezTo>
                  <a:cubicBezTo>
                    <a:pt x="299203" y="132294"/>
                    <a:pt x="304083" y="127274"/>
                    <a:pt x="306252" y="120770"/>
                  </a:cubicBezTo>
                  <a:lnTo>
                    <a:pt x="319537" y="124968"/>
                  </a:lnTo>
                  <a:cubicBezTo>
                    <a:pt x="316013" y="136491"/>
                    <a:pt x="305583" y="145852"/>
                    <a:pt x="289719" y="145852"/>
                  </a:cubicBezTo>
                  <a:cubicBezTo>
                    <a:pt x="271824" y="145852"/>
                    <a:pt x="255974" y="132838"/>
                    <a:pt x="255974" y="110469"/>
                  </a:cubicBezTo>
                  <a:cubicBezTo>
                    <a:pt x="255974" y="89595"/>
                    <a:pt x="271428" y="75770"/>
                    <a:pt x="288095" y="75770"/>
                  </a:cubicBezTo>
                  <a:cubicBezTo>
                    <a:pt x="308425" y="75770"/>
                    <a:pt x="320354" y="89184"/>
                    <a:pt x="320354" y="110068"/>
                  </a:cubicBezTo>
                  <a:cubicBezTo>
                    <a:pt x="320344" y="112637"/>
                    <a:pt x="320077" y="114805"/>
                    <a:pt x="319943" y="115073"/>
                  </a:cubicBezTo>
                  <a:close/>
                  <a:moveTo>
                    <a:pt x="365582" y="145847"/>
                  </a:moveTo>
                  <a:cubicBezTo>
                    <a:pt x="346198" y="145847"/>
                    <a:pt x="331427" y="130799"/>
                    <a:pt x="331427" y="110736"/>
                  </a:cubicBezTo>
                  <a:cubicBezTo>
                    <a:pt x="331427" y="90407"/>
                    <a:pt x="346203" y="75765"/>
                    <a:pt x="365176" y="75765"/>
                  </a:cubicBezTo>
                  <a:cubicBezTo>
                    <a:pt x="382932" y="75765"/>
                    <a:pt x="392693" y="86877"/>
                    <a:pt x="395401" y="97451"/>
                  </a:cubicBezTo>
                  <a:lnTo>
                    <a:pt x="381303" y="102604"/>
                  </a:lnTo>
                  <a:cubicBezTo>
                    <a:pt x="379814" y="96773"/>
                    <a:pt x="375339" y="90263"/>
                    <a:pt x="365310" y="90263"/>
                  </a:cubicBezTo>
                  <a:cubicBezTo>
                    <a:pt x="355687" y="90263"/>
                    <a:pt x="347148" y="97451"/>
                    <a:pt x="347148" y="110736"/>
                  </a:cubicBezTo>
                  <a:cubicBezTo>
                    <a:pt x="347148" y="124022"/>
                    <a:pt x="355687" y="131472"/>
                    <a:pt x="365582" y="131472"/>
                  </a:cubicBezTo>
                  <a:cubicBezTo>
                    <a:pt x="375883" y="131472"/>
                    <a:pt x="380625" y="124295"/>
                    <a:pt x="382120" y="119280"/>
                  </a:cubicBezTo>
                  <a:lnTo>
                    <a:pt x="395946" y="124290"/>
                  </a:lnTo>
                  <a:cubicBezTo>
                    <a:pt x="392827" y="134595"/>
                    <a:pt x="382932" y="145847"/>
                    <a:pt x="365582" y="145847"/>
                  </a:cubicBezTo>
                  <a:close/>
                  <a:moveTo>
                    <a:pt x="468686" y="143812"/>
                  </a:moveTo>
                  <a:lnTo>
                    <a:pt x="452965" y="143812"/>
                  </a:lnTo>
                  <a:lnTo>
                    <a:pt x="452965" y="104777"/>
                  </a:lnTo>
                  <a:cubicBezTo>
                    <a:pt x="452965" y="96644"/>
                    <a:pt x="449312" y="90140"/>
                    <a:pt x="439412" y="90140"/>
                  </a:cubicBezTo>
                  <a:cubicBezTo>
                    <a:pt x="430739" y="90140"/>
                    <a:pt x="425997" y="96644"/>
                    <a:pt x="425725" y="105049"/>
                  </a:cubicBezTo>
                  <a:lnTo>
                    <a:pt x="425725" y="143812"/>
                  </a:lnTo>
                  <a:lnTo>
                    <a:pt x="410004" y="143812"/>
                  </a:lnTo>
                  <a:lnTo>
                    <a:pt x="410004" y="45679"/>
                  </a:lnTo>
                  <a:lnTo>
                    <a:pt x="425725" y="45679"/>
                  </a:lnTo>
                  <a:lnTo>
                    <a:pt x="425725" y="84175"/>
                  </a:lnTo>
                  <a:cubicBezTo>
                    <a:pt x="430195" y="78344"/>
                    <a:pt x="437654" y="75913"/>
                    <a:pt x="444560" y="75913"/>
                  </a:cubicBezTo>
                  <a:cubicBezTo>
                    <a:pt x="460825" y="75913"/>
                    <a:pt x="468686" y="87561"/>
                    <a:pt x="468686" y="102069"/>
                  </a:cubicBezTo>
                  <a:lnTo>
                    <a:pt x="468686" y="143812"/>
                  </a:lnTo>
                  <a:close/>
                  <a:moveTo>
                    <a:pt x="589535" y="143812"/>
                  </a:moveTo>
                  <a:lnTo>
                    <a:pt x="571101" y="143812"/>
                  </a:lnTo>
                  <a:lnTo>
                    <a:pt x="550900" y="105861"/>
                  </a:lnTo>
                  <a:lnTo>
                    <a:pt x="538971" y="105861"/>
                  </a:lnTo>
                  <a:lnTo>
                    <a:pt x="538971" y="143812"/>
                  </a:lnTo>
                  <a:lnTo>
                    <a:pt x="522576" y="143812"/>
                  </a:lnTo>
                  <a:lnTo>
                    <a:pt x="522576" y="47713"/>
                  </a:lnTo>
                  <a:lnTo>
                    <a:pt x="559444" y="47713"/>
                  </a:lnTo>
                  <a:cubicBezTo>
                    <a:pt x="578007" y="47713"/>
                    <a:pt x="589535" y="60583"/>
                    <a:pt x="589535" y="76849"/>
                  </a:cubicBezTo>
                  <a:cubicBezTo>
                    <a:pt x="589535" y="90545"/>
                    <a:pt x="581264" y="100975"/>
                    <a:pt x="567849" y="104227"/>
                  </a:cubicBezTo>
                  <a:lnTo>
                    <a:pt x="589535" y="143812"/>
                  </a:lnTo>
                  <a:close/>
                  <a:moveTo>
                    <a:pt x="662147" y="115073"/>
                  </a:moveTo>
                  <a:lnTo>
                    <a:pt x="613894" y="115073"/>
                  </a:lnTo>
                  <a:cubicBezTo>
                    <a:pt x="614300" y="125101"/>
                    <a:pt x="622161" y="132294"/>
                    <a:pt x="631922" y="132294"/>
                  </a:cubicBezTo>
                  <a:cubicBezTo>
                    <a:pt x="641411" y="132294"/>
                    <a:pt x="646292" y="127274"/>
                    <a:pt x="648460" y="120770"/>
                  </a:cubicBezTo>
                  <a:lnTo>
                    <a:pt x="661746" y="124968"/>
                  </a:lnTo>
                  <a:cubicBezTo>
                    <a:pt x="658221" y="136491"/>
                    <a:pt x="647787" y="145852"/>
                    <a:pt x="631927" y="145852"/>
                  </a:cubicBezTo>
                  <a:cubicBezTo>
                    <a:pt x="614033" y="145852"/>
                    <a:pt x="598178" y="132838"/>
                    <a:pt x="598178" y="110469"/>
                  </a:cubicBezTo>
                  <a:cubicBezTo>
                    <a:pt x="598178" y="89595"/>
                    <a:pt x="613632" y="75770"/>
                    <a:pt x="630303" y="75770"/>
                  </a:cubicBezTo>
                  <a:cubicBezTo>
                    <a:pt x="650633" y="75770"/>
                    <a:pt x="662562" y="89184"/>
                    <a:pt x="662562" y="110068"/>
                  </a:cubicBezTo>
                  <a:cubicBezTo>
                    <a:pt x="662553" y="112637"/>
                    <a:pt x="662280" y="114805"/>
                    <a:pt x="662147" y="115073"/>
                  </a:cubicBezTo>
                  <a:close/>
                  <a:moveTo>
                    <a:pt x="713483" y="145436"/>
                  </a:moveTo>
                  <a:cubicBezTo>
                    <a:pt x="703994" y="145436"/>
                    <a:pt x="696807" y="141372"/>
                    <a:pt x="693421" y="136348"/>
                  </a:cubicBezTo>
                  <a:lnTo>
                    <a:pt x="693421" y="169562"/>
                  </a:lnTo>
                  <a:lnTo>
                    <a:pt x="677828" y="169562"/>
                  </a:lnTo>
                  <a:lnTo>
                    <a:pt x="677828" y="77794"/>
                  </a:lnTo>
                  <a:lnTo>
                    <a:pt x="693010" y="77794"/>
                  </a:lnTo>
                  <a:lnTo>
                    <a:pt x="693010" y="86749"/>
                  </a:lnTo>
                  <a:cubicBezTo>
                    <a:pt x="696262" y="81046"/>
                    <a:pt x="703855" y="76309"/>
                    <a:pt x="714023" y="76309"/>
                  </a:cubicBezTo>
                  <a:cubicBezTo>
                    <a:pt x="733541" y="76309"/>
                    <a:pt x="744515" y="91219"/>
                    <a:pt x="744515" y="110736"/>
                  </a:cubicBezTo>
                  <a:cubicBezTo>
                    <a:pt x="744515" y="130527"/>
                    <a:pt x="732456" y="145436"/>
                    <a:pt x="713483" y="145436"/>
                  </a:cubicBezTo>
                  <a:close/>
                  <a:moveTo>
                    <a:pt x="803435" y="143812"/>
                  </a:moveTo>
                  <a:cubicBezTo>
                    <a:pt x="803162" y="142317"/>
                    <a:pt x="802890" y="139204"/>
                    <a:pt x="802890" y="136491"/>
                  </a:cubicBezTo>
                  <a:cubicBezTo>
                    <a:pt x="799638" y="142456"/>
                    <a:pt x="791911" y="145708"/>
                    <a:pt x="784184" y="145708"/>
                  </a:cubicBezTo>
                  <a:cubicBezTo>
                    <a:pt x="768463" y="145708"/>
                    <a:pt x="759246" y="134051"/>
                    <a:pt x="759246" y="119414"/>
                  </a:cubicBezTo>
                  <a:lnTo>
                    <a:pt x="759246" y="77799"/>
                  </a:lnTo>
                  <a:lnTo>
                    <a:pt x="774967" y="77799"/>
                  </a:lnTo>
                  <a:lnTo>
                    <a:pt x="774967" y="116573"/>
                  </a:lnTo>
                  <a:cubicBezTo>
                    <a:pt x="774967" y="124705"/>
                    <a:pt x="778764" y="131616"/>
                    <a:pt x="788248" y="131616"/>
                  </a:cubicBezTo>
                  <a:cubicBezTo>
                    <a:pt x="797331" y="131616"/>
                    <a:pt x="802073" y="125512"/>
                    <a:pt x="802073" y="116835"/>
                  </a:cubicBezTo>
                  <a:lnTo>
                    <a:pt x="802073" y="77799"/>
                  </a:lnTo>
                  <a:lnTo>
                    <a:pt x="817794" y="77799"/>
                  </a:lnTo>
                  <a:lnTo>
                    <a:pt x="817794" y="131754"/>
                  </a:lnTo>
                  <a:cubicBezTo>
                    <a:pt x="817794" y="137174"/>
                    <a:pt x="818200" y="141372"/>
                    <a:pt x="818473" y="143812"/>
                  </a:cubicBezTo>
                  <a:lnTo>
                    <a:pt x="803435" y="143812"/>
                  </a:lnTo>
                  <a:close/>
                  <a:moveTo>
                    <a:pt x="872928" y="145436"/>
                  </a:moveTo>
                  <a:cubicBezTo>
                    <a:pt x="863582" y="145436"/>
                    <a:pt x="856390" y="141372"/>
                    <a:pt x="852598" y="135001"/>
                  </a:cubicBezTo>
                  <a:lnTo>
                    <a:pt x="852598" y="143807"/>
                  </a:lnTo>
                  <a:lnTo>
                    <a:pt x="837288" y="143807"/>
                  </a:lnTo>
                  <a:lnTo>
                    <a:pt x="837288" y="45679"/>
                  </a:lnTo>
                  <a:lnTo>
                    <a:pt x="852741" y="45679"/>
                  </a:lnTo>
                  <a:lnTo>
                    <a:pt x="852741" y="85932"/>
                  </a:lnTo>
                  <a:cubicBezTo>
                    <a:pt x="855721" y="80789"/>
                    <a:pt x="863315" y="76042"/>
                    <a:pt x="873477" y="76042"/>
                  </a:cubicBezTo>
                  <a:cubicBezTo>
                    <a:pt x="893267" y="76042"/>
                    <a:pt x="903979" y="91090"/>
                    <a:pt x="903979" y="110469"/>
                  </a:cubicBezTo>
                  <a:cubicBezTo>
                    <a:pt x="903974" y="130388"/>
                    <a:pt x="892173" y="145436"/>
                    <a:pt x="872928" y="145436"/>
                  </a:cubicBezTo>
                  <a:close/>
                  <a:moveTo>
                    <a:pt x="935100" y="143812"/>
                  </a:moveTo>
                  <a:lnTo>
                    <a:pt x="919378" y="143812"/>
                  </a:lnTo>
                  <a:lnTo>
                    <a:pt x="919378" y="45679"/>
                  </a:lnTo>
                  <a:lnTo>
                    <a:pt x="935100" y="45679"/>
                  </a:lnTo>
                  <a:lnTo>
                    <a:pt x="935100" y="143812"/>
                  </a:lnTo>
                  <a:close/>
                  <a:moveTo>
                    <a:pt x="970190" y="143812"/>
                  </a:moveTo>
                  <a:lnTo>
                    <a:pt x="954603" y="143812"/>
                  </a:lnTo>
                  <a:lnTo>
                    <a:pt x="954603" y="77794"/>
                  </a:lnTo>
                  <a:lnTo>
                    <a:pt x="970190" y="77794"/>
                  </a:lnTo>
                  <a:lnTo>
                    <a:pt x="970190" y="143812"/>
                  </a:lnTo>
                  <a:close/>
                  <a:moveTo>
                    <a:pt x="962325" y="64786"/>
                  </a:moveTo>
                  <a:cubicBezTo>
                    <a:pt x="956766" y="64786"/>
                    <a:pt x="952157" y="60316"/>
                    <a:pt x="952157" y="54623"/>
                  </a:cubicBezTo>
                  <a:cubicBezTo>
                    <a:pt x="952157" y="48931"/>
                    <a:pt x="956766" y="44322"/>
                    <a:pt x="962325" y="44322"/>
                  </a:cubicBezTo>
                  <a:cubicBezTo>
                    <a:pt x="968017" y="44322"/>
                    <a:pt x="972626" y="48931"/>
                    <a:pt x="972626" y="54623"/>
                  </a:cubicBezTo>
                  <a:cubicBezTo>
                    <a:pt x="972626" y="60316"/>
                    <a:pt x="968017" y="64786"/>
                    <a:pt x="962325" y="64786"/>
                  </a:cubicBezTo>
                  <a:close/>
                  <a:moveTo>
                    <a:pt x="1019641" y="145847"/>
                  </a:moveTo>
                  <a:cubicBezTo>
                    <a:pt x="1000256" y="145847"/>
                    <a:pt x="985486" y="130799"/>
                    <a:pt x="985486" y="110736"/>
                  </a:cubicBezTo>
                  <a:cubicBezTo>
                    <a:pt x="985486" y="90407"/>
                    <a:pt x="1000261" y="75765"/>
                    <a:pt x="1019235" y="75765"/>
                  </a:cubicBezTo>
                  <a:cubicBezTo>
                    <a:pt x="1036990" y="75765"/>
                    <a:pt x="1046752" y="86877"/>
                    <a:pt x="1049460" y="97451"/>
                  </a:cubicBezTo>
                  <a:lnTo>
                    <a:pt x="1035362" y="102604"/>
                  </a:lnTo>
                  <a:cubicBezTo>
                    <a:pt x="1033872" y="96773"/>
                    <a:pt x="1029397" y="90263"/>
                    <a:pt x="1019368" y="90263"/>
                  </a:cubicBezTo>
                  <a:cubicBezTo>
                    <a:pt x="1009746" y="90263"/>
                    <a:pt x="1001207" y="97451"/>
                    <a:pt x="1001207" y="110736"/>
                  </a:cubicBezTo>
                  <a:cubicBezTo>
                    <a:pt x="1001207" y="124022"/>
                    <a:pt x="1009746" y="131472"/>
                    <a:pt x="1019641" y="131472"/>
                  </a:cubicBezTo>
                  <a:cubicBezTo>
                    <a:pt x="1029942" y="131472"/>
                    <a:pt x="1034684" y="124295"/>
                    <a:pt x="1036179" y="119280"/>
                  </a:cubicBezTo>
                  <a:lnTo>
                    <a:pt x="1050004" y="124290"/>
                  </a:lnTo>
                  <a:cubicBezTo>
                    <a:pt x="1046885" y="134595"/>
                    <a:pt x="1036990" y="145847"/>
                    <a:pt x="1019641" y="145847"/>
                  </a:cubicBezTo>
                  <a:close/>
                </a:path>
              </a:pathLst>
            </a:custGeom>
            <a:solidFill>
              <a:srgbClr val="000000"/>
            </a:solidFill>
            <a:ln w="493" cap="flat">
              <a:noFill/>
              <a:prstDash val="solid"/>
              <a:miter/>
            </a:ln>
          </p:spPr>
          <p:txBody>
            <a:bodyPr rtlCol="0" anchor="ctr"/>
            <a:lstStyle/>
            <a:p>
              <a:endParaRPr lang="en-US"/>
            </a:p>
          </p:txBody>
        </p:sp>
      </p:grpSp>
      <p:grpSp>
        <p:nvGrpSpPr>
          <p:cNvPr id="210" name="Graphic 136">
            <a:extLst>
              <a:ext uri="{FF2B5EF4-FFF2-40B4-BE49-F238E27FC236}">
                <a16:creationId xmlns:a16="http://schemas.microsoft.com/office/drawing/2014/main" id="{EA374032-2449-41AD-AF4F-48D7982F7564}"/>
              </a:ext>
            </a:extLst>
          </p:cNvPr>
          <p:cNvGrpSpPr/>
          <p:nvPr userDrawn="1">
            <p:custDataLst>
              <p:tags r:id="rId7"/>
            </p:custDataLst>
          </p:nvPr>
        </p:nvGrpSpPr>
        <p:grpSpPr>
          <a:xfrm>
            <a:off x="8061473" y="2963007"/>
            <a:ext cx="591921" cy="198000"/>
            <a:chOff x="7710593" y="2782253"/>
            <a:chExt cx="591921" cy="198000"/>
          </a:xfrm>
          <a:solidFill>
            <a:srgbClr val="000000"/>
          </a:solidFill>
        </p:grpSpPr>
        <p:sp>
          <p:nvSpPr>
            <p:cNvPr id="211" name="Freeform: Shape 13">
              <a:extLst>
                <a:ext uri="{FF2B5EF4-FFF2-40B4-BE49-F238E27FC236}">
                  <a16:creationId xmlns:a16="http://schemas.microsoft.com/office/drawing/2014/main" id="{B33DBCAD-51BE-4742-97F0-FA73C6249F9D}"/>
                </a:ext>
              </a:extLst>
            </p:cNvPr>
            <p:cNvSpPr/>
            <p:nvPr/>
          </p:nvSpPr>
          <p:spPr>
            <a:xfrm>
              <a:off x="7822289" y="2844326"/>
              <a:ext cx="33486" cy="29818"/>
            </a:xfrm>
            <a:custGeom>
              <a:avLst/>
              <a:gdLst>
                <a:gd name="connsiteX0" fmla="*/ 16949 w 33486"/>
                <a:gd name="connsiteY0" fmla="*/ 0 h 29818"/>
                <a:gd name="connsiteX1" fmla="*/ 0 w 33486"/>
                <a:gd name="connsiteY1" fmla="*/ 0 h 29818"/>
                <a:gd name="connsiteX2" fmla="*/ 0 w 33486"/>
                <a:gd name="connsiteY2" fmla="*/ 29819 h 29818"/>
                <a:gd name="connsiteX3" fmla="*/ 16949 w 33486"/>
                <a:gd name="connsiteY3" fmla="*/ 29819 h 29818"/>
                <a:gd name="connsiteX4" fmla="*/ 33487 w 33486"/>
                <a:gd name="connsiteY4" fmla="*/ 15048 h 29818"/>
                <a:gd name="connsiteX5" fmla="*/ 16949 w 33486"/>
                <a:gd name="connsiteY5" fmla="*/ 0 h 2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486" h="29818">
                  <a:moveTo>
                    <a:pt x="16949" y="0"/>
                  </a:moveTo>
                  <a:lnTo>
                    <a:pt x="0" y="0"/>
                  </a:lnTo>
                  <a:lnTo>
                    <a:pt x="0" y="29819"/>
                  </a:lnTo>
                  <a:lnTo>
                    <a:pt x="16949" y="29819"/>
                  </a:lnTo>
                  <a:cubicBezTo>
                    <a:pt x="27250" y="29819"/>
                    <a:pt x="33487" y="24136"/>
                    <a:pt x="33487" y="15048"/>
                  </a:cubicBezTo>
                  <a:cubicBezTo>
                    <a:pt x="33487" y="5831"/>
                    <a:pt x="27250" y="0"/>
                    <a:pt x="16949" y="0"/>
                  </a:cubicBezTo>
                  <a:close/>
                </a:path>
              </a:pathLst>
            </a:custGeom>
            <a:solidFill>
              <a:srgbClr val="000000"/>
            </a:solidFill>
            <a:ln w="494" cap="flat">
              <a:noFill/>
              <a:prstDash val="solid"/>
              <a:miter/>
            </a:ln>
          </p:spPr>
          <p:txBody>
            <a:bodyPr rtlCol="0" anchor="ctr"/>
            <a:lstStyle/>
            <a:p>
              <a:endParaRPr lang="en-US"/>
            </a:p>
          </p:txBody>
        </p:sp>
        <p:sp>
          <p:nvSpPr>
            <p:cNvPr id="212" name="Freeform: Shape 16">
              <a:extLst>
                <a:ext uri="{FF2B5EF4-FFF2-40B4-BE49-F238E27FC236}">
                  <a16:creationId xmlns:a16="http://schemas.microsoft.com/office/drawing/2014/main" id="{58D0AD21-8D97-4BED-B84B-2DDBAE51AD30}"/>
                </a:ext>
              </a:extLst>
            </p:cNvPr>
            <p:cNvSpPr/>
            <p:nvPr/>
          </p:nvSpPr>
          <p:spPr>
            <a:xfrm>
              <a:off x="8008568" y="2895702"/>
              <a:ext cx="26022" cy="20057"/>
            </a:xfrm>
            <a:custGeom>
              <a:avLst/>
              <a:gdLst>
                <a:gd name="connsiteX0" fmla="*/ 0 w 26022"/>
                <a:gd name="connsiteY0" fmla="*/ 11514 h 20057"/>
                <a:gd name="connsiteX1" fmla="*/ 9628 w 26022"/>
                <a:gd name="connsiteY1" fmla="*/ 20057 h 20057"/>
                <a:gd name="connsiteX2" fmla="*/ 26022 w 26022"/>
                <a:gd name="connsiteY2" fmla="*/ 2980 h 20057"/>
                <a:gd name="connsiteX3" fmla="*/ 26022 w 26022"/>
                <a:gd name="connsiteY3" fmla="*/ 0 h 20057"/>
                <a:gd name="connsiteX4" fmla="*/ 8811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6" y="20057"/>
                    <a:pt x="9628" y="20057"/>
                  </a:cubicBezTo>
                  <a:cubicBezTo>
                    <a:pt x="18434" y="20057"/>
                    <a:pt x="26022" y="15850"/>
                    <a:pt x="26022" y="2980"/>
                  </a:cubicBezTo>
                  <a:lnTo>
                    <a:pt x="26022" y="0"/>
                  </a:lnTo>
                  <a:lnTo>
                    <a:pt x="8811" y="2579"/>
                  </a:lnTo>
                  <a:cubicBezTo>
                    <a:pt x="3935" y="3381"/>
                    <a:pt x="0" y="6093"/>
                    <a:pt x="0" y="11514"/>
                  </a:cubicBezTo>
                  <a:close/>
                </a:path>
              </a:pathLst>
            </a:custGeom>
            <a:solidFill>
              <a:srgbClr val="000000"/>
            </a:solidFill>
            <a:ln w="494" cap="flat">
              <a:noFill/>
              <a:prstDash val="solid"/>
              <a:miter/>
            </a:ln>
          </p:spPr>
          <p:txBody>
            <a:bodyPr rtlCol="0" anchor="ctr"/>
            <a:lstStyle/>
            <a:p>
              <a:endParaRPr lang="en-US"/>
            </a:p>
          </p:txBody>
        </p:sp>
        <p:sp>
          <p:nvSpPr>
            <p:cNvPr id="213" name="Freeform: Shape 17">
              <a:extLst>
                <a:ext uri="{FF2B5EF4-FFF2-40B4-BE49-F238E27FC236}">
                  <a16:creationId xmlns:a16="http://schemas.microsoft.com/office/drawing/2014/main" id="{750E31B1-60B9-4799-97DA-3B0C65069A6E}"/>
                </a:ext>
              </a:extLst>
            </p:cNvPr>
            <p:cNvSpPr/>
            <p:nvPr/>
          </p:nvSpPr>
          <p:spPr>
            <a:xfrm>
              <a:off x="7893688" y="2872258"/>
              <a:ext cx="36867" cy="41748"/>
            </a:xfrm>
            <a:custGeom>
              <a:avLst/>
              <a:gdLst>
                <a:gd name="connsiteX0" fmla="*/ 18434 w 36867"/>
                <a:gd name="connsiteY0" fmla="*/ 0 h 41748"/>
                <a:gd name="connsiteX1" fmla="*/ 0 w 36867"/>
                <a:gd name="connsiteY1" fmla="*/ 20736 h 41748"/>
                <a:gd name="connsiteX2" fmla="*/ 18434 w 36867"/>
                <a:gd name="connsiteY2" fmla="*/ 41748 h 41748"/>
                <a:gd name="connsiteX3" fmla="*/ 36868 w 36867"/>
                <a:gd name="connsiteY3" fmla="*/ 20736 h 41748"/>
                <a:gd name="connsiteX4" fmla="*/ 18434 w 36867"/>
                <a:gd name="connsiteY4" fmla="*/ 0 h 41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7" h="41748">
                  <a:moveTo>
                    <a:pt x="18434" y="0"/>
                  </a:moveTo>
                  <a:cubicBezTo>
                    <a:pt x="8806" y="0"/>
                    <a:pt x="0" y="7049"/>
                    <a:pt x="0" y="20736"/>
                  </a:cubicBezTo>
                  <a:cubicBezTo>
                    <a:pt x="0" y="34422"/>
                    <a:pt x="8806" y="41748"/>
                    <a:pt x="18434" y="41748"/>
                  </a:cubicBezTo>
                  <a:cubicBezTo>
                    <a:pt x="28195" y="41748"/>
                    <a:pt x="36868" y="34561"/>
                    <a:pt x="36868" y="20736"/>
                  </a:cubicBezTo>
                  <a:cubicBezTo>
                    <a:pt x="36868" y="7044"/>
                    <a:pt x="28195" y="0"/>
                    <a:pt x="18434" y="0"/>
                  </a:cubicBezTo>
                  <a:close/>
                </a:path>
              </a:pathLst>
            </a:custGeom>
            <a:solidFill>
              <a:srgbClr val="000000"/>
            </a:solidFill>
            <a:ln w="494" cap="flat">
              <a:noFill/>
              <a:prstDash val="solid"/>
              <a:miter/>
            </a:ln>
          </p:spPr>
          <p:txBody>
            <a:bodyPr rtlCol="0" anchor="ctr"/>
            <a:lstStyle/>
            <a:p>
              <a:endParaRPr lang="en-US"/>
            </a:p>
          </p:txBody>
        </p:sp>
        <p:sp>
          <p:nvSpPr>
            <p:cNvPr id="214" name="Freeform: Shape 18">
              <a:extLst>
                <a:ext uri="{FF2B5EF4-FFF2-40B4-BE49-F238E27FC236}">
                  <a16:creationId xmlns:a16="http://schemas.microsoft.com/office/drawing/2014/main" id="{F80DB18F-FF39-4A2D-8A45-2B56E1D4420E}"/>
                </a:ext>
              </a:extLst>
            </p:cNvPr>
            <p:cNvSpPr/>
            <p:nvPr/>
          </p:nvSpPr>
          <p:spPr>
            <a:xfrm>
              <a:off x="8157988" y="2872258"/>
              <a:ext cx="35239" cy="41604"/>
            </a:xfrm>
            <a:custGeom>
              <a:avLst/>
              <a:gdLst>
                <a:gd name="connsiteX0" fmla="*/ 17894 w 35239"/>
                <a:gd name="connsiteY0" fmla="*/ 0 h 41604"/>
                <a:gd name="connsiteX1" fmla="*/ 0 w 35239"/>
                <a:gd name="connsiteY1" fmla="*/ 20602 h 41604"/>
                <a:gd name="connsiteX2" fmla="*/ 17761 w 35239"/>
                <a:gd name="connsiteY2" fmla="*/ 41605 h 41604"/>
                <a:gd name="connsiteX3" fmla="*/ 35239 w 35239"/>
                <a:gd name="connsiteY3" fmla="*/ 20458 h 41604"/>
                <a:gd name="connsiteX4" fmla="*/ 17894 w 35239"/>
                <a:gd name="connsiteY4" fmla="*/ 0 h 41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9" h="41604">
                  <a:moveTo>
                    <a:pt x="17894" y="0"/>
                  </a:moveTo>
                  <a:cubicBezTo>
                    <a:pt x="7593" y="0"/>
                    <a:pt x="0" y="7994"/>
                    <a:pt x="0" y="20602"/>
                  </a:cubicBezTo>
                  <a:cubicBezTo>
                    <a:pt x="0" y="33205"/>
                    <a:pt x="7049" y="41605"/>
                    <a:pt x="17761" y="41605"/>
                  </a:cubicBezTo>
                  <a:cubicBezTo>
                    <a:pt x="28062" y="41605"/>
                    <a:pt x="35239" y="33071"/>
                    <a:pt x="35239" y="20458"/>
                  </a:cubicBezTo>
                  <a:cubicBezTo>
                    <a:pt x="35239" y="7846"/>
                    <a:pt x="28195" y="0"/>
                    <a:pt x="17894" y="0"/>
                  </a:cubicBezTo>
                  <a:close/>
                </a:path>
              </a:pathLst>
            </a:custGeom>
            <a:solidFill>
              <a:srgbClr val="000000"/>
            </a:solidFill>
            <a:ln w="494" cap="flat">
              <a:noFill/>
              <a:prstDash val="solid"/>
              <a:miter/>
            </a:ln>
          </p:spPr>
          <p:txBody>
            <a:bodyPr rtlCol="0" anchor="ctr"/>
            <a:lstStyle/>
            <a:p>
              <a:endParaRPr lang="en-US"/>
            </a:p>
          </p:txBody>
        </p:sp>
        <p:sp>
          <p:nvSpPr>
            <p:cNvPr id="215" name="Freeform: Shape 19">
              <a:extLst>
                <a:ext uri="{FF2B5EF4-FFF2-40B4-BE49-F238E27FC236}">
                  <a16:creationId xmlns:a16="http://schemas.microsoft.com/office/drawing/2014/main" id="{778D0C2C-14D4-4BD1-BC31-450507F87350}"/>
                </a:ext>
              </a:extLst>
            </p:cNvPr>
            <p:cNvSpPr/>
            <p:nvPr/>
          </p:nvSpPr>
          <p:spPr>
            <a:xfrm>
              <a:off x="7710593" y="2782253"/>
              <a:ext cx="591921" cy="198000"/>
            </a:xfrm>
            <a:custGeom>
              <a:avLst/>
              <a:gdLst>
                <a:gd name="connsiteX0" fmla="*/ 492921 w 591921"/>
                <a:gd name="connsiteY0" fmla="*/ 0 h 198000"/>
                <a:gd name="connsiteX1" fmla="*/ 99000 w 591921"/>
                <a:gd name="connsiteY1" fmla="*/ 0 h 198000"/>
                <a:gd name="connsiteX2" fmla="*/ 0 w 591921"/>
                <a:gd name="connsiteY2" fmla="*/ 99000 h 198000"/>
                <a:gd name="connsiteX3" fmla="*/ 99000 w 591921"/>
                <a:gd name="connsiteY3" fmla="*/ 198000 h 198000"/>
                <a:gd name="connsiteX4" fmla="*/ 492921 w 591921"/>
                <a:gd name="connsiteY4" fmla="*/ 198000 h 198000"/>
                <a:gd name="connsiteX5" fmla="*/ 591921 w 591921"/>
                <a:gd name="connsiteY5" fmla="*/ 99000 h 198000"/>
                <a:gd name="connsiteX6" fmla="*/ 492921 w 591921"/>
                <a:gd name="connsiteY6" fmla="*/ 0 h 198000"/>
                <a:gd name="connsiteX7" fmla="*/ 131086 w 591921"/>
                <a:gd name="connsiteY7" fmla="*/ 106272 h 198000"/>
                <a:gd name="connsiteX8" fmla="*/ 111697 w 591921"/>
                <a:gd name="connsiteY8" fmla="*/ 106272 h 198000"/>
                <a:gd name="connsiteX9" fmla="*/ 111697 w 591921"/>
                <a:gd name="connsiteY9" fmla="*/ 143812 h 198000"/>
                <a:gd name="connsiteX10" fmla="*/ 95431 w 591921"/>
                <a:gd name="connsiteY10" fmla="*/ 143812 h 198000"/>
                <a:gd name="connsiteX11" fmla="*/ 95431 w 591921"/>
                <a:gd name="connsiteY11" fmla="*/ 47713 h 198000"/>
                <a:gd name="connsiteX12" fmla="*/ 131086 w 591921"/>
                <a:gd name="connsiteY12" fmla="*/ 47713 h 198000"/>
                <a:gd name="connsiteX13" fmla="*/ 161717 w 591921"/>
                <a:gd name="connsiteY13" fmla="*/ 76992 h 198000"/>
                <a:gd name="connsiteX14" fmla="*/ 131086 w 591921"/>
                <a:gd name="connsiteY14" fmla="*/ 106272 h 198000"/>
                <a:gd name="connsiteX15" fmla="*/ 201529 w 591921"/>
                <a:gd name="connsiteY15" fmla="*/ 145847 h 198000"/>
                <a:gd name="connsiteX16" fmla="*/ 167374 w 591921"/>
                <a:gd name="connsiteY16" fmla="*/ 110736 h 198000"/>
                <a:gd name="connsiteX17" fmla="*/ 201529 w 591921"/>
                <a:gd name="connsiteY17" fmla="*/ 75765 h 198000"/>
                <a:gd name="connsiteX18" fmla="*/ 235818 w 591921"/>
                <a:gd name="connsiteY18" fmla="*/ 110736 h 198000"/>
                <a:gd name="connsiteX19" fmla="*/ 201529 w 591921"/>
                <a:gd name="connsiteY19" fmla="*/ 145847 h 198000"/>
                <a:gd name="connsiteX20" fmla="*/ 266815 w 591921"/>
                <a:gd name="connsiteY20" fmla="*/ 143812 h 198000"/>
                <a:gd name="connsiteX21" fmla="*/ 251094 w 591921"/>
                <a:gd name="connsiteY21" fmla="*/ 143812 h 198000"/>
                <a:gd name="connsiteX22" fmla="*/ 251094 w 591921"/>
                <a:gd name="connsiteY22" fmla="*/ 45679 h 198000"/>
                <a:gd name="connsiteX23" fmla="*/ 266815 w 591921"/>
                <a:gd name="connsiteY23" fmla="*/ 45679 h 198000"/>
                <a:gd name="connsiteX24" fmla="*/ 266815 w 591921"/>
                <a:gd name="connsiteY24" fmla="*/ 143812 h 198000"/>
                <a:gd name="connsiteX25" fmla="*/ 325626 w 591921"/>
                <a:gd name="connsiteY25" fmla="*/ 143812 h 198000"/>
                <a:gd name="connsiteX26" fmla="*/ 324953 w 591921"/>
                <a:gd name="connsiteY26" fmla="*/ 135407 h 198000"/>
                <a:gd name="connsiteX27" fmla="*/ 304623 w 591921"/>
                <a:gd name="connsiteY27" fmla="*/ 145847 h 198000"/>
                <a:gd name="connsiteX28" fmla="*/ 282254 w 591921"/>
                <a:gd name="connsiteY28" fmla="*/ 125918 h 198000"/>
                <a:gd name="connsiteX29" fmla="*/ 302183 w 591921"/>
                <a:gd name="connsiteY29" fmla="*/ 105989 h 198000"/>
                <a:gd name="connsiteX30" fmla="*/ 319122 w 591921"/>
                <a:gd name="connsiteY30" fmla="*/ 103420 h 198000"/>
                <a:gd name="connsiteX31" fmla="*/ 324002 w 591921"/>
                <a:gd name="connsiteY31" fmla="*/ 98683 h 198000"/>
                <a:gd name="connsiteX32" fmla="*/ 311533 w 591921"/>
                <a:gd name="connsiteY32" fmla="*/ 88645 h 198000"/>
                <a:gd name="connsiteX33" fmla="*/ 297980 w 591921"/>
                <a:gd name="connsiteY33" fmla="*/ 100574 h 198000"/>
                <a:gd name="connsiteX34" fmla="*/ 283610 w 591921"/>
                <a:gd name="connsiteY34" fmla="*/ 97322 h 198000"/>
                <a:gd name="connsiteX35" fmla="*/ 311400 w 591921"/>
                <a:gd name="connsiteY35" fmla="*/ 75775 h 198000"/>
                <a:gd name="connsiteX36" fmla="*/ 339451 w 591921"/>
                <a:gd name="connsiteY36" fmla="*/ 100445 h 198000"/>
                <a:gd name="connsiteX37" fmla="*/ 339451 w 591921"/>
                <a:gd name="connsiteY37" fmla="*/ 133249 h 198000"/>
                <a:gd name="connsiteX38" fmla="*/ 340263 w 591921"/>
                <a:gd name="connsiteY38" fmla="*/ 143822 h 198000"/>
                <a:gd name="connsiteX39" fmla="*/ 325626 w 591921"/>
                <a:gd name="connsiteY39" fmla="*/ 143822 h 198000"/>
                <a:gd name="connsiteX40" fmla="*/ 417082 w 591921"/>
                <a:gd name="connsiteY40" fmla="*/ 143812 h 198000"/>
                <a:gd name="connsiteX41" fmla="*/ 401361 w 591921"/>
                <a:gd name="connsiteY41" fmla="*/ 143812 h 198000"/>
                <a:gd name="connsiteX42" fmla="*/ 401361 w 591921"/>
                <a:gd name="connsiteY42" fmla="*/ 104777 h 198000"/>
                <a:gd name="connsiteX43" fmla="*/ 387808 w 591921"/>
                <a:gd name="connsiteY43" fmla="*/ 90140 h 198000"/>
                <a:gd name="connsiteX44" fmla="*/ 374111 w 591921"/>
                <a:gd name="connsiteY44" fmla="*/ 105732 h 198000"/>
                <a:gd name="connsiteX45" fmla="*/ 374111 w 591921"/>
                <a:gd name="connsiteY45" fmla="*/ 143817 h 198000"/>
                <a:gd name="connsiteX46" fmla="*/ 358390 w 591921"/>
                <a:gd name="connsiteY46" fmla="*/ 143817 h 198000"/>
                <a:gd name="connsiteX47" fmla="*/ 358390 w 591921"/>
                <a:gd name="connsiteY47" fmla="*/ 77794 h 198000"/>
                <a:gd name="connsiteX48" fmla="*/ 373710 w 591921"/>
                <a:gd name="connsiteY48" fmla="*/ 77794 h 198000"/>
                <a:gd name="connsiteX49" fmla="*/ 373710 w 591921"/>
                <a:gd name="connsiteY49" fmla="*/ 86610 h 198000"/>
                <a:gd name="connsiteX50" fmla="*/ 393228 w 591921"/>
                <a:gd name="connsiteY50" fmla="*/ 75908 h 198000"/>
                <a:gd name="connsiteX51" fmla="*/ 417082 w 591921"/>
                <a:gd name="connsiteY51" fmla="*/ 102064 h 198000"/>
                <a:gd name="connsiteX52" fmla="*/ 417082 w 591921"/>
                <a:gd name="connsiteY52" fmla="*/ 143812 h 198000"/>
                <a:gd name="connsiteX53" fmla="*/ 483457 w 591921"/>
                <a:gd name="connsiteY53" fmla="*/ 143812 h 198000"/>
                <a:gd name="connsiteX54" fmla="*/ 482783 w 591921"/>
                <a:gd name="connsiteY54" fmla="*/ 135269 h 198000"/>
                <a:gd name="connsiteX55" fmla="*/ 463394 w 591921"/>
                <a:gd name="connsiteY55" fmla="*/ 145441 h 198000"/>
                <a:gd name="connsiteX56" fmla="*/ 431675 w 591921"/>
                <a:gd name="connsiteY56" fmla="*/ 110613 h 198000"/>
                <a:gd name="connsiteX57" fmla="*/ 463122 w 591921"/>
                <a:gd name="connsiteY57" fmla="*/ 76042 h 198000"/>
                <a:gd name="connsiteX58" fmla="*/ 482511 w 591921"/>
                <a:gd name="connsiteY58" fmla="*/ 85531 h 198000"/>
                <a:gd name="connsiteX59" fmla="*/ 482511 w 591921"/>
                <a:gd name="connsiteY59" fmla="*/ 45679 h 198000"/>
                <a:gd name="connsiteX60" fmla="*/ 497822 w 591921"/>
                <a:gd name="connsiteY60" fmla="*/ 45679 h 198000"/>
                <a:gd name="connsiteX61" fmla="*/ 497822 w 591921"/>
                <a:gd name="connsiteY61" fmla="*/ 131754 h 198000"/>
                <a:gd name="connsiteX62" fmla="*/ 498505 w 591921"/>
                <a:gd name="connsiteY62" fmla="*/ 143812 h 198000"/>
                <a:gd name="connsiteX63" fmla="*/ 483457 w 591921"/>
                <a:gd name="connsiteY63" fmla="*/ 143812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91921" h="198000">
                  <a:moveTo>
                    <a:pt x="492921" y="0"/>
                  </a:moveTo>
                  <a:lnTo>
                    <a:pt x="99000" y="0"/>
                  </a:lnTo>
                  <a:cubicBezTo>
                    <a:pt x="44322" y="0"/>
                    <a:pt x="0" y="44322"/>
                    <a:pt x="0" y="99000"/>
                  </a:cubicBezTo>
                  <a:cubicBezTo>
                    <a:pt x="0" y="153678"/>
                    <a:pt x="44322" y="198000"/>
                    <a:pt x="99000" y="198000"/>
                  </a:cubicBezTo>
                  <a:lnTo>
                    <a:pt x="492921" y="198000"/>
                  </a:lnTo>
                  <a:cubicBezTo>
                    <a:pt x="547599" y="198000"/>
                    <a:pt x="591921" y="153678"/>
                    <a:pt x="591921" y="99000"/>
                  </a:cubicBezTo>
                  <a:cubicBezTo>
                    <a:pt x="591921" y="44322"/>
                    <a:pt x="547599" y="0"/>
                    <a:pt x="492921" y="0"/>
                  </a:cubicBezTo>
                  <a:close/>
                  <a:moveTo>
                    <a:pt x="131086" y="106272"/>
                  </a:moveTo>
                  <a:lnTo>
                    <a:pt x="111697" y="106272"/>
                  </a:lnTo>
                  <a:lnTo>
                    <a:pt x="111697" y="143812"/>
                  </a:lnTo>
                  <a:lnTo>
                    <a:pt x="95431" y="143812"/>
                  </a:lnTo>
                  <a:lnTo>
                    <a:pt x="95431" y="47713"/>
                  </a:lnTo>
                  <a:lnTo>
                    <a:pt x="131086" y="47713"/>
                  </a:lnTo>
                  <a:cubicBezTo>
                    <a:pt x="149520" y="47713"/>
                    <a:pt x="161717" y="60182"/>
                    <a:pt x="161717" y="76992"/>
                  </a:cubicBezTo>
                  <a:cubicBezTo>
                    <a:pt x="161717" y="93931"/>
                    <a:pt x="149520" y="106272"/>
                    <a:pt x="131086" y="106272"/>
                  </a:cubicBezTo>
                  <a:close/>
                  <a:moveTo>
                    <a:pt x="201529" y="145847"/>
                  </a:moveTo>
                  <a:cubicBezTo>
                    <a:pt x="181873" y="145847"/>
                    <a:pt x="167374" y="131066"/>
                    <a:pt x="167374" y="110736"/>
                  </a:cubicBezTo>
                  <a:cubicBezTo>
                    <a:pt x="167374" y="90545"/>
                    <a:pt x="181873" y="75765"/>
                    <a:pt x="201529" y="75765"/>
                  </a:cubicBezTo>
                  <a:cubicBezTo>
                    <a:pt x="221319" y="75765"/>
                    <a:pt x="235818" y="90545"/>
                    <a:pt x="235818" y="110736"/>
                  </a:cubicBezTo>
                  <a:cubicBezTo>
                    <a:pt x="235818" y="131071"/>
                    <a:pt x="221319" y="145847"/>
                    <a:pt x="201529" y="145847"/>
                  </a:cubicBezTo>
                  <a:close/>
                  <a:moveTo>
                    <a:pt x="266815" y="143812"/>
                  </a:moveTo>
                  <a:lnTo>
                    <a:pt x="251094" y="143812"/>
                  </a:lnTo>
                  <a:lnTo>
                    <a:pt x="251094" y="45679"/>
                  </a:lnTo>
                  <a:lnTo>
                    <a:pt x="266815" y="45679"/>
                  </a:lnTo>
                  <a:lnTo>
                    <a:pt x="266815" y="143812"/>
                  </a:lnTo>
                  <a:close/>
                  <a:moveTo>
                    <a:pt x="325626" y="143812"/>
                  </a:moveTo>
                  <a:cubicBezTo>
                    <a:pt x="325497" y="143402"/>
                    <a:pt x="324953" y="140689"/>
                    <a:pt x="324953" y="135407"/>
                  </a:cubicBezTo>
                  <a:cubicBezTo>
                    <a:pt x="321829" y="140427"/>
                    <a:pt x="315325" y="145847"/>
                    <a:pt x="304623" y="145847"/>
                  </a:cubicBezTo>
                  <a:cubicBezTo>
                    <a:pt x="290798" y="145847"/>
                    <a:pt x="282254" y="136348"/>
                    <a:pt x="282254" y="125918"/>
                  </a:cubicBezTo>
                  <a:cubicBezTo>
                    <a:pt x="282254" y="114122"/>
                    <a:pt x="290926" y="107613"/>
                    <a:pt x="302183" y="105989"/>
                  </a:cubicBezTo>
                  <a:lnTo>
                    <a:pt x="319122" y="103420"/>
                  </a:lnTo>
                  <a:cubicBezTo>
                    <a:pt x="322918" y="102876"/>
                    <a:pt x="324002" y="100980"/>
                    <a:pt x="324002" y="98683"/>
                  </a:cubicBezTo>
                  <a:cubicBezTo>
                    <a:pt x="324002" y="93119"/>
                    <a:pt x="320206" y="88645"/>
                    <a:pt x="311533" y="88645"/>
                  </a:cubicBezTo>
                  <a:cubicBezTo>
                    <a:pt x="303272" y="88645"/>
                    <a:pt x="298663" y="93936"/>
                    <a:pt x="297980" y="100574"/>
                  </a:cubicBezTo>
                  <a:lnTo>
                    <a:pt x="283610" y="97322"/>
                  </a:lnTo>
                  <a:cubicBezTo>
                    <a:pt x="284833" y="85937"/>
                    <a:pt x="295134" y="75775"/>
                    <a:pt x="311400" y="75775"/>
                  </a:cubicBezTo>
                  <a:cubicBezTo>
                    <a:pt x="331729" y="75775"/>
                    <a:pt x="339451" y="87298"/>
                    <a:pt x="339451" y="100445"/>
                  </a:cubicBezTo>
                  <a:lnTo>
                    <a:pt x="339451" y="133249"/>
                  </a:lnTo>
                  <a:cubicBezTo>
                    <a:pt x="339451" y="139214"/>
                    <a:pt x="340134" y="143149"/>
                    <a:pt x="340263" y="143822"/>
                  </a:cubicBezTo>
                  <a:lnTo>
                    <a:pt x="325626" y="143822"/>
                  </a:lnTo>
                  <a:close/>
                  <a:moveTo>
                    <a:pt x="417082" y="143812"/>
                  </a:moveTo>
                  <a:lnTo>
                    <a:pt x="401361" y="143812"/>
                  </a:lnTo>
                  <a:lnTo>
                    <a:pt x="401361" y="104777"/>
                  </a:lnTo>
                  <a:cubicBezTo>
                    <a:pt x="401361" y="96644"/>
                    <a:pt x="397698" y="90140"/>
                    <a:pt x="387808" y="90140"/>
                  </a:cubicBezTo>
                  <a:cubicBezTo>
                    <a:pt x="378863" y="90140"/>
                    <a:pt x="374111" y="97055"/>
                    <a:pt x="374111" y="105732"/>
                  </a:cubicBezTo>
                  <a:lnTo>
                    <a:pt x="374111" y="143817"/>
                  </a:lnTo>
                  <a:lnTo>
                    <a:pt x="358390" y="143817"/>
                  </a:lnTo>
                  <a:lnTo>
                    <a:pt x="358390" y="77794"/>
                  </a:lnTo>
                  <a:lnTo>
                    <a:pt x="373710" y="77794"/>
                  </a:lnTo>
                  <a:lnTo>
                    <a:pt x="373710" y="86610"/>
                  </a:lnTo>
                  <a:cubicBezTo>
                    <a:pt x="378046" y="79022"/>
                    <a:pt x="385907" y="75908"/>
                    <a:pt x="393228" y="75908"/>
                  </a:cubicBezTo>
                  <a:cubicBezTo>
                    <a:pt x="409355" y="75908"/>
                    <a:pt x="417082" y="87556"/>
                    <a:pt x="417082" y="102064"/>
                  </a:cubicBezTo>
                  <a:lnTo>
                    <a:pt x="417082" y="143812"/>
                  </a:lnTo>
                  <a:close/>
                  <a:moveTo>
                    <a:pt x="483457" y="143812"/>
                  </a:moveTo>
                  <a:cubicBezTo>
                    <a:pt x="483184" y="142317"/>
                    <a:pt x="482783" y="137981"/>
                    <a:pt x="482783" y="135269"/>
                  </a:cubicBezTo>
                  <a:cubicBezTo>
                    <a:pt x="479660" y="140832"/>
                    <a:pt x="472755" y="145441"/>
                    <a:pt x="463394" y="145441"/>
                  </a:cubicBezTo>
                  <a:cubicBezTo>
                    <a:pt x="444416" y="145441"/>
                    <a:pt x="431675" y="130532"/>
                    <a:pt x="431675" y="110613"/>
                  </a:cubicBezTo>
                  <a:cubicBezTo>
                    <a:pt x="431675" y="91634"/>
                    <a:pt x="444555" y="76042"/>
                    <a:pt x="463122" y="76042"/>
                  </a:cubicBezTo>
                  <a:cubicBezTo>
                    <a:pt x="474646" y="76042"/>
                    <a:pt x="480472" y="81333"/>
                    <a:pt x="482511" y="85531"/>
                  </a:cubicBezTo>
                  <a:lnTo>
                    <a:pt x="482511" y="45679"/>
                  </a:lnTo>
                  <a:lnTo>
                    <a:pt x="497822" y="45679"/>
                  </a:lnTo>
                  <a:lnTo>
                    <a:pt x="497822" y="131754"/>
                  </a:lnTo>
                  <a:cubicBezTo>
                    <a:pt x="497822" y="137719"/>
                    <a:pt x="498366" y="142728"/>
                    <a:pt x="498505" y="143812"/>
                  </a:cubicBezTo>
                  <a:lnTo>
                    <a:pt x="483457" y="143812"/>
                  </a:lnTo>
                  <a:close/>
                </a:path>
              </a:pathLst>
            </a:custGeom>
            <a:solidFill>
              <a:srgbClr val="000000"/>
            </a:solidFill>
            <a:ln w="494" cap="flat">
              <a:noFill/>
              <a:prstDash val="solid"/>
              <a:miter/>
            </a:ln>
          </p:spPr>
          <p:txBody>
            <a:bodyPr rtlCol="0" anchor="ctr"/>
            <a:lstStyle/>
            <a:p>
              <a:endParaRPr lang="en-US"/>
            </a:p>
          </p:txBody>
        </p:sp>
      </p:grpSp>
      <p:grpSp>
        <p:nvGrpSpPr>
          <p:cNvPr id="216" name="Graphic 122">
            <a:extLst>
              <a:ext uri="{FF2B5EF4-FFF2-40B4-BE49-F238E27FC236}">
                <a16:creationId xmlns:a16="http://schemas.microsoft.com/office/drawing/2014/main" id="{B5985D12-F2EC-4F88-9FC2-F9AD061BEA5A}"/>
              </a:ext>
            </a:extLst>
          </p:cNvPr>
          <p:cNvGrpSpPr/>
          <p:nvPr userDrawn="1">
            <p:custDataLst>
              <p:tags r:id="rId8"/>
            </p:custDataLst>
          </p:nvPr>
        </p:nvGrpSpPr>
        <p:grpSpPr>
          <a:xfrm>
            <a:off x="9370292" y="3049988"/>
            <a:ext cx="644024" cy="198000"/>
            <a:chOff x="9019412" y="2869234"/>
            <a:chExt cx="644024" cy="198000"/>
          </a:xfrm>
          <a:solidFill>
            <a:srgbClr val="000000"/>
          </a:solidFill>
        </p:grpSpPr>
        <p:sp>
          <p:nvSpPr>
            <p:cNvPr id="217" name="Freeform: Shape 21">
              <a:extLst>
                <a:ext uri="{FF2B5EF4-FFF2-40B4-BE49-F238E27FC236}">
                  <a16:creationId xmlns:a16="http://schemas.microsoft.com/office/drawing/2014/main" id="{5940C680-09E8-4FE6-BF07-A95D0705E532}"/>
                </a:ext>
              </a:extLst>
            </p:cNvPr>
            <p:cNvSpPr/>
            <p:nvPr/>
          </p:nvSpPr>
          <p:spPr>
            <a:xfrm>
              <a:off x="9527098" y="2958155"/>
              <a:ext cx="32397" cy="14637"/>
            </a:xfrm>
            <a:custGeom>
              <a:avLst/>
              <a:gdLst>
                <a:gd name="connsiteX0" fmla="*/ 16132 w 32397"/>
                <a:gd name="connsiteY0" fmla="*/ 0 h 14637"/>
                <a:gd name="connsiteX1" fmla="*/ 0 w 32397"/>
                <a:gd name="connsiteY1" fmla="*/ 14637 h 14637"/>
                <a:gd name="connsiteX2" fmla="*/ 32398 w 32397"/>
                <a:gd name="connsiteY2" fmla="*/ 14637 h 14637"/>
                <a:gd name="connsiteX3" fmla="*/ 16132 w 32397"/>
                <a:gd name="connsiteY3" fmla="*/ 0 h 14637"/>
              </a:gdLst>
              <a:ahLst/>
              <a:cxnLst>
                <a:cxn ang="0">
                  <a:pos x="connsiteX0" y="connsiteY0"/>
                </a:cxn>
                <a:cxn ang="0">
                  <a:pos x="connsiteX1" y="connsiteY1"/>
                </a:cxn>
                <a:cxn ang="0">
                  <a:pos x="connsiteX2" y="connsiteY2"/>
                </a:cxn>
                <a:cxn ang="0">
                  <a:pos x="connsiteX3" y="connsiteY3"/>
                </a:cxn>
              </a:cxnLst>
              <a:rect l="l" t="t" r="r" b="b"/>
              <a:pathLst>
                <a:path w="32397" h="14637">
                  <a:moveTo>
                    <a:pt x="16132" y="0"/>
                  </a:moveTo>
                  <a:cubicBezTo>
                    <a:pt x="6232" y="0"/>
                    <a:pt x="540" y="7588"/>
                    <a:pt x="0" y="14637"/>
                  </a:cubicBezTo>
                  <a:lnTo>
                    <a:pt x="32398" y="14637"/>
                  </a:lnTo>
                  <a:cubicBezTo>
                    <a:pt x="32126" y="6905"/>
                    <a:pt x="26978" y="0"/>
                    <a:pt x="16132" y="0"/>
                  </a:cubicBezTo>
                  <a:close/>
                </a:path>
              </a:pathLst>
            </a:custGeom>
            <a:solidFill>
              <a:srgbClr val="000000"/>
            </a:solidFill>
            <a:ln w="491" cap="flat">
              <a:noFill/>
              <a:prstDash val="solid"/>
              <a:miter/>
            </a:ln>
          </p:spPr>
          <p:txBody>
            <a:bodyPr rtlCol="0" anchor="ctr"/>
            <a:lstStyle/>
            <a:p>
              <a:endParaRPr lang="en-US"/>
            </a:p>
          </p:txBody>
        </p:sp>
        <p:sp>
          <p:nvSpPr>
            <p:cNvPr id="218" name="Freeform: Shape 22">
              <a:extLst>
                <a:ext uri="{FF2B5EF4-FFF2-40B4-BE49-F238E27FC236}">
                  <a16:creationId xmlns:a16="http://schemas.microsoft.com/office/drawing/2014/main" id="{9A3641E6-7757-4217-9613-1DB6E207638A}"/>
                </a:ext>
              </a:extLst>
            </p:cNvPr>
            <p:cNvSpPr/>
            <p:nvPr/>
          </p:nvSpPr>
          <p:spPr>
            <a:xfrm>
              <a:off x="9342176" y="2982683"/>
              <a:ext cx="26022" cy="20057"/>
            </a:xfrm>
            <a:custGeom>
              <a:avLst/>
              <a:gdLst>
                <a:gd name="connsiteX0" fmla="*/ 0 w 26022"/>
                <a:gd name="connsiteY0" fmla="*/ 11514 h 20057"/>
                <a:gd name="connsiteX1" fmla="*/ 9628 w 26022"/>
                <a:gd name="connsiteY1" fmla="*/ 20057 h 20057"/>
                <a:gd name="connsiteX2" fmla="*/ 26022 w 26022"/>
                <a:gd name="connsiteY2" fmla="*/ 2980 h 20057"/>
                <a:gd name="connsiteX3" fmla="*/ 26022 w 26022"/>
                <a:gd name="connsiteY3" fmla="*/ 0 h 20057"/>
                <a:gd name="connsiteX4" fmla="*/ 8811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6" y="20057"/>
                    <a:pt x="9628" y="20057"/>
                  </a:cubicBezTo>
                  <a:cubicBezTo>
                    <a:pt x="18434" y="20057"/>
                    <a:pt x="26022" y="15850"/>
                    <a:pt x="26022" y="2980"/>
                  </a:cubicBezTo>
                  <a:lnTo>
                    <a:pt x="26022" y="0"/>
                  </a:lnTo>
                  <a:lnTo>
                    <a:pt x="8811" y="2579"/>
                  </a:lnTo>
                  <a:cubicBezTo>
                    <a:pt x="3935" y="3381"/>
                    <a:pt x="0" y="6093"/>
                    <a:pt x="0" y="11514"/>
                  </a:cubicBezTo>
                  <a:close/>
                </a:path>
              </a:pathLst>
            </a:custGeom>
            <a:solidFill>
              <a:srgbClr val="000000"/>
            </a:solidFill>
            <a:ln w="491" cap="flat">
              <a:noFill/>
              <a:prstDash val="solid"/>
              <a:miter/>
            </a:ln>
          </p:spPr>
          <p:txBody>
            <a:bodyPr rtlCol="0" anchor="ctr"/>
            <a:lstStyle/>
            <a:p>
              <a:endParaRPr lang="en-US"/>
            </a:p>
          </p:txBody>
        </p:sp>
        <p:sp>
          <p:nvSpPr>
            <p:cNvPr id="219" name="Freeform: Shape 23">
              <a:extLst>
                <a:ext uri="{FF2B5EF4-FFF2-40B4-BE49-F238E27FC236}">
                  <a16:creationId xmlns:a16="http://schemas.microsoft.com/office/drawing/2014/main" id="{7A9490C3-7F0B-4526-BD06-6FC830C4F48C}"/>
                </a:ext>
              </a:extLst>
            </p:cNvPr>
            <p:cNvSpPr/>
            <p:nvPr/>
          </p:nvSpPr>
          <p:spPr>
            <a:xfrm>
              <a:off x="9019412" y="2869234"/>
              <a:ext cx="644024" cy="198000"/>
            </a:xfrm>
            <a:custGeom>
              <a:avLst/>
              <a:gdLst>
                <a:gd name="connsiteX0" fmla="*/ 545025 w 644024"/>
                <a:gd name="connsiteY0" fmla="*/ 0 h 198000"/>
                <a:gd name="connsiteX1" fmla="*/ 99000 w 644024"/>
                <a:gd name="connsiteY1" fmla="*/ 0 h 198000"/>
                <a:gd name="connsiteX2" fmla="*/ 0 w 644024"/>
                <a:gd name="connsiteY2" fmla="*/ 99000 h 198000"/>
                <a:gd name="connsiteX3" fmla="*/ 99000 w 644024"/>
                <a:gd name="connsiteY3" fmla="*/ 198000 h 198000"/>
                <a:gd name="connsiteX4" fmla="*/ 545025 w 644024"/>
                <a:gd name="connsiteY4" fmla="*/ 198000 h 198000"/>
                <a:gd name="connsiteX5" fmla="*/ 644025 w 644024"/>
                <a:gd name="connsiteY5" fmla="*/ 99000 h 198000"/>
                <a:gd name="connsiteX6" fmla="*/ 545025 w 644024"/>
                <a:gd name="connsiteY6" fmla="*/ 0 h 198000"/>
                <a:gd name="connsiteX7" fmla="*/ 166186 w 644024"/>
                <a:gd name="connsiteY7" fmla="*/ 110326 h 198000"/>
                <a:gd name="connsiteX8" fmla="*/ 130274 w 644024"/>
                <a:gd name="connsiteY8" fmla="*/ 145847 h 198000"/>
                <a:gd name="connsiteX9" fmla="*/ 94491 w 644024"/>
                <a:gd name="connsiteY9" fmla="*/ 110326 h 198000"/>
                <a:gd name="connsiteX10" fmla="*/ 94491 w 644024"/>
                <a:gd name="connsiteY10" fmla="*/ 47713 h 198000"/>
                <a:gd name="connsiteX11" fmla="*/ 110618 w 644024"/>
                <a:gd name="connsiteY11" fmla="*/ 47713 h 198000"/>
                <a:gd name="connsiteX12" fmla="*/ 110618 w 644024"/>
                <a:gd name="connsiteY12" fmla="*/ 109380 h 198000"/>
                <a:gd name="connsiteX13" fmla="*/ 130274 w 644024"/>
                <a:gd name="connsiteY13" fmla="*/ 130383 h 198000"/>
                <a:gd name="connsiteX14" fmla="*/ 149926 w 644024"/>
                <a:gd name="connsiteY14" fmla="*/ 109380 h 198000"/>
                <a:gd name="connsiteX15" fmla="*/ 149926 w 644024"/>
                <a:gd name="connsiteY15" fmla="*/ 47713 h 198000"/>
                <a:gd name="connsiteX16" fmla="*/ 166191 w 644024"/>
                <a:gd name="connsiteY16" fmla="*/ 47713 h 198000"/>
                <a:gd name="connsiteX17" fmla="*/ 166191 w 644024"/>
                <a:gd name="connsiteY17" fmla="*/ 110326 h 198000"/>
                <a:gd name="connsiteX18" fmla="*/ 229442 w 644024"/>
                <a:gd name="connsiteY18" fmla="*/ 143812 h 198000"/>
                <a:gd name="connsiteX19" fmla="*/ 210053 w 644024"/>
                <a:gd name="connsiteY19" fmla="*/ 116835 h 198000"/>
                <a:gd name="connsiteX20" fmla="*/ 201920 w 644024"/>
                <a:gd name="connsiteY20" fmla="*/ 125379 h 198000"/>
                <a:gd name="connsiteX21" fmla="*/ 201920 w 644024"/>
                <a:gd name="connsiteY21" fmla="*/ 143812 h 198000"/>
                <a:gd name="connsiteX22" fmla="*/ 186338 w 644024"/>
                <a:gd name="connsiteY22" fmla="*/ 143812 h 198000"/>
                <a:gd name="connsiteX23" fmla="*/ 186338 w 644024"/>
                <a:gd name="connsiteY23" fmla="*/ 45679 h 198000"/>
                <a:gd name="connsiteX24" fmla="*/ 201920 w 644024"/>
                <a:gd name="connsiteY24" fmla="*/ 45679 h 198000"/>
                <a:gd name="connsiteX25" fmla="*/ 201920 w 644024"/>
                <a:gd name="connsiteY25" fmla="*/ 104504 h 198000"/>
                <a:gd name="connsiteX26" fmla="*/ 227274 w 644024"/>
                <a:gd name="connsiteY26" fmla="*/ 77799 h 198000"/>
                <a:gd name="connsiteX27" fmla="*/ 248148 w 644024"/>
                <a:gd name="connsiteY27" fmla="*/ 77799 h 198000"/>
                <a:gd name="connsiteX28" fmla="*/ 221037 w 644024"/>
                <a:gd name="connsiteY28" fmla="*/ 105732 h 198000"/>
                <a:gd name="connsiteX29" fmla="*/ 248688 w 644024"/>
                <a:gd name="connsiteY29" fmla="*/ 143817 h 198000"/>
                <a:gd name="connsiteX30" fmla="*/ 229442 w 644024"/>
                <a:gd name="connsiteY30" fmla="*/ 143817 h 198000"/>
                <a:gd name="connsiteX31" fmla="*/ 298663 w 644024"/>
                <a:gd name="connsiteY31" fmla="*/ 93387 h 198000"/>
                <a:gd name="connsiteX32" fmla="*/ 293510 w 644024"/>
                <a:gd name="connsiteY32" fmla="*/ 92976 h 198000"/>
                <a:gd name="connsiteX33" fmla="*/ 275755 w 644024"/>
                <a:gd name="connsiteY33" fmla="*/ 112365 h 198000"/>
                <a:gd name="connsiteX34" fmla="*/ 275755 w 644024"/>
                <a:gd name="connsiteY34" fmla="*/ 143812 h 198000"/>
                <a:gd name="connsiteX35" fmla="*/ 260033 w 644024"/>
                <a:gd name="connsiteY35" fmla="*/ 143812 h 198000"/>
                <a:gd name="connsiteX36" fmla="*/ 260033 w 644024"/>
                <a:gd name="connsiteY36" fmla="*/ 77794 h 198000"/>
                <a:gd name="connsiteX37" fmla="*/ 275349 w 644024"/>
                <a:gd name="connsiteY37" fmla="*/ 77794 h 198000"/>
                <a:gd name="connsiteX38" fmla="*/ 275349 w 644024"/>
                <a:gd name="connsiteY38" fmla="*/ 88377 h 198000"/>
                <a:gd name="connsiteX39" fmla="*/ 294461 w 644024"/>
                <a:gd name="connsiteY39" fmla="*/ 76992 h 198000"/>
                <a:gd name="connsiteX40" fmla="*/ 298663 w 644024"/>
                <a:gd name="connsiteY40" fmla="*/ 77393 h 198000"/>
                <a:gd name="connsiteX41" fmla="*/ 298663 w 644024"/>
                <a:gd name="connsiteY41" fmla="*/ 93387 h 198000"/>
                <a:gd name="connsiteX42" fmla="*/ 350415 w 644024"/>
                <a:gd name="connsiteY42" fmla="*/ 143812 h 198000"/>
                <a:gd name="connsiteX43" fmla="*/ 349742 w 644024"/>
                <a:gd name="connsiteY43" fmla="*/ 135407 h 198000"/>
                <a:gd name="connsiteX44" fmla="*/ 329413 w 644024"/>
                <a:gd name="connsiteY44" fmla="*/ 145847 h 198000"/>
                <a:gd name="connsiteX45" fmla="*/ 307044 w 644024"/>
                <a:gd name="connsiteY45" fmla="*/ 125918 h 198000"/>
                <a:gd name="connsiteX46" fmla="*/ 326972 w 644024"/>
                <a:gd name="connsiteY46" fmla="*/ 105989 h 198000"/>
                <a:gd name="connsiteX47" fmla="*/ 343911 w 644024"/>
                <a:gd name="connsiteY47" fmla="*/ 103420 h 198000"/>
                <a:gd name="connsiteX48" fmla="*/ 348792 w 644024"/>
                <a:gd name="connsiteY48" fmla="*/ 98683 h 198000"/>
                <a:gd name="connsiteX49" fmla="*/ 336323 w 644024"/>
                <a:gd name="connsiteY49" fmla="*/ 88645 h 198000"/>
                <a:gd name="connsiteX50" fmla="*/ 322770 w 644024"/>
                <a:gd name="connsiteY50" fmla="*/ 100574 h 198000"/>
                <a:gd name="connsiteX51" fmla="*/ 308400 w 644024"/>
                <a:gd name="connsiteY51" fmla="*/ 97322 h 198000"/>
                <a:gd name="connsiteX52" fmla="*/ 336189 w 644024"/>
                <a:gd name="connsiteY52" fmla="*/ 75775 h 198000"/>
                <a:gd name="connsiteX53" fmla="*/ 364241 w 644024"/>
                <a:gd name="connsiteY53" fmla="*/ 100445 h 198000"/>
                <a:gd name="connsiteX54" fmla="*/ 364241 w 644024"/>
                <a:gd name="connsiteY54" fmla="*/ 133249 h 198000"/>
                <a:gd name="connsiteX55" fmla="*/ 365053 w 644024"/>
                <a:gd name="connsiteY55" fmla="*/ 143822 h 198000"/>
                <a:gd name="connsiteX56" fmla="*/ 350415 w 644024"/>
                <a:gd name="connsiteY56" fmla="*/ 143822 h 198000"/>
                <a:gd name="connsiteX57" fmla="*/ 398772 w 644024"/>
                <a:gd name="connsiteY57" fmla="*/ 143812 h 198000"/>
                <a:gd name="connsiteX58" fmla="*/ 383180 w 644024"/>
                <a:gd name="connsiteY58" fmla="*/ 143812 h 198000"/>
                <a:gd name="connsiteX59" fmla="*/ 383180 w 644024"/>
                <a:gd name="connsiteY59" fmla="*/ 77794 h 198000"/>
                <a:gd name="connsiteX60" fmla="*/ 398772 w 644024"/>
                <a:gd name="connsiteY60" fmla="*/ 77794 h 198000"/>
                <a:gd name="connsiteX61" fmla="*/ 398772 w 644024"/>
                <a:gd name="connsiteY61" fmla="*/ 143812 h 198000"/>
                <a:gd name="connsiteX62" fmla="*/ 390911 w 644024"/>
                <a:gd name="connsiteY62" fmla="*/ 64786 h 198000"/>
                <a:gd name="connsiteX63" fmla="*/ 380739 w 644024"/>
                <a:gd name="connsiteY63" fmla="*/ 54623 h 198000"/>
                <a:gd name="connsiteX64" fmla="*/ 390911 w 644024"/>
                <a:gd name="connsiteY64" fmla="*/ 44322 h 198000"/>
                <a:gd name="connsiteX65" fmla="*/ 401212 w 644024"/>
                <a:gd name="connsiteY65" fmla="*/ 54623 h 198000"/>
                <a:gd name="connsiteX66" fmla="*/ 390911 w 644024"/>
                <a:gd name="connsiteY66" fmla="*/ 64786 h 198000"/>
                <a:gd name="connsiteX67" fmla="*/ 476957 w 644024"/>
                <a:gd name="connsiteY67" fmla="*/ 143812 h 198000"/>
                <a:gd name="connsiteX68" fmla="*/ 461236 w 644024"/>
                <a:gd name="connsiteY68" fmla="*/ 143812 h 198000"/>
                <a:gd name="connsiteX69" fmla="*/ 461236 w 644024"/>
                <a:gd name="connsiteY69" fmla="*/ 104777 h 198000"/>
                <a:gd name="connsiteX70" fmla="*/ 447683 w 644024"/>
                <a:gd name="connsiteY70" fmla="*/ 90140 h 198000"/>
                <a:gd name="connsiteX71" fmla="*/ 433996 w 644024"/>
                <a:gd name="connsiteY71" fmla="*/ 105732 h 198000"/>
                <a:gd name="connsiteX72" fmla="*/ 433996 w 644024"/>
                <a:gd name="connsiteY72" fmla="*/ 143817 h 198000"/>
                <a:gd name="connsiteX73" fmla="*/ 418275 w 644024"/>
                <a:gd name="connsiteY73" fmla="*/ 143817 h 198000"/>
                <a:gd name="connsiteX74" fmla="*/ 418275 w 644024"/>
                <a:gd name="connsiteY74" fmla="*/ 77794 h 198000"/>
                <a:gd name="connsiteX75" fmla="*/ 433585 w 644024"/>
                <a:gd name="connsiteY75" fmla="*/ 77794 h 198000"/>
                <a:gd name="connsiteX76" fmla="*/ 433585 w 644024"/>
                <a:gd name="connsiteY76" fmla="*/ 86610 h 198000"/>
                <a:gd name="connsiteX77" fmla="*/ 453103 w 644024"/>
                <a:gd name="connsiteY77" fmla="*/ 75908 h 198000"/>
                <a:gd name="connsiteX78" fmla="*/ 476957 w 644024"/>
                <a:gd name="connsiteY78" fmla="*/ 102064 h 198000"/>
                <a:gd name="connsiteX79" fmla="*/ 476957 w 644024"/>
                <a:gd name="connsiteY79" fmla="*/ 143812 h 198000"/>
                <a:gd name="connsiteX80" fmla="*/ 555534 w 644024"/>
                <a:gd name="connsiteY80" fmla="*/ 115073 h 198000"/>
                <a:gd name="connsiteX81" fmla="*/ 507281 w 644024"/>
                <a:gd name="connsiteY81" fmla="*/ 115073 h 198000"/>
                <a:gd name="connsiteX82" fmla="*/ 525304 w 644024"/>
                <a:gd name="connsiteY82" fmla="*/ 132294 h 198000"/>
                <a:gd name="connsiteX83" fmla="*/ 541842 w 644024"/>
                <a:gd name="connsiteY83" fmla="*/ 120770 h 198000"/>
                <a:gd name="connsiteX84" fmla="*/ 555123 w 644024"/>
                <a:gd name="connsiteY84" fmla="*/ 124968 h 198000"/>
                <a:gd name="connsiteX85" fmla="*/ 525304 w 644024"/>
                <a:gd name="connsiteY85" fmla="*/ 145852 h 198000"/>
                <a:gd name="connsiteX86" fmla="*/ 491560 w 644024"/>
                <a:gd name="connsiteY86" fmla="*/ 110469 h 198000"/>
                <a:gd name="connsiteX87" fmla="*/ 523680 w 644024"/>
                <a:gd name="connsiteY87" fmla="*/ 75770 h 198000"/>
                <a:gd name="connsiteX88" fmla="*/ 555939 w 644024"/>
                <a:gd name="connsiteY88" fmla="*/ 110068 h 198000"/>
                <a:gd name="connsiteX89" fmla="*/ 555534 w 644024"/>
                <a:gd name="connsiteY89" fmla="*/ 115073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44024" h="198000">
                  <a:moveTo>
                    <a:pt x="545025" y="0"/>
                  </a:moveTo>
                  <a:lnTo>
                    <a:pt x="99000" y="0"/>
                  </a:lnTo>
                  <a:cubicBezTo>
                    <a:pt x="44322" y="0"/>
                    <a:pt x="0" y="44322"/>
                    <a:pt x="0" y="99000"/>
                  </a:cubicBezTo>
                  <a:cubicBezTo>
                    <a:pt x="0" y="153678"/>
                    <a:pt x="44322" y="198000"/>
                    <a:pt x="99000" y="198000"/>
                  </a:cubicBezTo>
                  <a:lnTo>
                    <a:pt x="545025" y="198000"/>
                  </a:lnTo>
                  <a:cubicBezTo>
                    <a:pt x="599702" y="198000"/>
                    <a:pt x="644025" y="153678"/>
                    <a:pt x="644025" y="99000"/>
                  </a:cubicBezTo>
                  <a:cubicBezTo>
                    <a:pt x="644025" y="44322"/>
                    <a:pt x="599702" y="0"/>
                    <a:pt x="545025" y="0"/>
                  </a:cubicBezTo>
                  <a:close/>
                  <a:moveTo>
                    <a:pt x="166186" y="110326"/>
                  </a:moveTo>
                  <a:cubicBezTo>
                    <a:pt x="166186" y="133506"/>
                    <a:pt x="150465" y="145847"/>
                    <a:pt x="130274" y="145847"/>
                  </a:cubicBezTo>
                  <a:cubicBezTo>
                    <a:pt x="110212" y="145847"/>
                    <a:pt x="94491" y="133506"/>
                    <a:pt x="94491" y="110326"/>
                  </a:cubicBezTo>
                  <a:lnTo>
                    <a:pt x="94491" y="47713"/>
                  </a:lnTo>
                  <a:lnTo>
                    <a:pt x="110618" y="47713"/>
                  </a:lnTo>
                  <a:lnTo>
                    <a:pt x="110618" y="109380"/>
                  </a:lnTo>
                  <a:cubicBezTo>
                    <a:pt x="110618" y="122933"/>
                    <a:pt x="118077" y="130383"/>
                    <a:pt x="130274" y="130383"/>
                  </a:cubicBezTo>
                  <a:cubicBezTo>
                    <a:pt x="142605" y="130383"/>
                    <a:pt x="149926" y="122933"/>
                    <a:pt x="149926" y="109380"/>
                  </a:cubicBezTo>
                  <a:lnTo>
                    <a:pt x="149926" y="47713"/>
                  </a:lnTo>
                  <a:lnTo>
                    <a:pt x="166191" y="47713"/>
                  </a:lnTo>
                  <a:lnTo>
                    <a:pt x="166191" y="110326"/>
                  </a:lnTo>
                  <a:close/>
                  <a:moveTo>
                    <a:pt x="229442" y="143812"/>
                  </a:moveTo>
                  <a:lnTo>
                    <a:pt x="210053" y="116835"/>
                  </a:lnTo>
                  <a:lnTo>
                    <a:pt x="201920" y="125379"/>
                  </a:lnTo>
                  <a:lnTo>
                    <a:pt x="201920" y="143812"/>
                  </a:lnTo>
                  <a:lnTo>
                    <a:pt x="186338" y="143812"/>
                  </a:lnTo>
                  <a:lnTo>
                    <a:pt x="186338" y="45679"/>
                  </a:lnTo>
                  <a:lnTo>
                    <a:pt x="201920" y="45679"/>
                  </a:lnTo>
                  <a:lnTo>
                    <a:pt x="201920" y="104504"/>
                  </a:lnTo>
                  <a:lnTo>
                    <a:pt x="227274" y="77799"/>
                  </a:lnTo>
                  <a:lnTo>
                    <a:pt x="248148" y="77799"/>
                  </a:lnTo>
                  <a:lnTo>
                    <a:pt x="221037" y="105732"/>
                  </a:lnTo>
                  <a:lnTo>
                    <a:pt x="248688" y="143817"/>
                  </a:lnTo>
                  <a:lnTo>
                    <a:pt x="229442" y="143817"/>
                  </a:lnTo>
                  <a:close/>
                  <a:moveTo>
                    <a:pt x="298663" y="93387"/>
                  </a:moveTo>
                  <a:cubicBezTo>
                    <a:pt x="296901" y="93114"/>
                    <a:pt x="295139" y="92976"/>
                    <a:pt x="293510" y="92976"/>
                  </a:cubicBezTo>
                  <a:cubicBezTo>
                    <a:pt x="281313" y="92976"/>
                    <a:pt x="275755" y="100025"/>
                    <a:pt x="275755" y="112365"/>
                  </a:cubicBezTo>
                  <a:lnTo>
                    <a:pt x="275755" y="143812"/>
                  </a:lnTo>
                  <a:lnTo>
                    <a:pt x="260033" y="143812"/>
                  </a:lnTo>
                  <a:lnTo>
                    <a:pt x="260033" y="77794"/>
                  </a:lnTo>
                  <a:lnTo>
                    <a:pt x="275349" y="77794"/>
                  </a:lnTo>
                  <a:lnTo>
                    <a:pt x="275349" y="88377"/>
                  </a:lnTo>
                  <a:cubicBezTo>
                    <a:pt x="278467" y="81190"/>
                    <a:pt x="285783" y="76992"/>
                    <a:pt x="294461" y="76992"/>
                  </a:cubicBezTo>
                  <a:cubicBezTo>
                    <a:pt x="296357" y="76992"/>
                    <a:pt x="297985" y="77255"/>
                    <a:pt x="298663" y="77393"/>
                  </a:cubicBezTo>
                  <a:lnTo>
                    <a:pt x="298663" y="93387"/>
                  </a:lnTo>
                  <a:close/>
                  <a:moveTo>
                    <a:pt x="350415" y="143812"/>
                  </a:moveTo>
                  <a:cubicBezTo>
                    <a:pt x="350287" y="143402"/>
                    <a:pt x="349742" y="140689"/>
                    <a:pt x="349742" y="135407"/>
                  </a:cubicBezTo>
                  <a:cubicBezTo>
                    <a:pt x="346619" y="140427"/>
                    <a:pt x="340115" y="145847"/>
                    <a:pt x="329413" y="145847"/>
                  </a:cubicBezTo>
                  <a:cubicBezTo>
                    <a:pt x="315587" y="145847"/>
                    <a:pt x="307044" y="136348"/>
                    <a:pt x="307044" y="125918"/>
                  </a:cubicBezTo>
                  <a:cubicBezTo>
                    <a:pt x="307044" y="114122"/>
                    <a:pt x="315716" y="107613"/>
                    <a:pt x="326972" y="105989"/>
                  </a:cubicBezTo>
                  <a:lnTo>
                    <a:pt x="343911" y="103420"/>
                  </a:lnTo>
                  <a:cubicBezTo>
                    <a:pt x="347708" y="102876"/>
                    <a:pt x="348792" y="100980"/>
                    <a:pt x="348792" y="98683"/>
                  </a:cubicBezTo>
                  <a:cubicBezTo>
                    <a:pt x="348792" y="93119"/>
                    <a:pt x="344995" y="88645"/>
                    <a:pt x="336323" y="88645"/>
                  </a:cubicBezTo>
                  <a:cubicBezTo>
                    <a:pt x="328061" y="88645"/>
                    <a:pt x="323453" y="93936"/>
                    <a:pt x="322770" y="100574"/>
                  </a:cubicBezTo>
                  <a:lnTo>
                    <a:pt x="308400" y="97322"/>
                  </a:lnTo>
                  <a:cubicBezTo>
                    <a:pt x="309623" y="85937"/>
                    <a:pt x="319923" y="75775"/>
                    <a:pt x="336189" y="75775"/>
                  </a:cubicBezTo>
                  <a:cubicBezTo>
                    <a:pt x="356519" y="75775"/>
                    <a:pt x="364241" y="87298"/>
                    <a:pt x="364241" y="100445"/>
                  </a:cubicBezTo>
                  <a:lnTo>
                    <a:pt x="364241" y="133249"/>
                  </a:lnTo>
                  <a:cubicBezTo>
                    <a:pt x="364241" y="139214"/>
                    <a:pt x="364924" y="143149"/>
                    <a:pt x="365053" y="143822"/>
                  </a:cubicBezTo>
                  <a:lnTo>
                    <a:pt x="350415" y="143822"/>
                  </a:lnTo>
                  <a:close/>
                  <a:moveTo>
                    <a:pt x="398772" y="143812"/>
                  </a:moveTo>
                  <a:lnTo>
                    <a:pt x="383180" y="143812"/>
                  </a:lnTo>
                  <a:lnTo>
                    <a:pt x="383180" y="77794"/>
                  </a:lnTo>
                  <a:lnTo>
                    <a:pt x="398772" y="77794"/>
                  </a:lnTo>
                  <a:lnTo>
                    <a:pt x="398772" y="143812"/>
                  </a:lnTo>
                  <a:close/>
                  <a:moveTo>
                    <a:pt x="390911" y="64786"/>
                  </a:moveTo>
                  <a:cubicBezTo>
                    <a:pt x="385348" y="64786"/>
                    <a:pt x="380739" y="60316"/>
                    <a:pt x="380739" y="54623"/>
                  </a:cubicBezTo>
                  <a:cubicBezTo>
                    <a:pt x="380739" y="48931"/>
                    <a:pt x="385348" y="44322"/>
                    <a:pt x="390911" y="44322"/>
                  </a:cubicBezTo>
                  <a:cubicBezTo>
                    <a:pt x="396604" y="44322"/>
                    <a:pt x="401212" y="48931"/>
                    <a:pt x="401212" y="54623"/>
                  </a:cubicBezTo>
                  <a:cubicBezTo>
                    <a:pt x="401212" y="60316"/>
                    <a:pt x="396604" y="64786"/>
                    <a:pt x="390911" y="64786"/>
                  </a:cubicBezTo>
                  <a:close/>
                  <a:moveTo>
                    <a:pt x="476957" y="143812"/>
                  </a:moveTo>
                  <a:lnTo>
                    <a:pt x="461236" y="143812"/>
                  </a:lnTo>
                  <a:lnTo>
                    <a:pt x="461236" y="104777"/>
                  </a:lnTo>
                  <a:cubicBezTo>
                    <a:pt x="461236" y="96644"/>
                    <a:pt x="457583" y="90140"/>
                    <a:pt x="447683" y="90140"/>
                  </a:cubicBezTo>
                  <a:cubicBezTo>
                    <a:pt x="438738" y="90140"/>
                    <a:pt x="433996" y="97055"/>
                    <a:pt x="433996" y="105732"/>
                  </a:cubicBezTo>
                  <a:lnTo>
                    <a:pt x="433996" y="143817"/>
                  </a:lnTo>
                  <a:lnTo>
                    <a:pt x="418275" y="143817"/>
                  </a:lnTo>
                  <a:lnTo>
                    <a:pt x="418275" y="77794"/>
                  </a:lnTo>
                  <a:lnTo>
                    <a:pt x="433585" y="77794"/>
                  </a:lnTo>
                  <a:lnTo>
                    <a:pt x="433585" y="86610"/>
                  </a:lnTo>
                  <a:cubicBezTo>
                    <a:pt x="437922" y="79022"/>
                    <a:pt x="445782" y="75908"/>
                    <a:pt x="453103" y="75908"/>
                  </a:cubicBezTo>
                  <a:cubicBezTo>
                    <a:pt x="469235" y="75908"/>
                    <a:pt x="476957" y="87556"/>
                    <a:pt x="476957" y="102064"/>
                  </a:cubicBezTo>
                  <a:lnTo>
                    <a:pt x="476957" y="143812"/>
                  </a:lnTo>
                  <a:close/>
                  <a:moveTo>
                    <a:pt x="555534" y="115073"/>
                  </a:moveTo>
                  <a:lnTo>
                    <a:pt x="507281" y="115073"/>
                  </a:lnTo>
                  <a:cubicBezTo>
                    <a:pt x="507682" y="125101"/>
                    <a:pt x="515543" y="132294"/>
                    <a:pt x="525304" y="132294"/>
                  </a:cubicBezTo>
                  <a:cubicBezTo>
                    <a:pt x="534793" y="132294"/>
                    <a:pt x="539674" y="127274"/>
                    <a:pt x="541842" y="120770"/>
                  </a:cubicBezTo>
                  <a:lnTo>
                    <a:pt x="555123" y="124968"/>
                  </a:lnTo>
                  <a:cubicBezTo>
                    <a:pt x="551598" y="136491"/>
                    <a:pt x="541169" y="145852"/>
                    <a:pt x="525304" y="145852"/>
                  </a:cubicBezTo>
                  <a:cubicBezTo>
                    <a:pt x="507410" y="145852"/>
                    <a:pt x="491560" y="132838"/>
                    <a:pt x="491560" y="110469"/>
                  </a:cubicBezTo>
                  <a:cubicBezTo>
                    <a:pt x="491560" y="89595"/>
                    <a:pt x="507014" y="75770"/>
                    <a:pt x="523680" y="75770"/>
                  </a:cubicBezTo>
                  <a:cubicBezTo>
                    <a:pt x="544010" y="75770"/>
                    <a:pt x="555939" y="89184"/>
                    <a:pt x="555939" y="110068"/>
                  </a:cubicBezTo>
                  <a:cubicBezTo>
                    <a:pt x="555939" y="112637"/>
                    <a:pt x="555667" y="114805"/>
                    <a:pt x="555534" y="115073"/>
                  </a:cubicBezTo>
                  <a:close/>
                </a:path>
              </a:pathLst>
            </a:custGeom>
            <a:solidFill>
              <a:srgbClr val="000000"/>
            </a:solidFill>
            <a:ln w="491" cap="flat">
              <a:noFill/>
              <a:prstDash val="solid"/>
              <a:miter/>
            </a:ln>
          </p:spPr>
          <p:txBody>
            <a:bodyPr rtlCol="0" anchor="ctr"/>
            <a:lstStyle/>
            <a:p>
              <a:endParaRPr lang="en-US"/>
            </a:p>
          </p:txBody>
        </p:sp>
      </p:grpSp>
      <p:grpSp>
        <p:nvGrpSpPr>
          <p:cNvPr id="220" name="Graphic 142">
            <a:extLst>
              <a:ext uri="{FF2B5EF4-FFF2-40B4-BE49-F238E27FC236}">
                <a16:creationId xmlns:a16="http://schemas.microsoft.com/office/drawing/2014/main" id="{FEC141CE-A88A-40DB-BE8E-B420567F8B9E}"/>
              </a:ext>
            </a:extLst>
          </p:cNvPr>
          <p:cNvGrpSpPr/>
          <p:nvPr userDrawn="1">
            <p:custDataLst>
              <p:tags r:id="rId9"/>
            </p:custDataLst>
          </p:nvPr>
        </p:nvGrpSpPr>
        <p:grpSpPr>
          <a:xfrm>
            <a:off x="7879126" y="3666934"/>
            <a:ext cx="1154651" cy="198000"/>
            <a:chOff x="7528246" y="3486180"/>
            <a:chExt cx="1154651" cy="198000"/>
          </a:xfrm>
          <a:solidFill>
            <a:srgbClr val="000000"/>
          </a:solidFill>
        </p:grpSpPr>
        <p:sp>
          <p:nvSpPr>
            <p:cNvPr id="221" name="Freeform: Shape 25">
              <a:extLst>
                <a:ext uri="{FF2B5EF4-FFF2-40B4-BE49-F238E27FC236}">
                  <a16:creationId xmlns:a16="http://schemas.microsoft.com/office/drawing/2014/main" id="{D0F1A246-AB69-444E-BC66-C4DAB46FDEDC}"/>
                </a:ext>
              </a:extLst>
            </p:cNvPr>
            <p:cNvSpPr/>
            <p:nvPr/>
          </p:nvSpPr>
          <p:spPr>
            <a:xfrm>
              <a:off x="8238051" y="3576458"/>
              <a:ext cx="35511" cy="41203"/>
            </a:xfrm>
            <a:custGeom>
              <a:avLst/>
              <a:gdLst>
                <a:gd name="connsiteX0" fmla="*/ 17751 w 35511"/>
                <a:gd name="connsiteY0" fmla="*/ 0 h 41203"/>
                <a:gd name="connsiteX1" fmla="*/ 0 w 35511"/>
                <a:gd name="connsiteY1" fmla="*/ 20463 h 41203"/>
                <a:gd name="connsiteX2" fmla="*/ 17751 w 35511"/>
                <a:gd name="connsiteY2" fmla="*/ 41204 h 41203"/>
                <a:gd name="connsiteX3" fmla="*/ 35511 w 35511"/>
                <a:gd name="connsiteY3" fmla="*/ 20463 h 41203"/>
                <a:gd name="connsiteX4" fmla="*/ 17751 w 35511"/>
                <a:gd name="connsiteY4" fmla="*/ 0 h 41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1" h="41203">
                  <a:moveTo>
                    <a:pt x="17751" y="0"/>
                  </a:moveTo>
                  <a:cubicBezTo>
                    <a:pt x="7450" y="0"/>
                    <a:pt x="0" y="8133"/>
                    <a:pt x="0" y="20463"/>
                  </a:cubicBezTo>
                  <a:cubicBezTo>
                    <a:pt x="0" y="33076"/>
                    <a:pt x="7450" y="41204"/>
                    <a:pt x="17751" y="41204"/>
                  </a:cubicBezTo>
                  <a:cubicBezTo>
                    <a:pt x="28190" y="41204"/>
                    <a:pt x="35511" y="33071"/>
                    <a:pt x="35511" y="20463"/>
                  </a:cubicBezTo>
                  <a:cubicBezTo>
                    <a:pt x="35511" y="8133"/>
                    <a:pt x="28324" y="0"/>
                    <a:pt x="17751" y="0"/>
                  </a:cubicBezTo>
                  <a:close/>
                </a:path>
              </a:pathLst>
            </a:custGeom>
            <a:solidFill>
              <a:srgbClr val="000000"/>
            </a:solidFill>
            <a:ln w="494" cap="flat">
              <a:noFill/>
              <a:prstDash val="solid"/>
              <a:miter/>
            </a:ln>
          </p:spPr>
          <p:txBody>
            <a:bodyPr rtlCol="0" anchor="ctr"/>
            <a:lstStyle/>
            <a:p>
              <a:endParaRPr lang="en-US"/>
            </a:p>
          </p:txBody>
        </p:sp>
        <p:sp>
          <p:nvSpPr>
            <p:cNvPr id="222" name="Freeform: Shape 26">
              <a:extLst>
                <a:ext uri="{FF2B5EF4-FFF2-40B4-BE49-F238E27FC236}">
                  <a16:creationId xmlns:a16="http://schemas.microsoft.com/office/drawing/2014/main" id="{B21C7CEA-CA84-412A-AEFB-F62281671C66}"/>
                </a:ext>
              </a:extLst>
            </p:cNvPr>
            <p:cNvSpPr/>
            <p:nvPr/>
          </p:nvSpPr>
          <p:spPr>
            <a:xfrm>
              <a:off x="8397362" y="3576175"/>
              <a:ext cx="35511" cy="41485"/>
            </a:xfrm>
            <a:custGeom>
              <a:avLst/>
              <a:gdLst>
                <a:gd name="connsiteX0" fmla="*/ 17751 w 35511"/>
                <a:gd name="connsiteY0" fmla="*/ 0 h 41485"/>
                <a:gd name="connsiteX1" fmla="*/ 0 w 35511"/>
                <a:gd name="connsiteY1" fmla="*/ 20602 h 41485"/>
                <a:gd name="connsiteX2" fmla="*/ 17751 w 35511"/>
                <a:gd name="connsiteY2" fmla="*/ 41486 h 41485"/>
                <a:gd name="connsiteX3" fmla="*/ 35511 w 35511"/>
                <a:gd name="connsiteY3" fmla="*/ 20602 h 41485"/>
                <a:gd name="connsiteX4" fmla="*/ 17751 w 35511"/>
                <a:gd name="connsiteY4" fmla="*/ 0 h 41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1" h="41485">
                  <a:moveTo>
                    <a:pt x="17751" y="0"/>
                  </a:moveTo>
                  <a:cubicBezTo>
                    <a:pt x="7722" y="0"/>
                    <a:pt x="0" y="7460"/>
                    <a:pt x="0" y="20602"/>
                  </a:cubicBezTo>
                  <a:cubicBezTo>
                    <a:pt x="0" y="33615"/>
                    <a:pt x="7722" y="41486"/>
                    <a:pt x="17751" y="41486"/>
                  </a:cubicBezTo>
                  <a:cubicBezTo>
                    <a:pt x="28052" y="41486"/>
                    <a:pt x="35511" y="33615"/>
                    <a:pt x="35511" y="20602"/>
                  </a:cubicBezTo>
                  <a:cubicBezTo>
                    <a:pt x="35511" y="7460"/>
                    <a:pt x="28195" y="0"/>
                    <a:pt x="17751" y="0"/>
                  </a:cubicBezTo>
                  <a:close/>
                </a:path>
              </a:pathLst>
            </a:custGeom>
            <a:solidFill>
              <a:srgbClr val="000000"/>
            </a:solidFill>
            <a:ln w="494" cap="flat">
              <a:noFill/>
              <a:prstDash val="solid"/>
              <a:miter/>
            </a:ln>
          </p:spPr>
          <p:txBody>
            <a:bodyPr rtlCol="0" anchor="ctr"/>
            <a:lstStyle/>
            <a:p>
              <a:endParaRPr lang="en-US"/>
            </a:p>
          </p:txBody>
        </p:sp>
        <p:sp>
          <p:nvSpPr>
            <p:cNvPr id="223" name="Freeform: Shape 27">
              <a:extLst>
                <a:ext uri="{FF2B5EF4-FFF2-40B4-BE49-F238E27FC236}">
                  <a16:creationId xmlns:a16="http://schemas.microsoft.com/office/drawing/2014/main" id="{30EB1EC7-EF0D-44E1-97A3-9B913C9F6CE8}"/>
                </a:ext>
              </a:extLst>
            </p:cNvPr>
            <p:cNvSpPr/>
            <p:nvPr/>
          </p:nvSpPr>
          <p:spPr>
            <a:xfrm>
              <a:off x="8159064" y="3575091"/>
              <a:ext cx="32392" cy="14637"/>
            </a:xfrm>
            <a:custGeom>
              <a:avLst/>
              <a:gdLst>
                <a:gd name="connsiteX0" fmla="*/ 16132 w 32392"/>
                <a:gd name="connsiteY0" fmla="*/ 0 h 14637"/>
                <a:gd name="connsiteX1" fmla="*/ 0 w 32392"/>
                <a:gd name="connsiteY1" fmla="*/ 14637 h 14637"/>
                <a:gd name="connsiteX2" fmla="*/ 32393 w 32392"/>
                <a:gd name="connsiteY2" fmla="*/ 14637 h 14637"/>
                <a:gd name="connsiteX3" fmla="*/ 16132 w 32392"/>
                <a:gd name="connsiteY3" fmla="*/ 0 h 14637"/>
              </a:gdLst>
              <a:ahLst/>
              <a:cxnLst>
                <a:cxn ang="0">
                  <a:pos x="connsiteX0" y="connsiteY0"/>
                </a:cxn>
                <a:cxn ang="0">
                  <a:pos x="connsiteX1" y="connsiteY1"/>
                </a:cxn>
                <a:cxn ang="0">
                  <a:pos x="connsiteX2" y="connsiteY2"/>
                </a:cxn>
                <a:cxn ang="0">
                  <a:pos x="connsiteX3" y="connsiteY3"/>
                </a:cxn>
              </a:cxnLst>
              <a:rect l="l" t="t" r="r" b="b"/>
              <a:pathLst>
                <a:path w="32392" h="14637">
                  <a:moveTo>
                    <a:pt x="16132" y="0"/>
                  </a:moveTo>
                  <a:cubicBezTo>
                    <a:pt x="6237" y="0"/>
                    <a:pt x="544" y="7588"/>
                    <a:pt x="0" y="14637"/>
                  </a:cubicBezTo>
                  <a:lnTo>
                    <a:pt x="32393" y="14637"/>
                  </a:lnTo>
                  <a:cubicBezTo>
                    <a:pt x="32126" y="6920"/>
                    <a:pt x="26973" y="0"/>
                    <a:pt x="16132" y="0"/>
                  </a:cubicBezTo>
                  <a:close/>
                </a:path>
              </a:pathLst>
            </a:custGeom>
            <a:solidFill>
              <a:srgbClr val="000000"/>
            </a:solidFill>
            <a:ln w="494" cap="flat">
              <a:noFill/>
              <a:prstDash val="solid"/>
              <a:miter/>
            </a:ln>
          </p:spPr>
          <p:txBody>
            <a:bodyPr rtlCol="0" anchor="ctr"/>
            <a:lstStyle/>
            <a:p>
              <a:endParaRPr lang="en-US"/>
            </a:p>
          </p:txBody>
        </p:sp>
        <p:sp>
          <p:nvSpPr>
            <p:cNvPr id="224" name="Freeform: Shape 28">
              <a:extLst>
                <a:ext uri="{FF2B5EF4-FFF2-40B4-BE49-F238E27FC236}">
                  <a16:creationId xmlns:a16="http://schemas.microsoft.com/office/drawing/2014/main" id="{A6851347-FCF8-4F07-AF09-A48E3AFFAFF6}"/>
                </a:ext>
              </a:extLst>
            </p:cNvPr>
            <p:cNvSpPr/>
            <p:nvPr/>
          </p:nvSpPr>
          <p:spPr>
            <a:xfrm>
              <a:off x="7749669" y="3576175"/>
              <a:ext cx="36867" cy="41743"/>
            </a:xfrm>
            <a:custGeom>
              <a:avLst/>
              <a:gdLst>
                <a:gd name="connsiteX0" fmla="*/ 18434 w 36867"/>
                <a:gd name="connsiteY0" fmla="*/ 0 h 41743"/>
                <a:gd name="connsiteX1" fmla="*/ 0 w 36867"/>
                <a:gd name="connsiteY1" fmla="*/ 20741 h 41743"/>
                <a:gd name="connsiteX2" fmla="*/ 18434 w 36867"/>
                <a:gd name="connsiteY2" fmla="*/ 41743 h 41743"/>
                <a:gd name="connsiteX3" fmla="*/ 36868 w 36867"/>
                <a:gd name="connsiteY3" fmla="*/ 20741 h 41743"/>
                <a:gd name="connsiteX4" fmla="*/ 18434 w 36867"/>
                <a:gd name="connsiteY4" fmla="*/ 0 h 4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7" h="41743">
                  <a:moveTo>
                    <a:pt x="18434" y="0"/>
                  </a:moveTo>
                  <a:cubicBezTo>
                    <a:pt x="8811" y="0"/>
                    <a:pt x="0" y="7049"/>
                    <a:pt x="0" y="20741"/>
                  </a:cubicBezTo>
                  <a:cubicBezTo>
                    <a:pt x="0" y="34432"/>
                    <a:pt x="8811" y="41743"/>
                    <a:pt x="18434" y="41743"/>
                  </a:cubicBezTo>
                  <a:cubicBezTo>
                    <a:pt x="28195" y="41743"/>
                    <a:pt x="36868" y="34566"/>
                    <a:pt x="36868" y="20741"/>
                  </a:cubicBezTo>
                  <a:cubicBezTo>
                    <a:pt x="36868" y="7049"/>
                    <a:pt x="28195" y="0"/>
                    <a:pt x="18434" y="0"/>
                  </a:cubicBezTo>
                  <a:close/>
                </a:path>
              </a:pathLst>
            </a:custGeom>
            <a:solidFill>
              <a:srgbClr val="000000"/>
            </a:solidFill>
            <a:ln w="494" cap="flat">
              <a:noFill/>
              <a:prstDash val="solid"/>
              <a:miter/>
            </a:ln>
          </p:spPr>
          <p:txBody>
            <a:bodyPr rtlCol="0" anchor="ctr"/>
            <a:lstStyle/>
            <a:p>
              <a:endParaRPr lang="en-US"/>
            </a:p>
          </p:txBody>
        </p:sp>
        <p:sp>
          <p:nvSpPr>
            <p:cNvPr id="225" name="Freeform: Shape 29">
              <a:extLst>
                <a:ext uri="{FF2B5EF4-FFF2-40B4-BE49-F238E27FC236}">
                  <a16:creationId xmlns:a16="http://schemas.microsoft.com/office/drawing/2014/main" id="{6115F350-4659-4222-BCC3-16F9C60E4F53}"/>
                </a:ext>
              </a:extLst>
            </p:cNvPr>
            <p:cNvSpPr/>
            <p:nvPr/>
          </p:nvSpPr>
          <p:spPr>
            <a:xfrm>
              <a:off x="8083744" y="3548267"/>
              <a:ext cx="34021" cy="29407"/>
            </a:xfrm>
            <a:custGeom>
              <a:avLst/>
              <a:gdLst>
                <a:gd name="connsiteX0" fmla="*/ 17483 w 34021"/>
                <a:gd name="connsiteY0" fmla="*/ 0 h 29407"/>
                <a:gd name="connsiteX1" fmla="*/ 0 w 34021"/>
                <a:gd name="connsiteY1" fmla="*/ 0 h 29407"/>
                <a:gd name="connsiteX2" fmla="*/ 0 w 34021"/>
                <a:gd name="connsiteY2" fmla="*/ 29408 h 29407"/>
                <a:gd name="connsiteX3" fmla="*/ 17483 w 34021"/>
                <a:gd name="connsiteY3" fmla="*/ 29408 h 29407"/>
                <a:gd name="connsiteX4" fmla="*/ 34021 w 34021"/>
                <a:gd name="connsiteY4" fmla="*/ 14771 h 29407"/>
                <a:gd name="connsiteX5" fmla="*/ 17483 w 34021"/>
                <a:gd name="connsiteY5" fmla="*/ 0 h 2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1" h="29407">
                  <a:moveTo>
                    <a:pt x="17483" y="0"/>
                  </a:moveTo>
                  <a:lnTo>
                    <a:pt x="0" y="0"/>
                  </a:lnTo>
                  <a:lnTo>
                    <a:pt x="0" y="29408"/>
                  </a:lnTo>
                  <a:lnTo>
                    <a:pt x="17483" y="29408"/>
                  </a:lnTo>
                  <a:cubicBezTo>
                    <a:pt x="27512" y="29408"/>
                    <a:pt x="34021" y="23577"/>
                    <a:pt x="34021" y="14771"/>
                  </a:cubicBezTo>
                  <a:cubicBezTo>
                    <a:pt x="34021" y="5821"/>
                    <a:pt x="27517" y="0"/>
                    <a:pt x="17483" y="0"/>
                  </a:cubicBezTo>
                  <a:close/>
                </a:path>
              </a:pathLst>
            </a:custGeom>
            <a:solidFill>
              <a:srgbClr val="000000"/>
            </a:solidFill>
            <a:ln w="494" cap="flat">
              <a:noFill/>
              <a:prstDash val="solid"/>
              <a:miter/>
            </a:ln>
          </p:spPr>
          <p:txBody>
            <a:bodyPr rtlCol="0" anchor="ctr"/>
            <a:lstStyle/>
            <a:p>
              <a:endParaRPr lang="en-US"/>
            </a:p>
          </p:txBody>
        </p:sp>
        <p:sp>
          <p:nvSpPr>
            <p:cNvPr id="226" name="Freeform: Shape 30">
              <a:extLst>
                <a:ext uri="{FF2B5EF4-FFF2-40B4-BE49-F238E27FC236}">
                  <a16:creationId xmlns:a16="http://schemas.microsoft.com/office/drawing/2014/main" id="{BC04C076-574C-4472-871E-E0312D6E47F4}"/>
                </a:ext>
              </a:extLst>
            </p:cNvPr>
            <p:cNvSpPr/>
            <p:nvPr/>
          </p:nvSpPr>
          <p:spPr>
            <a:xfrm>
              <a:off x="7898144" y="3599633"/>
              <a:ext cx="26022" cy="20057"/>
            </a:xfrm>
            <a:custGeom>
              <a:avLst/>
              <a:gdLst>
                <a:gd name="connsiteX0" fmla="*/ 0 w 26022"/>
                <a:gd name="connsiteY0" fmla="*/ 11524 h 20057"/>
                <a:gd name="connsiteX1" fmla="*/ 9628 w 26022"/>
                <a:gd name="connsiteY1" fmla="*/ 20057 h 20057"/>
                <a:gd name="connsiteX2" fmla="*/ 26022 w 26022"/>
                <a:gd name="connsiteY2" fmla="*/ 2980 h 20057"/>
                <a:gd name="connsiteX3" fmla="*/ 26022 w 26022"/>
                <a:gd name="connsiteY3" fmla="*/ 0 h 20057"/>
                <a:gd name="connsiteX4" fmla="*/ 8811 w 26022"/>
                <a:gd name="connsiteY4" fmla="*/ 2569 h 20057"/>
                <a:gd name="connsiteX5" fmla="*/ 0 w 26022"/>
                <a:gd name="connsiteY5" fmla="*/ 1152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24"/>
                  </a:moveTo>
                  <a:cubicBezTo>
                    <a:pt x="0" y="15993"/>
                    <a:pt x="3396" y="20057"/>
                    <a:pt x="9628" y="20057"/>
                  </a:cubicBezTo>
                  <a:cubicBezTo>
                    <a:pt x="18434" y="20057"/>
                    <a:pt x="26022" y="15860"/>
                    <a:pt x="26022" y="2980"/>
                  </a:cubicBezTo>
                  <a:lnTo>
                    <a:pt x="26022" y="0"/>
                  </a:lnTo>
                  <a:lnTo>
                    <a:pt x="8811" y="2569"/>
                  </a:lnTo>
                  <a:cubicBezTo>
                    <a:pt x="3935" y="3391"/>
                    <a:pt x="0" y="6103"/>
                    <a:pt x="0" y="11524"/>
                  </a:cubicBezTo>
                  <a:close/>
                </a:path>
              </a:pathLst>
            </a:custGeom>
            <a:solidFill>
              <a:srgbClr val="000000"/>
            </a:solidFill>
            <a:ln w="494" cap="flat">
              <a:noFill/>
              <a:prstDash val="solid"/>
              <a:miter/>
            </a:ln>
          </p:spPr>
          <p:txBody>
            <a:bodyPr rtlCol="0" anchor="ctr"/>
            <a:lstStyle/>
            <a:p>
              <a:endParaRPr lang="en-US"/>
            </a:p>
          </p:txBody>
        </p:sp>
        <p:sp>
          <p:nvSpPr>
            <p:cNvPr id="227" name="Freeform: Shape 95">
              <a:extLst>
                <a:ext uri="{FF2B5EF4-FFF2-40B4-BE49-F238E27FC236}">
                  <a16:creationId xmlns:a16="http://schemas.microsoft.com/office/drawing/2014/main" id="{E214115A-BA1C-41E9-B5E5-41B9125F10B2}"/>
                </a:ext>
              </a:extLst>
            </p:cNvPr>
            <p:cNvSpPr/>
            <p:nvPr/>
          </p:nvSpPr>
          <p:spPr>
            <a:xfrm>
              <a:off x="7528246" y="3486180"/>
              <a:ext cx="1154651" cy="198000"/>
            </a:xfrm>
            <a:custGeom>
              <a:avLst/>
              <a:gdLst>
                <a:gd name="connsiteX0" fmla="*/ 1055652 w 1154651"/>
                <a:gd name="connsiteY0" fmla="*/ 0 h 198000"/>
                <a:gd name="connsiteX1" fmla="*/ 99000 w 1154651"/>
                <a:gd name="connsiteY1" fmla="*/ 0 h 198000"/>
                <a:gd name="connsiteX2" fmla="*/ 0 w 1154651"/>
                <a:gd name="connsiteY2" fmla="*/ 99000 h 198000"/>
                <a:gd name="connsiteX3" fmla="*/ 99000 w 1154651"/>
                <a:gd name="connsiteY3" fmla="*/ 198000 h 198000"/>
                <a:gd name="connsiteX4" fmla="*/ 1055652 w 1154651"/>
                <a:gd name="connsiteY4" fmla="*/ 198000 h 198000"/>
                <a:gd name="connsiteX5" fmla="*/ 1154652 w 1154651"/>
                <a:gd name="connsiteY5" fmla="*/ 99000 h 198000"/>
                <a:gd name="connsiteX6" fmla="*/ 1055652 w 1154651"/>
                <a:gd name="connsiteY6" fmla="*/ 0 h 198000"/>
                <a:gd name="connsiteX7" fmla="*/ 125116 w 1154651"/>
                <a:gd name="connsiteY7" fmla="*/ 145842 h 198000"/>
                <a:gd name="connsiteX8" fmla="*/ 87976 w 1154651"/>
                <a:gd name="connsiteY8" fmla="*/ 116305 h 198000"/>
                <a:gd name="connsiteX9" fmla="*/ 103158 w 1154651"/>
                <a:gd name="connsiteY9" fmla="*/ 111969 h 198000"/>
                <a:gd name="connsiteX10" fmla="*/ 125116 w 1154651"/>
                <a:gd name="connsiteY10" fmla="*/ 131205 h 198000"/>
                <a:gd name="connsiteX11" fmla="*/ 142595 w 1154651"/>
                <a:gd name="connsiteY11" fmla="*/ 117929 h 198000"/>
                <a:gd name="connsiteX12" fmla="*/ 129725 w 1154651"/>
                <a:gd name="connsiteY12" fmla="*/ 104915 h 198000"/>
                <a:gd name="connsiteX13" fmla="*/ 116172 w 1154651"/>
                <a:gd name="connsiteY13" fmla="*/ 102064 h 198000"/>
                <a:gd name="connsiteX14" fmla="*/ 91773 w 1154651"/>
                <a:gd name="connsiteY14" fmla="*/ 75096 h 198000"/>
                <a:gd name="connsiteX15" fmla="*/ 124433 w 1154651"/>
                <a:gd name="connsiteY15" fmla="*/ 45679 h 198000"/>
                <a:gd name="connsiteX16" fmla="*/ 158049 w 1154651"/>
                <a:gd name="connsiteY16" fmla="*/ 70216 h 198000"/>
                <a:gd name="connsiteX17" fmla="*/ 143411 w 1154651"/>
                <a:gd name="connsiteY17" fmla="*/ 74814 h 198000"/>
                <a:gd name="connsiteX18" fmla="*/ 124577 w 1154651"/>
                <a:gd name="connsiteY18" fmla="*/ 60044 h 198000"/>
                <a:gd name="connsiteX19" fmla="*/ 108039 w 1154651"/>
                <a:gd name="connsiteY19" fmla="*/ 73869 h 198000"/>
                <a:gd name="connsiteX20" fmla="*/ 119285 w 1154651"/>
                <a:gd name="connsiteY20" fmla="*/ 86199 h 198000"/>
                <a:gd name="connsiteX21" fmla="*/ 133110 w 1154651"/>
                <a:gd name="connsiteY21" fmla="*/ 89051 h 198000"/>
                <a:gd name="connsiteX22" fmla="*/ 159133 w 1154651"/>
                <a:gd name="connsiteY22" fmla="*/ 116701 h 198000"/>
                <a:gd name="connsiteX23" fmla="*/ 125116 w 1154651"/>
                <a:gd name="connsiteY23" fmla="*/ 145842 h 198000"/>
                <a:gd name="connsiteX24" fmla="*/ 190402 w 1154651"/>
                <a:gd name="connsiteY24" fmla="*/ 143812 h 198000"/>
                <a:gd name="connsiteX25" fmla="*/ 174681 w 1154651"/>
                <a:gd name="connsiteY25" fmla="*/ 143812 h 198000"/>
                <a:gd name="connsiteX26" fmla="*/ 174681 w 1154651"/>
                <a:gd name="connsiteY26" fmla="*/ 45679 h 198000"/>
                <a:gd name="connsiteX27" fmla="*/ 190402 w 1154651"/>
                <a:gd name="connsiteY27" fmla="*/ 45679 h 198000"/>
                <a:gd name="connsiteX28" fmla="*/ 190402 w 1154651"/>
                <a:gd name="connsiteY28" fmla="*/ 143812 h 198000"/>
                <a:gd name="connsiteX29" fmla="*/ 239857 w 1154651"/>
                <a:gd name="connsiteY29" fmla="*/ 145842 h 198000"/>
                <a:gd name="connsiteX30" fmla="*/ 205702 w 1154651"/>
                <a:gd name="connsiteY30" fmla="*/ 110741 h 198000"/>
                <a:gd name="connsiteX31" fmla="*/ 239857 w 1154651"/>
                <a:gd name="connsiteY31" fmla="*/ 75770 h 198000"/>
                <a:gd name="connsiteX32" fmla="*/ 274151 w 1154651"/>
                <a:gd name="connsiteY32" fmla="*/ 110741 h 198000"/>
                <a:gd name="connsiteX33" fmla="*/ 239857 w 1154651"/>
                <a:gd name="connsiteY33" fmla="*/ 145842 h 198000"/>
                <a:gd name="connsiteX34" fmla="*/ 322097 w 1154651"/>
                <a:gd name="connsiteY34" fmla="*/ 143812 h 198000"/>
                <a:gd name="connsiteX35" fmla="*/ 306375 w 1154651"/>
                <a:gd name="connsiteY35" fmla="*/ 143812 h 198000"/>
                <a:gd name="connsiteX36" fmla="*/ 279536 w 1154651"/>
                <a:gd name="connsiteY36" fmla="*/ 77809 h 198000"/>
                <a:gd name="connsiteX37" fmla="*/ 296886 w 1154651"/>
                <a:gd name="connsiteY37" fmla="*/ 77809 h 198000"/>
                <a:gd name="connsiteX38" fmla="*/ 314365 w 1154651"/>
                <a:gd name="connsiteY38" fmla="*/ 124978 h 198000"/>
                <a:gd name="connsiteX39" fmla="*/ 331442 w 1154651"/>
                <a:gd name="connsiteY39" fmla="*/ 77809 h 198000"/>
                <a:gd name="connsiteX40" fmla="*/ 347980 w 1154651"/>
                <a:gd name="connsiteY40" fmla="*/ 77809 h 198000"/>
                <a:gd name="connsiteX41" fmla="*/ 322097 w 1154651"/>
                <a:gd name="connsiteY41" fmla="*/ 143812 h 198000"/>
                <a:gd name="connsiteX42" fmla="*/ 397549 w 1154651"/>
                <a:gd name="connsiteY42" fmla="*/ 143812 h 198000"/>
                <a:gd name="connsiteX43" fmla="*/ 396876 w 1154651"/>
                <a:gd name="connsiteY43" fmla="*/ 135407 h 198000"/>
                <a:gd name="connsiteX44" fmla="*/ 376547 w 1154651"/>
                <a:gd name="connsiteY44" fmla="*/ 145842 h 198000"/>
                <a:gd name="connsiteX45" fmla="*/ 354177 w 1154651"/>
                <a:gd name="connsiteY45" fmla="*/ 125923 h 198000"/>
                <a:gd name="connsiteX46" fmla="*/ 374106 w 1154651"/>
                <a:gd name="connsiteY46" fmla="*/ 106004 h 198000"/>
                <a:gd name="connsiteX47" fmla="*/ 391045 w 1154651"/>
                <a:gd name="connsiteY47" fmla="*/ 103425 h 198000"/>
                <a:gd name="connsiteX48" fmla="*/ 395926 w 1154651"/>
                <a:gd name="connsiteY48" fmla="*/ 98678 h 198000"/>
                <a:gd name="connsiteX49" fmla="*/ 383457 w 1154651"/>
                <a:gd name="connsiteY49" fmla="*/ 88659 h 198000"/>
                <a:gd name="connsiteX50" fmla="*/ 369904 w 1154651"/>
                <a:gd name="connsiteY50" fmla="*/ 100589 h 198000"/>
                <a:gd name="connsiteX51" fmla="*/ 355534 w 1154651"/>
                <a:gd name="connsiteY51" fmla="*/ 97337 h 198000"/>
                <a:gd name="connsiteX52" fmla="*/ 383323 w 1154651"/>
                <a:gd name="connsiteY52" fmla="*/ 75780 h 198000"/>
                <a:gd name="connsiteX53" fmla="*/ 411375 w 1154651"/>
                <a:gd name="connsiteY53" fmla="*/ 100450 h 198000"/>
                <a:gd name="connsiteX54" fmla="*/ 411375 w 1154651"/>
                <a:gd name="connsiteY54" fmla="*/ 133254 h 198000"/>
                <a:gd name="connsiteX55" fmla="*/ 412187 w 1154651"/>
                <a:gd name="connsiteY55" fmla="*/ 143827 h 198000"/>
                <a:gd name="connsiteX56" fmla="*/ 397549 w 1154651"/>
                <a:gd name="connsiteY56" fmla="*/ 143827 h 198000"/>
                <a:gd name="connsiteX57" fmla="*/ 473418 w 1154651"/>
                <a:gd name="connsiteY57" fmla="*/ 143812 h 198000"/>
                <a:gd name="connsiteX58" fmla="*/ 454039 w 1154651"/>
                <a:gd name="connsiteY58" fmla="*/ 116845 h 198000"/>
                <a:gd name="connsiteX59" fmla="*/ 445906 w 1154651"/>
                <a:gd name="connsiteY59" fmla="*/ 125379 h 198000"/>
                <a:gd name="connsiteX60" fmla="*/ 445906 w 1154651"/>
                <a:gd name="connsiteY60" fmla="*/ 143812 h 198000"/>
                <a:gd name="connsiteX61" fmla="*/ 430313 w 1154651"/>
                <a:gd name="connsiteY61" fmla="*/ 143812 h 198000"/>
                <a:gd name="connsiteX62" fmla="*/ 430313 w 1154651"/>
                <a:gd name="connsiteY62" fmla="*/ 45679 h 198000"/>
                <a:gd name="connsiteX63" fmla="*/ 445906 w 1154651"/>
                <a:gd name="connsiteY63" fmla="*/ 45679 h 198000"/>
                <a:gd name="connsiteX64" fmla="*/ 445906 w 1154651"/>
                <a:gd name="connsiteY64" fmla="*/ 104504 h 198000"/>
                <a:gd name="connsiteX65" fmla="*/ 471250 w 1154651"/>
                <a:gd name="connsiteY65" fmla="*/ 77809 h 198000"/>
                <a:gd name="connsiteX66" fmla="*/ 492124 w 1154651"/>
                <a:gd name="connsiteY66" fmla="*/ 77809 h 198000"/>
                <a:gd name="connsiteX67" fmla="*/ 465018 w 1154651"/>
                <a:gd name="connsiteY67" fmla="*/ 105722 h 198000"/>
                <a:gd name="connsiteX68" fmla="*/ 492669 w 1154651"/>
                <a:gd name="connsiteY68" fmla="*/ 143812 h 198000"/>
                <a:gd name="connsiteX69" fmla="*/ 473418 w 1154651"/>
                <a:gd name="connsiteY69" fmla="*/ 143812 h 198000"/>
                <a:gd name="connsiteX70" fmla="*/ 606058 w 1154651"/>
                <a:gd name="connsiteY70" fmla="*/ 143812 h 198000"/>
                <a:gd name="connsiteX71" fmla="*/ 587624 w 1154651"/>
                <a:gd name="connsiteY71" fmla="*/ 143812 h 198000"/>
                <a:gd name="connsiteX72" fmla="*/ 567428 w 1154651"/>
                <a:gd name="connsiteY72" fmla="*/ 105861 h 198000"/>
                <a:gd name="connsiteX73" fmla="*/ 555499 w 1154651"/>
                <a:gd name="connsiteY73" fmla="*/ 105861 h 198000"/>
                <a:gd name="connsiteX74" fmla="*/ 555499 w 1154651"/>
                <a:gd name="connsiteY74" fmla="*/ 143812 h 198000"/>
                <a:gd name="connsiteX75" fmla="*/ 539100 w 1154651"/>
                <a:gd name="connsiteY75" fmla="*/ 143812 h 198000"/>
                <a:gd name="connsiteX76" fmla="*/ 539100 w 1154651"/>
                <a:gd name="connsiteY76" fmla="*/ 47708 h 198000"/>
                <a:gd name="connsiteX77" fmla="*/ 575967 w 1154651"/>
                <a:gd name="connsiteY77" fmla="*/ 47708 h 198000"/>
                <a:gd name="connsiteX78" fmla="*/ 606058 w 1154651"/>
                <a:gd name="connsiteY78" fmla="*/ 76854 h 198000"/>
                <a:gd name="connsiteX79" fmla="*/ 584372 w 1154651"/>
                <a:gd name="connsiteY79" fmla="*/ 104232 h 198000"/>
                <a:gd name="connsiteX80" fmla="*/ 606058 w 1154651"/>
                <a:gd name="connsiteY80" fmla="*/ 143812 h 198000"/>
                <a:gd name="connsiteX81" fmla="*/ 678665 w 1154651"/>
                <a:gd name="connsiteY81" fmla="*/ 115078 h 198000"/>
                <a:gd name="connsiteX82" fmla="*/ 630412 w 1154651"/>
                <a:gd name="connsiteY82" fmla="*/ 115078 h 198000"/>
                <a:gd name="connsiteX83" fmla="*/ 648440 w 1154651"/>
                <a:gd name="connsiteY83" fmla="*/ 132289 h 198000"/>
                <a:gd name="connsiteX84" fmla="*/ 664978 w 1154651"/>
                <a:gd name="connsiteY84" fmla="*/ 120770 h 198000"/>
                <a:gd name="connsiteX85" fmla="*/ 678259 w 1154651"/>
                <a:gd name="connsiteY85" fmla="*/ 124978 h 198000"/>
                <a:gd name="connsiteX86" fmla="*/ 648440 w 1154651"/>
                <a:gd name="connsiteY86" fmla="*/ 145842 h 198000"/>
                <a:gd name="connsiteX87" fmla="*/ 614691 w 1154651"/>
                <a:gd name="connsiteY87" fmla="*/ 110469 h 198000"/>
                <a:gd name="connsiteX88" fmla="*/ 646817 w 1154651"/>
                <a:gd name="connsiteY88" fmla="*/ 75770 h 198000"/>
                <a:gd name="connsiteX89" fmla="*/ 679076 w 1154651"/>
                <a:gd name="connsiteY89" fmla="*/ 110058 h 198000"/>
                <a:gd name="connsiteX90" fmla="*/ 678665 w 1154651"/>
                <a:gd name="connsiteY90" fmla="*/ 115078 h 198000"/>
                <a:gd name="connsiteX91" fmla="*/ 729996 w 1154651"/>
                <a:gd name="connsiteY91" fmla="*/ 145441 h 198000"/>
                <a:gd name="connsiteX92" fmla="*/ 709934 w 1154651"/>
                <a:gd name="connsiteY92" fmla="*/ 136363 h 198000"/>
                <a:gd name="connsiteX93" fmla="*/ 709934 w 1154651"/>
                <a:gd name="connsiteY93" fmla="*/ 169567 h 198000"/>
                <a:gd name="connsiteX94" fmla="*/ 694351 w 1154651"/>
                <a:gd name="connsiteY94" fmla="*/ 169567 h 198000"/>
                <a:gd name="connsiteX95" fmla="*/ 694351 w 1154651"/>
                <a:gd name="connsiteY95" fmla="*/ 77809 h 198000"/>
                <a:gd name="connsiteX96" fmla="*/ 709533 w 1154651"/>
                <a:gd name="connsiteY96" fmla="*/ 77809 h 198000"/>
                <a:gd name="connsiteX97" fmla="*/ 709533 w 1154651"/>
                <a:gd name="connsiteY97" fmla="*/ 86744 h 198000"/>
                <a:gd name="connsiteX98" fmla="*/ 730536 w 1154651"/>
                <a:gd name="connsiteY98" fmla="*/ 76314 h 198000"/>
                <a:gd name="connsiteX99" fmla="*/ 761038 w 1154651"/>
                <a:gd name="connsiteY99" fmla="*/ 110741 h 198000"/>
                <a:gd name="connsiteX100" fmla="*/ 729996 w 1154651"/>
                <a:gd name="connsiteY100" fmla="*/ 145441 h 198000"/>
                <a:gd name="connsiteX101" fmla="*/ 819953 w 1154651"/>
                <a:gd name="connsiteY101" fmla="*/ 143812 h 198000"/>
                <a:gd name="connsiteX102" fmla="*/ 819408 w 1154651"/>
                <a:gd name="connsiteY102" fmla="*/ 136491 h 198000"/>
                <a:gd name="connsiteX103" fmla="*/ 800702 w 1154651"/>
                <a:gd name="connsiteY103" fmla="*/ 145708 h 198000"/>
                <a:gd name="connsiteX104" fmla="*/ 775764 w 1154651"/>
                <a:gd name="connsiteY104" fmla="*/ 119414 h 198000"/>
                <a:gd name="connsiteX105" fmla="*/ 775764 w 1154651"/>
                <a:gd name="connsiteY105" fmla="*/ 77809 h 198000"/>
                <a:gd name="connsiteX106" fmla="*/ 791485 w 1154651"/>
                <a:gd name="connsiteY106" fmla="*/ 77809 h 198000"/>
                <a:gd name="connsiteX107" fmla="*/ 791485 w 1154651"/>
                <a:gd name="connsiteY107" fmla="*/ 116563 h 198000"/>
                <a:gd name="connsiteX108" fmla="*/ 804766 w 1154651"/>
                <a:gd name="connsiteY108" fmla="*/ 131611 h 198000"/>
                <a:gd name="connsiteX109" fmla="*/ 818591 w 1154651"/>
                <a:gd name="connsiteY109" fmla="*/ 116840 h 198000"/>
                <a:gd name="connsiteX110" fmla="*/ 818591 w 1154651"/>
                <a:gd name="connsiteY110" fmla="*/ 77804 h 198000"/>
                <a:gd name="connsiteX111" fmla="*/ 834313 w 1154651"/>
                <a:gd name="connsiteY111" fmla="*/ 77804 h 198000"/>
                <a:gd name="connsiteX112" fmla="*/ 834313 w 1154651"/>
                <a:gd name="connsiteY112" fmla="*/ 131739 h 198000"/>
                <a:gd name="connsiteX113" fmla="*/ 834991 w 1154651"/>
                <a:gd name="connsiteY113" fmla="*/ 143807 h 198000"/>
                <a:gd name="connsiteX114" fmla="*/ 819953 w 1154651"/>
                <a:gd name="connsiteY114" fmla="*/ 143807 h 198000"/>
                <a:gd name="connsiteX115" fmla="*/ 889451 w 1154651"/>
                <a:gd name="connsiteY115" fmla="*/ 145441 h 198000"/>
                <a:gd name="connsiteX116" fmla="*/ 869121 w 1154651"/>
                <a:gd name="connsiteY116" fmla="*/ 135001 h 198000"/>
                <a:gd name="connsiteX117" fmla="*/ 869121 w 1154651"/>
                <a:gd name="connsiteY117" fmla="*/ 143817 h 198000"/>
                <a:gd name="connsiteX118" fmla="*/ 853801 w 1154651"/>
                <a:gd name="connsiteY118" fmla="*/ 143817 h 198000"/>
                <a:gd name="connsiteX119" fmla="*/ 853801 w 1154651"/>
                <a:gd name="connsiteY119" fmla="*/ 45679 h 198000"/>
                <a:gd name="connsiteX120" fmla="*/ 869255 w 1154651"/>
                <a:gd name="connsiteY120" fmla="*/ 45679 h 198000"/>
                <a:gd name="connsiteX121" fmla="*/ 869255 w 1154651"/>
                <a:gd name="connsiteY121" fmla="*/ 85942 h 198000"/>
                <a:gd name="connsiteX122" fmla="*/ 889995 w 1154651"/>
                <a:gd name="connsiteY122" fmla="*/ 76042 h 198000"/>
                <a:gd name="connsiteX123" fmla="*/ 920487 w 1154651"/>
                <a:gd name="connsiteY123" fmla="*/ 110469 h 198000"/>
                <a:gd name="connsiteX124" fmla="*/ 889451 w 1154651"/>
                <a:gd name="connsiteY124" fmla="*/ 145441 h 198000"/>
                <a:gd name="connsiteX125" fmla="*/ 951618 w 1154651"/>
                <a:gd name="connsiteY125" fmla="*/ 143812 h 198000"/>
                <a:gd name="connsiteX126" fmla="*/ 935897 w 1154651"/>
                <a:gd name="connsiteY126" fmla="*/ 143812 h 198000"/>
                <a:gd name="connsiteX127" fmla="*/ 935897 w 1154651"/>
                <a:gd name="connsiteY127" fmla="*/ 45679 h 198000"/>
                <a:gd name="connsiteX128" fmla="*/ 951618 w 1154651"/>
                <a:gd name="connsiteY128" fmla="*/ 45679 h 198000"/>
                <a:gd name="connsiteX129" fmla="*/ 951618 w 1154651"/>
                <a:gd name="connsiteY129" fmla="*/ 143812 h 198000"/>
                <a:gd name="connsiteX130" fmla="*/ 986703 w 1154651"/>
                <a:gd name="connsiteY130" fmla="*/ 143812 h 198000"/>
                <a:gd name="connsiteX131" fmla="*/ 971116 w 1154651"/>
                <a:gd name="connsiteY131" fmla="*/ 143812 h 198000"/>
                <a:gd name="connsiteX132" fmla="*/ 971116 w 1154651"/>
                <a:gd name="connsiteY132" fmla="*/ 77809 h 198000"/>
                <a:gd name="connsiteX133" fmla="*/ 986703 w 1154651"/>
                <a:gd name="connsiteY133" fmla="*/ 77809 h 198000"/>
                <a:gd name="connsiteX134" fmla="*/ 986703 w 1154651"/>
                <a:gd name="connsiteY134" fmla="*/ 143812 h 198000"/>
                <a:gd name="connsiteX135" fmla="*/ 978843 w 1154651"/>
                <a:gd name="connsiteY135" fmla="*/ 64795 h 198000"/>
                <a:gd name="connsiteX136" fmla="*/ 968675 w 1154651"/>
                <a:gd name="connsiteY136" fmla="*/ 54623 h 198000"/>
                <a:gd name="connsiteX137" fmla="*/ 978843 w 1154651"/>
                <a:gd name="connsiteY137" fmla="*/ 44322 h 198000"/>
                <a:gd name="connsiteX138" fmla="*/ 989144 w 1154651"/>
                <a:gd name="connsiteY138" fmla="*/ 54623 h 198000"/>
                <a:gd name="connsiteX139" fmla="*/ 978843 w 1154651"/>
                <a:gd name="connsiteY139" fmla="*/ 64795 h 198000"/>
                <a:gd name="connsiteX140" fmla="*/ 1036159 w 1154651"/>
                <a:gd name="connsiteY140" fmla="*/ 145842 h 198000"/>
                <a:gd name="connsiteX141" fmla="*/ 1002004 w 1154651"/>
                <a:gd name="connsiteY141" fmla="*/ 110741 h 198000"/>
                <a:gd name="connsiteX142" fmla="*/ 1035753 w 1154651"/>
                <a:gd name="connsiteY142" fmla="*/ 75770 h 198000"/>
                <a:gd name="connsiteX143" fmla="*/ 1065978 w 1154651"/>
                <a:gd name="connsiteY143" fmla="*/ 97456 h 198000"/>
                <a:gd name="connsiteX144" fmla="*/ 1051880 w 1154651"/>
                <a:gd name="connsiteY144" fmla="*/ 102609 h 198000"/>
                <a:gd name="connsiteX145" fmla="*/ 1035887 w 1154651"/>
                <a:gd name="connsiteY145" fmla="*/ 90278 h 198000"/>
                <a:gd name="connsiteX146" fmla="*/ 1017725 w 1154651"/>
                <a:gd name="connsiteY146" fmla="*/ 110741 h 198000"/>
                <a:gd name="connsiteX147" fmla="*/ 1036159 w 1154651"/>
                <a:gd name="connsiteY147" fmla="*/ 131482 h 198000"/>
                <a:gd name="connsiteX148" fmla="*/ 1052697 w 1154651"/>
                <a:gd name="connsiteY148" fmla="*/ 119275 h 198000"/>
                <a:gd name="connsiteX149" fmla="*/ 1066522 w 1154651"/>
                <a:gd name="connsiteY149" fmla="*/ 124295 h 198000"/>
                <a:gd name="connsiteX150" fmla="*/ 1036159 w 1154651"/>
                <a:gd name="connsiteY150" fmla="*/ 145842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154651" h="198000">
                  <a:moveTo>
                    <a:pt x="1055652" y="0"/>
                  </a:moveTo>
                  <a:lnTo>
                    <a:pt x="99000" y="0"/>
                  </a:lnTo>
                  <a:cubicBezTo>
                    <a:pt x="44322" y="0"/>
                    <a:pt x="0" y="44327"/>
                    <a:pt x="0" y="99000"/>
                  </a:cubicBezTo>
                  <a:cubicBezTo>
                    <a:pt x="0" y="153673"/>
                    <a:pt x="44322" y="198000"/>
                    <a:pt x="99000" y="198000"/>
                  </a:cubicBezTo>
                  <a:lnTo>
                    <a:pt x="1055652" y="198000"/>
                  </a:lnTo>
                  <a:cubicBezTo>
                    <a:pt x="1110330" y="198000"/>
                    <a:pt x="1154652" y="153673"/>
                    <a:pt x="1154652" y="99000"/>
                  </a:cubicBezTo>
                  <a:cubicBezTo>
                    <a:pt x="1154652" y="44327"/>
                    <a:pt x="1110325" y="0"/>
                    <a:pt x="1055652" y="0"/>
                  </a:cubicBezTo>
                  <a:close/>
                  <a:moveTo>
                    <a:pt x="125116" y="145842"/>
                  </a:moveTo>
                  <a:cubicBezTo>
                    <a:pt x="100718" y="145842"/>
                    <a:pt x="89461" y="130121"/>
                    <a:pt x="87976" y="116305"/>
                  </a:cubicBezTo>
                  <a:lnTo>
                    <a:pt x="103158" y="111969"/>
                  </a:lnTo>
                  <a:cubicBezTo>
                    <a:pt x="104103" y="121988"/>
                    <a:pt x="111291" y="131205"/>
                    <a:pt x="125116" y="131205"/>
                  </a:cubicBezTo>
                  <a:cubicBezTo>
                    <a:pt x="136635" y="131205"/>
                    <a:pt x="142595" y="125384"/>
                    <a:pt x="142595" y="117929"/>
                  </a:cubicBezTo>
                  <a:cubicBezTo>
                    <a:pt x="142595" y="111687"/>
                    <a:pt x="137986" y="106673"/>
                    <a:pt x="129725" y="104915"/>
                  </a:cubicBezTo>
                  <a:lnTo>
                    <a:pt x="116172" y="102064"/>
                  </a:lnTo>
                  <a:cubicBezTo>
                    <a:pt x="101534" y="99084"/>
                    <a:pt x="91773" y="89451"/>
                    <a:pt x="91773" y="75096"/>
                  </a:cubicBezTo>
                  <a:cubicBezTo>
                    <a:pt x="91773" y="58964"/>
                    <a:pt x="106544" y="45679"/>
                    <a:pt x="124433" y="45679"/>
                  </a:cubicBezTo>
                  <a:cubicBezTo>
                    <a:pt x="147074" y="45679"/>
                    <a:pt x="155880" y="59504"/>
                    <a:pt x="158049" y="70216"/>
                  </a:cubicBezTo>
                  <a:lnTo>
                    <a:pt x="143411" y="74814"/>
                  </a:lnTo>
                  <a:cubicBezTo>
                    <a:pt x="142466" y="68850"/>
                    <a:pt x="137447" y="60044"/>
                    <a:pt x="124577" y="60044"/>
                  </a:cubicBezTo>
                  <a:cubicBezTo>
                    <a:pt x="114815" y="60044"/>
                    <a:pt x="108039" y="66548"/>
                    <a:pt x="108039" y="73869"/>
                  </a:cubicBezTo>
                  <a:cubicBezTo>
                    <a:pt x="108039" y="79972"/>
                    <a:pt x="111835" y="84571"/>
                    <a:pt x="119285" y="86199"/>
                  </a:cubicBezTo>
                  <a:lnTo>
                    <a:pt x="133110" y="89051"/>
                  </a:lnTo>
                  <a:cubicBezTo>
                    <a:pt x="150059" y="92446"/>
                    <a:pt x="159133" y="103148"/>
                    <a:pt x="159133" y="116701"/>
                  </a:cubicBezTo>
                  <a:cubicBezTo>
                    <a:pt x="159133" y="131616"/>
                    <a:pt x="147074" y="145842"/>
                    <a:pt x="125116" y="145842"/>
                  </a:cubicBezTo>
                  <a:close/>
                  <a:moveTo>
                    <a:pt x="190402" y="143812"/>
                  </a:moveTo>
                  <a:lnTo>
                    <a:pt x="174681" y="143812"/>
                  </a:lnTo>
                  <a:lnTo>
                    <a:pt x="174681" y="45679"/>
                  </a:lnTo>
                  <a:lnTo>
                    <a:pt x="190402" y="45679"/>
                  </a:lnTo>
                  <a:lnTo>
                    <a:pt x="190402" y="143812"/>
                  </a:lnTo>
                  <a:close/>
                  <a:moveTo>
                    <a:pt x="239857" y="145842"/>
                  </a:moveTo>
                  <a:cubicBezTo>
                    <a:pt x="220206" y="145842"/>
                    <a:pt x="205702" y="131071"/>
                    <a:pt x="205702" y="110741"/>
                  </a:cubicBezTo>
                  <a:cubicBezTo>
                    <a:pt x="205702" y="90540"/>
                    <a:pt x="220206" y="75770"/>
                    <a:pt x="239857" y="75770"/>
                  </a:cubicBezTo>
                  <a:cubicBezTo>
                    <a:pt x="259647" y="75770"/>
                    <a:pt x="274151" y="90540"/>
                    <a:pt x="274151" y="110741"/>
                  </a:cubicBezTo>
                  <a:cubicBezTo>
                    <a:pt x="274151" y="131071"/>
                    <a:pt x="259647" y="145842"/>
                    <a:pt x="239857" y="145842"/>
                  </a:cubicBezTo>
                  <a:close/>
                  <a:moveTo>
                    <a:pt x="322097" y="143812"/>
                  </a:moveTo>
                  <a:lnTo>
                    <a:pt x="306375" y="143812"/>
                  </a:lnTo>
                  <a:lnTo>
                    <a:pt x="279536" y="77809"/>
                  </a:lnTo>
                  <a:lnTo>
                    <a:pt x="296886" y="77809"/>
                  </a:lnTo>
                  <a:lnTo>
                    <a:pt x="314365" y="124978"/>
                  </a:lnTo>
                  <a:lnTo>
                    <a:pt x="331442" y="77809"/>
                  </a:lnTo>
                  <a:lnTo>
                    <a:pt x="347980" y="77809"/>
                  </a:lnTo>
                  <a:lnTo>
                    <a:pt x="322097" y="143812"/>
                  </a:lnTo>
                  <a:close/>
                  <a:moveTo>
                    <a:pt x="397549" y="143812"/>
                  </a:moveTo>
                  <a:cubicBezTo>
                    <a:pt x="397421" y="143411"/>
                    <a:pt x="396876" y="140699"/>
                    <a:pt x="396876" y="135407"/>
                  </a:cubicBezTo>
                  <a:cubicBezTo>
                    <a:pt x="393753" y="140417"/>
                    <a:pt x="387248" y="145842"/>
                    <a:pt x="376547" y="145842"/>
                  </a:cubicBezTo>
                  <a:cubicBezTo>
                    <a:pt x="362721" y="145842"/>
                    <a:pt x="354177" y="136363"/>
                    <a:pt x="354177" y="125923"/>
                  </a:cubicBezTo>
                  <a:cubicBezTo>
                    <a:pt x="354177" y="114137"/>
                    <a:pt x="362850" y="107628"/>
                    <a:pt x="374106" y="106004"/>
                  </a:cubicBezTo>
                  <a:lnTo>
                    <a:pt x="391045" y="103425"/>
                  </a:lnTo>
                  <a:cubicBezTo>
                    <a:pt x="394842" y="102881"/>
                    <a:pt x="395926" y="100985"/>
                    <a:pt x="395926" y="98678"/>
                  </a:cubicBezTo>
                  <a:cubicBezTo>
                    <a:pt x="395926" y="93124"/>
                    <a:pt x="392129" y="88659"/>
                    <a:pt x="383457" y="88659"/>
                  </a:cubicBezTo>
                  <a:cubicBezTo>
                    <a:pt x="375195" y="88659"/>
                    <a:pt x="370587" y="93941"/>
                    <a:pt x="369904" y="100589"/>
                  </a:cubicBezTo>
                  <a:lnTo>
                    <a:pt x="355534" y="97337"/>
                  </a:lnTo>
                  <a:cubicBezTo>
                    <a:pt x="356756" y="85952"/>
                    <a:pt x="367057" y="75780"/>
                    <a:pt x="383323" y="75780"/>
                  </a:cubicBezTo>
                  <a:cubicBezTo>
                    <a:pt x="403653" y="75780"/>
                    <a:pt x="411375" y="87298"/>
                    <a:pt x="411375" y="100450"/>
                  </a:cubicBezTo>
                  <a:lnTo>
                    <a:pt x="411375" y="133254"/>
                  </a:lnTo>
                  <a:cubicBezTo>
                    <a:pt x="411375" y="139219"/>
                    <a:pt x="412058" y="143144"/>
                    <a:pt x="412187" y="143827"/>
                  </a:cubicBezTo>
                  <a:lnTo>
                    <a:pt x="397549" y="143827"/>
                  </a:lnTo>
                  <a:close/>
                  <a:moveTo>
                    <a:pt x="473418" y="143812"/>
                  </a:moveTo>
                  <a:lnTo>
                    <a:pt x="454039" y="116845"/>
                  </a:lnTo>
                  <a:lnTo>
                    <a:pt x="445906" y="125379"/>
                  </a:lnTo>
                  <a:lnTo>
                    <a:pt x="445906" y="143812"/>
                  </a:lnTo>
                  <a:lnTo>
                    <a:pt x="430313" y="143812"/>
                  </a:lnTo>
                  <a:lnTo>
                    <a:pt x="430313" y="45679"/>
                  </a:lnTo>
                  <a:lnTo>
                    <a:pt x="445906" y="45679"/>
                  </a:lnTo>
                  <a:lnTo>
                    <a:pt x="445906" y="104504"/>
                  </a:lnTo>
                  <a:lnTo>
                    <a:pt x="471250" y="77809"/>
                  </a:lnTo>
                  <a:lnTo>
                    <a:pt x="492124" y="77809"/>
                  </a:lnTo>
                  <a:lnTo>
                    <a:pt x="465018" y="105722"/>
                  </a:lnTo>
                  <a:lnTo>
                    <a:pt x="492669" y="143812"/>
                  </a:lnTo>
                  <a:lnTo>
                    <a:pt x="473418" y="143812"/>
                  </a:lnTo>
                  <a:close/>
                  <a:moveTo>
                    <a:pt x="606058" y="143812"/>
                  </a:moveTo>
                  <a:lnTo>
                    <a:pt x="587624" y="143812"/>
                  </a:lnTo>
                  <a:lnTo>
                    <a:pt x="567428" y="105861"/>
                  </a:lnTo>
                  <a:lnTo>
                    <a:pt x="555499" y="105861"/>
                  </a:lnTo>
                  <a:lnTo>
                    <a:pt x="555499" y="143812"/>
                  </a:lnTo>
                  <a:lnTo>
                    <a:pt x="539100" y="143812"/>
                  </a:lnTo>
                  <a:lnTo>
                    <a:pt x="539100" y="47708"/>
                  </a:lnTo>
                  <a:lnTo>
                    <a:pt x="575967" y="47708"/>
                  </a:lnTo>
                  <a:cubicBezTo>
                    <a:pt x="594535" y="47708"/>
                    <a:pt x="606058" y="60588"/>
                    <a:pt x="606058" y="76854"/>
                  </a:cubicBezTo>
                  <a:cubicBezTo>
                    <a:pt x="606058" y="90540"/>
                    <a:pt x="597792" y="100980"/>
                    <a:pt x="584372" y="104232"/>
                  </a:cubicBezTo>
                  <a:lnTo>
                    <a:pt x="606058" y="143812"/>
                  </a:lnTo>
                  <a:close/>
                  <a:moveTo>
                    <a:pt x="678665" y="115078"/>
                  </a:moveTo>
                  <a:lnTo>
                    <a:pt x="630412" y="115078"/>
                  </a:lnTo>
                  <a:cubicBezTo>
                    <a:pt x="630818" y="125106"/>
                    <a:pt x="638679" y="132289"/>
                    <a:pt x="648440" y="132289"/>
                  </a:cubicBezTo>
                  <a:cubicBezTo>
                    <a:pt x="657929" y="132289"/>
                    <a:pt x="662810" y="127279"/>
                    <a:pt x="664978" y="120770"/>
                  </a:cubicBezTo>
                  <a:lnTo>
                    <a:pt x="678259" y="124978"/>
                  </a:lnTo>
                  <a:cubicBezTo>
                    <a:pt x="674735" y="136496"/>
                    <a:pt x="664300" y="145842"/>
                    <a:pt x="648440" y="145842"/>
                  </a:cubicBezTo>
                  <a:cubicBezTo>
                    <a:pt x="630551" y="145842"/>
                    <a:pt x="614691" y="132828"/>
                    <a:pt x="614691" y="110469"/>
                  </a:cubicBezTo>
                  <a:cubicBezTo>
                    <a:pt x="614691" y="89595"/>
                    <a:pt x="630145" y="75770"/>
                    <a:pt x="646817" y="75770"/>
                  </a:cubicBezTo>
                  <a:cubicBezTo>
                    <a:pt x="667146" y="75770"/>
                    <a:pt x="679076" y="89194"/>
                    <a:pt x="679076" y="110058"/>
                  </a:cubicBezTo>
                  <a:cubicBezTo>
                    <a:pt x="679071" y="112637"/>
                    <a:pt x="678803" y="114805"/>
                    <a:pt x="678665" y="115078"/>
                  </a:cubicBezTo>
                  <a:close/>
                  <a:moveTo>
                    <a:pt x="729996" y="145441"/>
                  </a:moveTo>
                  <a:cubicBezTo>
                    <a:pt x="720507" y="145441"/>
                    <a:pt x="713330" y="141377"/>
                    <a:pt x="709934" y="136363"/>
                  </a:cubicBezTo>
                  <a:lnTo>
                    <a:pt x="709934" y="169567"/>
                  </a:lnTo>
                  <a:lnTo>
                    <a:pt x="694351" y="169567"/>
                  </a:lnTo>
                  <a:lnTo>
                    <a:pt x="694351" y="77809"/>
                  </a:lnTo>
                  <a:lnTo>
                    <a:pt x="709533" y="77809"/>
                  </a:lnTo>
                  <a:lnTo>
                    <a:pt x="709533" y="86744"/>
                  </a:lnTo>
                  <a:cubicBezTo>
                    <a:pt x="712785" y="81061"/>
                    <a:pt x="720379" y="76314"/>
                    <a:pt x="730536" y="76314"/>
                  </a:cubicBezTo>
                  <a:cubicBezTo>
                    <a:pt x="750054" y="76314"/>
                    <a:pt x="761038" y="91224"/>
                    <a:pt x="761038" y="110741"/>
                  </a:cubicBezTo>
                  <a:cubicBezTo>
                    <a:pt x="761038" y="130532"/>
                    <a:pt x="748970" y="145441"/>
                    <a:pt x="729996" y="145441"/>
                  </a:cubicBezTo>
                  <a:close/>
                  <a:moveTo>
                    <a:pt x="819953" y="143812"/>
                  </a:moveTo>
                  <a:cubicBezTo>
                    <a:pt x="819680" y="142327"/>
                    <a:pt x="819408" y="139204"/>
                    <a:pt x="819408" y="136491"/>
                  </a:cubicBezTo>
                  <a:cubicBezTo>
                    <a:pt x="816156" y="142456"/>
                    <a:pt x="808429" y="145708"/>
                    <a:pt x="800702" y="145708"/>
                  </a:cubicBezTo>
                  <a:cubicBezTo>
                    <a:pt x="784981" y="145708"/>
                    <a:pt x="775764" y="134051"/>
                    <a:pt x="775764" y="119414"/>
                  </a:cubicBezTo>
                  <a:lnTo>
                    <a:pt x="775764" y="77809"/>
                  </a:lnTo>
                  <a:lnTo>
                    <a:pt x="791485" y="77809"/>
                  </a:lnTo>
                  <a:lnTo>
                    <a:pt x="791485" y="116563"/>
                  </a:lnTo>
                  <a:cubicBezTo>
                    <a:pt x="791485" y="124695"/>
                    <a:pt x="795282" y="131611"/>
                    <a:pt x="804766" y="131611"/>
                  </a:cubicBezTo>
                  <a:cubicBezTo>
                    <a:pt x="813849" y="131611"/>
                    <a:pt x="818591" y="125517"/>
                    <a:pt x="818591" y="116840"/>
                  </a:cubicBezTo>
                  <a:lnTo>
                    <a:pt x="818591" y="77804"/>
                  </a:lnTo>
                  <a:lnTo>
                    <a:pt x="834313" y="77804"/>
                  </a:lnTo>
                  <a:lnTo>
                    <a:pt x="834313" y="131739"/>
                  </a:lnTo>
                  <a:cubicBezTo>
                    <a:pt x="834313" y="137160"/>
                    <a:pt x="834719" y="141367"/>
                    <a:pt x="834991" y="143807"/>
                  </a:cubicBezTo>
                  <a:lnTo>
                    <a:pt x="819953" y="143807"/>
                  </a:lnTo>
                  <a:close/>
                  <a:moveTo>
                    <a:pt x="889451" y="145441"/>
                  </a:moveTo>
                  <a:cubicBezTo>
                    <a:pt x="880095" y="145441"/>
                    <a:pt x="872913" y="141377"/>
                    <a:pt x="869121" y="135001"/>
                  </a:cubicBezTo>
                  <a:lnTo>
                    <a:pt x="869121" y="143817"/>
                  </a:lnTo>
                  <a:lnTo>
                    <a:pt x="853801" y="143817"/>
                  </a:lnTo>
                  <a:lnTo>
                    <a:pt x="853801" y="45679"/>
                  </a:lnTo>
                  <a:lnTo>
                    <a:pt x="869255" y="45679"/>
                  </a:lnTo>
                  <a:lnTo>
                    <a:pt x="869255" y="85942"/>
                  </a:lnTo>
                  <a:cubicBezTo>
                    <a:pt x="872235" y="80784"/>
                    <a:pt x="879828" y="76042"/>
                    <a:pt x="889995" y="76042"/>
                  </a:cubicBezTo>
                  <a:cubicBezTo>
                    <a:pt x="909785" y="76042"/>
                    <a:pt x="920487" y="91085"/>
                    <a:pt x="920487" y="110469"/>
                  </a:cubicBezTo>
                  <a:cubicBezTo>
                    <a:pt x="920482" y="130398"/>
                    <a:pt x="908696" y="145441"/>
                    <a:pt x="889451" y="145441"/>
                  </a:cubicBezTo>
                  <a:close/>
                  <a:moveTo>
                    <a:pt x="951618" y="143812"/>
                  </a:moveTo>
                  <a:lnTo>
                    <a:pt x="935897" y="143812"/>
                  </a:lnTo>
                  <a:lnTo>
                    <a:pt x="935897" y="45679"/>
                  </a:lnTo>
                  <a:lnTo>
                    <a:pt x="951618" y="45679"/>
                  </a:lnTo>
                  <a:lnTo>
                    <a:pt x="951618" y="143812"/>
                  </a:lnTo>
                  <a:close/>
                  <a:moveTo>
                    <a:pt x="986703" y="143812"/>
                  </a:moveTo>
                  <a:lnTo>
                    <a:pt x="971116" y="143812"/>
                  </a:lnTo>
                  <a:lnTo>
                    <a:pt x="971116" y="77809"/>
                  </a:lnTo>
                  <a:lnTo>
                    <a:pt x="986703" y="77809"/>
                  </a:lnTo>
                  <a:lnTo>
                    <a:pt x="986703" y="143812"/>
                  </a:lnTo>
                  <a:close/>
                  <a:moveTo>
                    <a:pt x="978843" y="64795"/>
                  </a:moveTo>
                  <a:cubicBezTo>
                    <a:pt x="973284" y="64795"/>
                    <a:pt x="968675" y="60316"/>
                    <a:pt x="968675" y="54623"/>
                  </a:cubicBezTo>
                  <a:cubicBezTo>
                    <a:pt x="968675" y="48931"/>
                    <a:pt x="973284" y="44322"/>
                    <a:pt x="978843" y="44322"/>
                  </a:cubicBezTo>
                  <a:cubicBezTo>
                    <a:pt x="984535" y="44322"/>
                    <a:pt x="989144" y="48931"/>
                    <a:pt x="989144" y="54623"/>
                  </a:cubicBezTo>
                  <a:cubicBezTo>
                    <a:pt x="989144" y="60316"/>
                    <a:pt x="984535" y="64795"/>
                    <a:pt x="978843" y="64795"/>
                  </a:cubicBezTo>
                  <a:close/>
                  <a:moveTo>
                    <a:pt x="1036159" y="145842"/>
                  </a:moveTo>
                  <a:cubicBezTo>
                    <a:pt x="1016775" y="145842"/>
                    <a:pt x="1002004" y="130799"/>
                    <a:pt x="1002004" y="110741"/>
                  </a:cubicBezTo>
                  <a:cubicBezTo>
                    <a:pt x="1002004" y="90412"/>
                    <a:pt x="1016780" y="75770"/>
                    <a:pt x="1035753" y="75770"/>
                  </a:cubicBezTo>
                  <a:cubicBezTo>
                    <a:pt x="1053509" y="75770"/>
                    <a:pt x="1063270" y="86882"/>
                    <a:pt x="1065978" y="97456"/>
                  </a:cubicBezTo>
                  <a:lnTo>
                    <a:pt x="1051880" y="102609"/>
                  </a:lnTo>
                  <a:cubicBezTo>
                    <a:pt x="1050390" y="96787"/>
                    <a:pt x="1045915" y="90278"/>
                    <a:pt x="1035887" y="90278"/>
                  </a:cubicBezTo>
                  <a:cubicBezTo>
                    <a:pt x="1026264" y="90278"/>
                    <a:pt x="1017725" y="97456"/>
                    <a:pt x="1017725" y="110741"/>
                  </a:cubicBezTo>
                  <a:cubicBezTo>
                    <a:pt x="1017725" y="124027"/>
                    <a:pt x="1026264" y="131482"/>
                    <a:pt x="1036159" y="131482"/>
                  </a:cubicBezTo>
                  <a:cubicBezTo>
                    <a:pt x="1046460" y="131482"/>
                    <a:pt x="1051202" y="124295"/>
                    <a:pt x="1052697" y="119275"/>
                  </a:cubicBezTo>
                  <a:lnTo>
                    <a:pt x="1066522" y="124295"/>
                  </a:lnTo>
                  <a:cubicBezTo>
                    <a:pt x="1063404" y="134595"/>
                    <a:pt x="1053509" y="145842"/>
                    <a:pt x="1036159" y="145842"/>
                  </a:cubicBezTo>
                  <a:close/>
                </a:path>
              </a:pathLst>
            </a:custGeom>
            <a:solidFill>
              <a:srgbClr val="000000"/>
            </a:solidFill>
            <a:ln w="494" cap="flat">
              <a:noFill/>
              <a:prstDash val="solid"/>
              <a:miter/>
            </a:ln>
          </p:spPr>
          <p:txBody>
            <a:bodyPr rtlCol="0" anchor="ctr"/>
            <a:lstStyle/>
            <a:p>
              <a:endParaRPr lang="en-US"/>
            </a:p>
          </p:txBody>
        </p:sp>
      </p:grpSp>
      <p:grpSp>
        <p:nvGrpSpPr>
          <p:cNvPr id="228" name="Graphic 124">
            <a:extLst>
              <a:ext uri="{FF2B5EF4-FFF2-40B4-BE49-F238E27FC236}">
                <a16:creationId xmlns:a16="http://schemas.microsoft.com/office/drawing/2014/main" id="{6A94678A-3627-4029-B4C7-CCEB92D2FE7B}"/>
              </a:ext>
            </a:extLst>
          </p:cNvPr>
          <p:cNvGrpSpPr/>
          <p:nvPr userDrawn="1">
            <p:custDataLst>
              <p:tags r:id="rId10"/>
            </p:custDataLst>
          </p:nvPr>
        </p:nvGrpSpPr>
        <p:grpSpPr>
          <a:xfrm>
            <a:off x="7388977" y="3867626"/>
            <a:ext cx="610672" cy="198000"/>
            <a:chOff x="7038097" y="3686872"/>
            <a:chExt cx="610672" cy="198000"/>
          </a:xfrm>
          <a:solidFill>
            <a:srgbClr val="000000"/>
          </a:solidFill>
        </p:grpSpPr>
        <p:sp>
          <p:nvSpPr>
            <p:cNvPr id="229" name="Freeform: Shape 97">
              <a:extLst>
                <a:ext uri="{FF2B5EF4-FFF2-40B4-BE49-F238E27FC236}">
                  <a16:creationId xmlns:a16="http://schemas.microsoft.com/office/drawing/2014/main" id="{0B0AF6CD-9959-484A-9B2D-7E3FE7F429AF}"/>
                </a:ext>
              </a:extLst>
            </p:cNvPr>
            <p:cNvSpPr/>
            <p:nvPr/>
          </p:nvSpPr>
          <p:spPr>
            <a:xfrm>
              <a:off x="7514485" y="3800325"/>
              <a:ext cx="26022" cy="20057"/>
            </a:xfrm>
            <a:custGeom>
              <a:avLst/>
              <a:gdLst>
                <a:gd name="connsiteX0" fmla="*/ 0 w 26022"/>
                <a:gd name="connsiteY0" fmla="*/ 1152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69 h 20057"/>
                <a:gd name="connsiteX5" fmla="*/ 0 w 26022"/>
                <a:gd name="connsiteY5" fmla="*/ 1152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24"/>
                  </a:moveTo>
                  <a:cubicBezTo>
                    <a:pt x="0" y="15993"/>
                    <a:pt x="3391" y="20057"/>
                    <a:pt x="9623" y="20057"/>
                  </a:cubicBezTo>
                  <a:cubicBezTo>
                    <a:pt x="18434" y="20057"/>
                    <a:pt x="26022" y="15860"/>
                    <a:pt x="26022" y="2980"/>
                  </a:cubicBezTo>
                  <a:lnTo>
                    <a:pt x="26022" y="0"/>
                  </a:lnTo>
                  <a:lnTo>
                    <a:pt x="8806" y="2569"/>
                  </a:lnTo>
                  <a:cubicBezTo>
                    <a:pt x="3930" y="3391"/>
                    <a:pt x="0" y="6103"/>
                    <a:pt x="0" y="11524"/>
                  </a:cubicBezTo>
                  <a:close/>
                </a:path>
              </a:pathLst>
            </a:custGeom>
            <a:solidFill>
              <a:srgbClr val="000000"/>
            </a:solidFill>
            <a:ln w="494" cap="flat">
              <a:noFill/>
              <a:prstDash val="solid"/>
              <a:miter/>
            </a:ln>
          </p:spPr>
          <p:txBody>
            <a:bodyPr rtlCol="0" anchor="ctr"/>
            <a:lstStyle/>
            <a:p>
              <a:endParaRPr lang="en-US"/>
            </a:p>
          </p:txBody>
        </p:sp>
        <p:sp>
          <p:nvSpPr>
            <p:cNvPr id="230" name="Freeform: Shape 98">
              <a:extLst>
                <a:ext uri="{FF2B5EF4-FFF2-40B4-BE49-F238E27FC236}">
                  <a16:creationId xmlns:a16="http://schemas.microsoft.com/office/drawing/2014/main" id="{FC61F37A-F5FF-42A6-8BB8-EFE450743924}"/>
                </a:ext>
              </a:extLst>
            </p:cNvPr>
            <p:cNvSpPr/>
            <p:nvPr/>
          </p:nvSpPr>
          <p:spPr>
            <a:xfrm>
              <a:off x="7038097" y="3686872"/>
              <a:ext cx="610672" cy="198000"/>
            </a:xfrm>
            <a:custGeom>
              <a:avLst/>
              <a:gdLst>
                <a:gd name="connsiteX0" fmla="*/ 511672 w 610672"/>
                <a:gd name="connsiteY0" fmla="*/ 0 h 198000"/>
                <a:gd name="connsiteX1" fmla="*/ 99000 w 610672"/>
                <a:gd name="connsiteY1" fmla="*/ 0 h 198000"/>
                <a:gd name="connsiteX2" fmla="*/ 0 w 610672"/>
                <a:gd name="connsiteY2" fmla="*/ 99000 h 198000"/>
                <a:gd name="connsiteX3" fmla="*/ 99000 w 610672"/>
                <a:gd name="connsiteY3" fmla="*/ 198000 h 198000"/>
                <a:gd name="connsiteX4" fmla="*/ 511672 w 610672"/>
                <a:gd name="connsiteY4" fmla="*/ 198000 h 198000"/>
                <a:gd name="connsiteX5" fmla="*/ 610673 w 610672"/>
                <a:gd name="connsiteY5" fmla="*/ 99000 h 198000"/>
                <a:gd name="connsiteX6" fmla="*/ 511672 w 610672"/>
                <a:gd name="connsiteY6" fmla="*/ 0 h 198000"/>
                <a:gd name="connsiteX7" fmla="*/ 161039 w 610672"/>
                <a:gd name="connsiteY7" fmla="*/ 143812 h 198000"/>
                <a:gd name="connsiteX8" fmla="*/ 151955 w 610672"/>
                <a:gd name="connsiteY8" fmla="*/ 119686 h 198000"/>
                <a:gd name="connsiteX9" fmla="*/ 111291 w 610672"/>
                <a:gd name="connsiteY9" fmla="*/ 119686 h 198000"/>
                <a:gd name="connsiteX10" fmla="*/ 102346 w 610672"/>
                <a:gd name="connsiteY10" fmla="*/ 143812 h 198000"/>
                <a:gd name="connsiteX11" fmla="*/ 85130 w 610672"/>
                <a:gd name="connsiteY11" fmla="*/ 143812 h 198000"/>
                <a:gd name="connsiteX12" fmla="*/ 122542 w 610672"/>
                <a:gd name="connsiteY12" fmla="*/ 47708 h 198000"/>
                <a:gd name="connsiteX13" fmla="*/ 141382 w 610672"/>
                <a:gd name="connsiteY13" fmla="*/ 47708 h 198000"/>
                <a:gd name="connsiteX14" fmla="*/ 178794 w 610672"/>
                <a:gd name="connsiteY14" fmla="*/ 143812 h 198000"/>
                <a:gd name="connsiteX15" fmla="*/ 161039 w 610672"/>
                <a:gd name="connsiteY15" fmla="*/ 143812 h 198000"/>
                <a:gd name="connsiteX16" fmla="*/ 232279 w 610672"/>
                <a:gd name="connsiteY16" fmla="*/ 143812 h 198000"/>
                <a:gd name="connsiteX17" fmla="*/ 231735 w 610672"/>
                <a:gd name="connsiteY17" fmla="*/ 136491 h 198000"/>
                <a:gd name="connsiteX18" fmla="*/ 213029 w 610672"/>
                <a:gd name="connsiteY18" fmla="*/ 145708 h 198000"/>
                <a:gd name="connsiteX19" fmla="*/ 188090 w 610672"/>
                <a:gd name="connsiteY19" fmla="*/ 119414 h 198000"/>
                <a:gd name="connsiteX20" fmla="*/ 188090 w 610672"/>
                <a:gd name="connsiteY20" fmla="*/ 77809 h 198000"/>
                <a:gd name="connsiteX21" fmla="*/ 203812 w 610672"/>
                <a:gd name="connsiteY21" fmla="*/ 77809 h 198000"/>
                <a:gd name="connsiteX22" fmla="*/ 203812 w 610672"/>
                <a:gd name="connsiteY22" fmla="*/ 116563 h 198000"/>
                <a:gd name="connsiteX23" fmla="*/ 217093 w 610672"/>
                <a:gd name="connsiteY23" fmla="*/ 131611 h 198000"/>
                <a:gd name="connsiteX24" fmla="*/ 230918 w 610672"/>
                <a:gd name="connsiteY24" fmla="*/ 116840 h 198000"/>
                <a:gd name="connsiteX25" fmla="*/ 230918 w 610672"/>
                <a:gd name="connsiteY25" fmla="*/ 77804 h 198000"/>
                <a:gd name="connsiteX26" fmla="*/ 246639 w 610672"/>
                <a:gd name="connsiteY26" fmla="*/ 77804 h 198000"/>
                <a:gd name="connsiteX27" fmla="*/ 246639 w 610672"/>
                <a:gd name="connsiteY27" fmla="*/ 131739 h 198000"/>
                <a:gd name="connsiteX28" fmla="*/ 247322 w 610672"/>
                <a:gd name="connsiteY28" fmla="*/ 143807 h 198000"/>
                <a:gd name="connsiteX29" fmla="*/ 232279 w 610672"/>
                <a:gd name="connsiteY29" fmla="*/ 143807 h 198000"/>
                <a:gd name="connsiteX30" fmla="*/ 288764 w 610672"/>
                <a:gd name="connsiteY30" fmla="*/ 145842 h 198000"/>
                <a:gd name="connsiteX31" fmla="*/ 261519 w 610672"/>
                <a:gd name="connsiteY31" fmla="*/ 125923 h 198000"/>
                <a:gd name="connsiteX32" fmla="*/ 275211 w 610672"/>
                <a:gd name="connsiteY32" fmla="*/ 122126 h 198000"/>
                <a:gd name="connsiteX33" fmla="*/ 288630 w 610672"/>
                <a:gd name="connsiteY33" fmla="*/ 133373 h 198000"/>
                <a:gd name="connsiteX34" fmla="*/ 298525 w 610672"/>
                <a:gd name="connsiteY34" fmla="*/ 125784 h 198000"/>
                <a:gd name="connsiteX35" fmla="*/ 290798 w 610672"/>
                <a:gd name="connsiteY35" fmla="*/ 118473 h 198000"/>
                <a:gd name="connsiteX36" fmla="*/ 281037 w 610672"/>
                <a:gd name="connsiteY36" fmla="*/ 116305 h 198000"/>
                <a:gd name="connsiteX37" fmla="*/ 263281 w 610672"/>
                <a:gd name="connsiteY37" fmla="*/ 97050 h 198000"/>
                <a:gd name="connsiteX38" fmla="*/ 287541 w 610672"/>
                <a:gd name="connsiteY38" fmla="*/ 75775 h 198000"/>
                <a:gd name="connsiteX39" fmla="*/ 313024 w 610672"/>
                <a:gd name="connsiteY39" fmla="*/ 94208 h 198000"/>
                <a:gd name="connsiteX40" fmla="*/ 299743 w 610672"/>
                <a:gd name="connsiteY40" fmla="*/ 98005 h 198000"/>
                <a:gd name="connsiteX41" fmla="*/ 287546 w 610672"/>
                <a:gd name="connsiteY41" fmla="*/ 88115 h 198000"/>
                <a:gd name="connsiteX42" fmla="*/ 278057 w 610672"/>
                <a:gd name="connsiteY42" fmla="*/ 95703 h 198000"/>
                <a:gd name="connsiteX43" fmla="*/ 284700 w 610672"/>
                <a:gd name="connsiteY43" fmla="*/ 102614 h 198000"/>
                <a:gd name="connsiteX44" fmla="*/ 294728 w 610672"/>
                <a:gd name="connsiteY44" fmla="*/ 104643 h 198000"/>
                <a:gd name="connsiteX45" fmla="*/ 313707 w 610672"/>
                <a:gd name="connsiteY45" fmla="*/ 124705 h 198000"/>
                <a:gd name="connsiteX46" fmla="*/ 288764 w 610672"/>
                <a:gd name="connsiteY46" fmla="*/ 145842 h 198000"/>
                <a:gd name="connsiteX47" fmla="*/ 363687 w 610672"/>
                <a:gd name="connsiteY47" fmla="*/ 143129 h 198000"/>
                <a:gd name="connsiteX48" fmla="*/ 354064 w 610672"/>
                <a:gd name="connsiteY48" fmla="*/ 144624 h 198000"/>
                <a:gd name="connsiteX49" fmla="*/ 334274 w 610672"/>
                <a:gd name="connsiteY49" fmla="*/ 124973 h 198000"/>
                <a:gd name="connsiteX50" fmla="*/ 334274 w 610672"/>
                <a:gd name="connsiteY50" fmla="*/ 91758 h 198000"/>
                <a:gd name="connsiteX51" fmla="*/ 322077 w 610672"/>
                <a:gd name="connsiteY51" fmla="*/ 91758 h 198000"/>
                <a:gd name="connsiteX52" fmla="*/ 322077 w 610672"/>
                <a:gd name="connsiteY52" fmla="*/ 77804 h 198000"/>
                <a:gd name="connsiteX53" fmla="*/ 325468 w 610672"/>
                <a:gd name="connsiteY53" fmla="*/ 77804 h 198000"/>
                <a:gd name="connsiteX54" fmla="*/ 335635 w 610672"/>
                <a:gd name="connsiteY54" fmla="*/ 67503 h 198000"/>
                <a:gd name="connsiteX55" fmla="*/ 335635 w 610672"/>
                <a:gd name="connsiteY55" fmla="*/ 57603 h 198000"/>
                <a:gd name="connsiteX56" fmla="*/ 349867 w 610672"/>
                <a:gd name="connsiteY56" fmla="*/ 57603 h 198000"/>
                <a:gd name="connsiteX57" fmla="*/ 349867 w 610672"/>
                <a:gd name="connsiteY57" fmla="*/ 77804 h 198000"/>
                <a:gd name="connsiteX58" fmla="*/ 363558 w 610672"/>
                <a:gd name="connsiteY58" fmla="*/ 77804 h 198000"/>
                <a:gd name="connsiteX59" fmla="*/ 363558 w 610672"/>
                <a:gd name="connsiteY59" fmla="*/ 91758 h 198000"/>
                <a:gd name="connsiteX60" fmla="*/ 349867 w 610672"/>
                <a:gd name="connsiteY60" fmla="*/ 91758 h 198000"/>
                <a:gd name="connsiteX61" fmla="*/ 349867 w 610672"/>
                <a:gd name="connsiteY61" fmla="*/ 122389 h 198000"/>
                <a:gd name="connsiteX62" fmla="*/ 358272 w 610672"/>
                <a:gd name="connsiteY62" fmla="*/ 130650 h 198000"/>
                <a:gd name="connsiteX63" fmla="*/ 363692 w 610672"/>
                <a:gd name="connsiteY63" fmla="*/ 130106 h 198000"/>
                <a:gd name="connsiteX64" fmla="*/ 363692 w 610672"/>
                <a:gd name="connsiteY64" fmla="*/ 143129 h 198000"/>
                <a:gd name="connsiteX65" fmla="*/ 417197 w 610672"/>
                <a:gd name="connsiteY65" fmla="*/ 93392 h 198000"/>
                <a:gd name="connsiteX66" fmla="*/ 412044 w 610672"/>
                <a:gd name="connsiteY66" fmla="*/ 92991 h 198000"/>
                <a:gd name="connsiteX67" fmla="*/ 394293 w 610672"/>
                <a:gd name="connsiteY67" fmla="*/ 112370 h 198000"/>
                <a:gd name="connsiteX68" fmla="*/ 394293 w 610672"/>
                <a:gd name="connsiteY68" fmla="*/ 143817 h 198000"/>
                <a:gd name="connsiteX69" fmla="*/ 378572 w 610672"/>
                <a:gd name="connsiteY69" fmla="*/ 143817 h 198000"/>
                <a:gd name="connsiteX70" fmla="*/ 378572 w 610672"/>
                <a:gd name="connsiteY70" fmla="*/ 77809 h 198000"/>
                <a:gd name="connsiteX71" fmla="*/ 393882 w 610672"/>
                <a:gd name="connsiteY71" fmla="*/ 77809 h 198000"/>
                <a:gd name="connsiteX72" fmla="*/ 393882 w 610672"/>
                <a:gd name="connsiteY72" fmla="*/ 88372 h 198000"/>
                <a:gd name="connsiteX73" fmla="*/ 412999 w 610672"/>
                <a:gd name="connsiteY73" fmla="*/ 76987 h 198000"/>
                <a:gd name="connsiteX74" fmla="*/ 417197 w 610672"/>
                <a:gd name="connsiteY74" fmla="*/ 77398 h 198000"/>
                <a:gd name="connsiteX75" fmla="*/ 417197 w 610672"/>
                <a:gd name="connsiteY75" fmla="*/ 93392 h 198000"/>
                <a:gd name="connsiteX76" fmla="*/ 445233 w 610672"/>
                <a:gd name="connsiteY76" fmla="*/ 143812 h 198000"/>
                <a:gd name="connsiteX77" fmla="*/ 429646 w 610672"/>
                <a:gd name="connsiteY77" fmla="*/ 143812 h 198000"/>
                <a:gd name="connsiteX78" fmla="*/ 429646 w 610672"/>
                <a:gd name="connsiteY78" fmla="*/ 77809 h 198000"/>
                <a:gd name="connsiteX79" fmla="*/ 445233 w 610672"/>
                <a:gd name="connsiteY79" fmla="*/ 77809 h 198000"/>
                <a:gd name="connsiteX80" fmla="*/ 445233 w 610672"/>
                <a:gd name="connsiteY80" fmla="*/ 143812 h 198000"/>
                <a:gd name="connsiteX81" fmla="*/ 437373 w 610672"/>
                <a:gd name="connsiteY81" fmla="*/ 64795 h 198000"/>
                <a:gd name="connsiteX82" fmla="*/ 427206 w 610672"/>
                <a:gd name="connsiteY82" fmla="*/ 54623 h 198000"/>
                <a:gd name="connsiteX83" fmla="*/ 437373 w 610672"/>
                <a:gd name="connsiteY83" fmla="*/ 44322 h 198000"/>
                <a:gd name="connsiteX84" fmla="*/ 447674 w 610672"/>
                <a:gd name="connsiteY84" fmla="*/ 54623 h 198000"/>
                <a:gd name="connsiteX85" fmla="*/ 437373 w 610672"/>
                <a:gd name="connsiteY85" fmla="*/ 64795 h 198000"/>
                <a:gd name="connsiteX86" fmla="*/ 504040 w 610672"/>
                <a:gd name="connsiteY86" fmla="*/ 143812 h 198000"/>
                <a:gd name="connsiteX87" fmla="*/ 503361 w 610672"/>
                <a:gd name="connsiteY87" fmla="*/ 135407 h 198000"/>
                <a:gd name="connsiteX88" fmla="*/ 483032 w 610672"/>
                <a:gd name="connsiteY88" fmla="*/ 145842 h 198000"/>
                <a:gd name="connsiteX89" fmla="*/ 460668 w 610672"/>
                <a:gd name="connsiteY89" fmla="*/ 125923 h 198000"/>
                <a:gd name="connsiteX90" fmla="*/ 480591 w 610672"/>
                <a:gd name="connsiteY90" fmla="*/ 106004 h 198000"/>
                <a:gd name="connsiteX91" fmla="*/ 497535 w 610672"/>
                <a:gd name="connsiteY91" fmla="*/ 103425 h 198000"/>
                <a:gd name="connsiteX92" fmla="*/ 502416 w 610672"/>
                <a:gd name="connsiteY92" fmla="*/ 98678 h 198000"/>
                <a:gd name="connsiteX93" fmla="*/ 489947 w 610672"/>
                <a:gd name="connsiteY93" fmla="*/ 88659 h 198000"/>
                <a:gd name="connsiteX94" fmla="*/ 476394 w 610672"/>
                <a:gd name="connsiteY94" fmla="*/ 100589 h 198000"/>
                <a:gd name="connsiteX95" fmla="*/ 462024 w 610672"/>
                <a:gd name="connsiteY95" fmla="*/ 97337 h 198000"/>
                <a:gd name="connsiteX96" fmla="*/ 489808 w 610672"/>
                <a:gd name="connsiteY96" fmla="*/ 75780 h 198000"/>
                <a:gd name="connsiteX97" fmla="*/ 517865 w 610672"/>
                <a:gd name="connsiteY97" fmla="*/ 100450 h 198000"/>
                <a:gd name="connsiteX98" fmla="*/ 517865 w 610672"/>
                <a:gd name="connsiteY98" fmla="*/ 133254 h 198000"/>
                <a:gd name="connsiteX99" fmla="*/ 518677 w 610672"/>
                <a:gd name="connsiteY99" fmla="*/ 143827 h 198000"/>
                <a:gd name="connsiteX100" fmla="*/ 504040 w 610672"/>
                <a:gd name="connsiteY100" fmla="*/ 143827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610672" h="198000">
                  <a:moveTo>
                    <a:pt x="511672" y="0"/>
                  </a:moveTo>
                  <a:lnTo>
                    <a:pt x="99000" y="0"/>
                  </a:lnTo>
                  <a:cubicBezTo>
                    <a:pt x="44322" y="0"/>
                    <a:pt x="0" y="44327"/>
                    <a:pt x="0" y="99000"/>
                  </a:cubicBezTo>
                  <a:cubicBezTo>
                    <a:pt x="0" y="153673"/>
                    <a:pt x="44322" y="198000"/>
                    <a:pt x="99000" y="198000"/>
                  </a:cubicBezTo>
                  <a:lnTo>
                    <a:pt x="511672" y="198000"/>
                  </a:lnTo>
                  <a:cubicBezTo>
                    <a:pt x="566350" y="198000"/>
                    <a:pt x="610673" y="153673"/>
                    <a:pt x="610673" y="99000"/>
                  </a:cubicBezTo>
                  <a:cubicBezTo>
                    <a:pt x="610673" y="44327"/>
                    <a:pt x="566350" y="0"/>
                    <a:pt x="511672" y="0"/>
                  </a:cubicBezTo>
                  <a:close/>
                  <a:moveTo>
                    <a:pt x="161039" y="143812"/>
                  </a:moveTo>
                  <a:lnTo>
                    <a:pt x="151955" y="119686"/>
                  </a:lnTo>
                  <a:lnTo>
                    <a:pt x="111291" y="119686"/>
                  </a:lnTo>
                  <a:lnTo>
                    <a:pt x="102346" y="143812"/>
                  </a:lnTo>
                  <a:lnTo>
                    <a:pt x="85130" y="143812"/>
                  </a:lnTo>
                  <a:lnTo>
                    <a:pt x="122542" y="47708"/>
                  </a:lnTo>
                  <a:lnTo>
                    <a:pt x="141382" y="47708"/>
                  </a:lnTo>
                  <a:lnTo>
                    <a:pt x="178794" y="143812"/>
                  </a:lnTo>
                  <a:lnTo>
                    <a:pt x="161039" y="143812"/>
                  </a:lnTo>
                  <a:close/>
                  <a:moveTo>
                    <a:pt x="232279" y="143812"/>
                  </a:moveTo>
                  <a:cubicBezTo>
                    <a:pt x="232007" y="142327"/>
                    <a:pt x="231735" y="139204"/>
                    <a:pt x="231735" y="136491"/>
                  </a:cubicBezTo>
                  <a:cubicBezTo>
                    <a:pt x="228482" y="142456"/>
                    <a:pt x="220760" y="145708"/>
                    <a:pt x="213029" y="145708"/>
                  </a:cubicBezTo>
                  <a:cubicBezTo>
                    <a:pt x="197307" y="145708"/>
                    <a:pt x="188090" y="134051"/>
                    <a:pt x="188090" y="119414"/>
                  </a:cubicBezTo>
                  <a:lnTo>
                    <a:pt x="188090" y="77809"/>
                  </a:lnTo>
                  <a:lnTo>
                    <a:pt x="203812" y="77809"/>
                  </a:lnTo>
                  <a:lnTo>
                    <a:pt x="203812" y="116563"/>
                  </a:lnTo>
                  <a:cubicBezTo>
                    <a:pt x="203812" y="124695"/>
                    <a:pt x="207608" y="131611"/>
                    <a:pt x="217093" y="131611"/>
                  </a:cubicBezTo>
                  <a:cubicBezTo>
                    <a:pt x="226181" y="131611"/>
                    <a:pt x="230918" y="125517"/>
                    <a:pt x="230918" y="116840"/>
                  </a:cubicBezTo>
                  <a:lnTo>
                    <a:pt x="230918" y="77804"/>
                  </a:lnTo>
                  <a:lnTo>
                    <a:pt x="246639" y="77804"/>
                  </a:lnTo>
                  <a:lnTo>
                    <a:pt x="246639" y="131739"/>
                  </a:lnTo>
                  <a:cubicBezTo>
                    <a:pt x="246639" y="137160"/>
                    <a:pt x="247050" y="141367"/>
                    <a:pt x="247322" y="143807"/>
                  </a:cubicBezTo>
                  <a:lnTo>
                    <a:pt x="232279" y="143807"/>
                  </a:lnTo>
                  <a:close/>
                  <a:moveTo>
                    <a:pt x="288764" y="145842"/>
                  </a:moveTo>
                  <a:cubicBezTo>
                    <a:pt x="269652" y="145842"/>
                    <a:pt x="262331" y="133373"/>
                    <a:pt x="261519" y="125923"/>
                  </a:cubicBezTo>
                  <a:lnTo>
                    <a:pt x="275211" y="122126"/>
                  </a:lnTo>
                  <a:cubicBezTo>
                    <a:pt x="275755" y="128091"/>
                    <a:pt x="280225" y="133373"/>
                    <a:pt x="288630" y="133373"/>
                  </a:cubicBezTo>
                  <a:cubicBezTo>
                    <a:pt x="295134" y="133373"/>
                    <a:pt x="298525" y="129858"/>
                    <a:pt x="298525" y="125784"/>
                  </a:cubicBezTo>
                  <a:cubicBezTo>
                    <a:pt x="298525" y="122270"/>
                    <a:pt x="296085" y="119557"/>
                    <a:pt x="290798" y="118473"/>
                  </a:cubicBezTo>
                  <a:lnTo>
                    <a:pt x="281037" y="116305"/>
                  </a:lnTo>
                  <a:cubicBezTo>
                    <a:pt x="269379" y="113726"/>
                    <a:pt x="263281" y="106133"/>
                    <a:pt x="263281" y="97050"/>
                  </a:cubicBezTo>
                  <a:cubicBezTo>
                    <a:pt x="263281" y="85531"/>
                    <a:pt x="273854" y="75775"/>
                    <a:pt x="287541" y="75775"/>
                  </a:cubicBezTo>
                  <a:cubicBezTo>
                    <a:pt x="305975" y="75775"/>
                    <a:pt x="311940" y="87704"/>
                    <a:pt x="313024" y="94208"/>
                  </a:cubicBezTo>
                  <a:lnTo>
                    <a:pt x="299743" y="98005"/>
                  </a:lnTo>
                  <a:cubicBezTo>
                    <a:pt x="299198" y="94208"/>
                    <a:pt x="296352" y="88115"/>
                    <a:pt x="287546" y="88115"/>
                  </a:cubicBezTo>
                  <a:cubicBezTo>
                    <a:pt x="281987" y="88115"/>
                    <a:pt x="278057" y="91629"/>
                    <a:pt x="278057" y="95703"/>
                  </a:cubicBezTo>
                  <a:cubicBezTo>
                    <a:pt x="278057" y="99218"/>
                    <a:pt x="280631" y="101797"/>
                    <a:pt x="284700" y="102614"/>
                  </a:cubicBezTo>
                  <a:lnTo>
                    <a:pt x="294728" y="104643"/>
                  </a:lnTo>
                  <a:cubicBezTo>
                    <a:pt x="307198" y="107356"/>
                    <a:pt x="313707" y="114944"/>
                    <a:pt x="313707" y="124705"/>
                  </a:cubicBezTo>
                  <a:cubicBezTo>
                    <a:pt x="313707" y="134739"/>
                    <a:pt x="305574" y="145842"/>
                    <a:pt x="288764" y="145842"/>
                  </a:cubicBezTo>
                  <a:close/>
                  <a:moveTo>
                    <a:pt x="363687" y="143129"/>
                  </a:moveTo>
                  <a:cubicBezTo>
                    <a:pt x="362737" y="143540"/>
                    <a:pt x="359757" y="144624"/>
                    <a:pt x="354064" y="144624"/>
                  </a:cubicBezTo>
                  <a:cubicBezTo>
                    <a:pt x="341867" y="144624"/>
                    <a:pt x="334274" y="137303"/>
                    <a:pt x="334274" y="124973"/>
                  </a:cubicBezTo>
                  <a:lnTo>
                    <a:pt x="334274" y="91758"/>
                  </a:lnTo>
                  <a:lnTo>
                    <a:pt x="322077" y="91758"/>
                  </a:lnTo>
                  <a:lnTo>
                    <a:pt x="322077" y="77804"/>
                  </a:lnTo>
                  <a:lnTo>
                    <a:pt x="325468" y="77804"/>
                  </a:lnTo>
                  <a:cubicBezTo>
                    <a:pt x="332517" y="77804"/>
                    <a:pt x="335635" y="73324"/>
                    <a:pt x="335635" y="67503"/>
                  </a:cubicBezTo>
                  <a:lnTo>
                    <a:pt x="335635" y="57603"/>
                  </a:lnTo>
                  <a:lnTo>
                    <a:pt x="349867" y="57603"/>
                  </a:lnTo>
                  <a:lnTo>
                    <a:pt x="349867" y="77804"/>
                  </a:lnTo>
                  <a:lnTo>
                    <a:pt x="363558" y="77804"/>
                  </a:lnTo>
                  <a:lnTo>
                    <a:pt x="363558" y="91758"/>
                  </a:lnTo>
                  <a:lnTo>
                    <a:pt x="349867" y="91758"/>
                  </a:lnTo>
                  <a:lnTo>
                    <a:pt x="349867" y="122389"/>
                  </a:lnTo>
                  <a:cubicBezTo>
                    <a:pt x="349867" y="128220"/>
                    <a:pt x="352441" y="130650"/>
                    <a:pt x="358272" y="130650"/>
                  </a:cubicBezTo>
                  <a:cubicBezTo>
                    <a:pt x="360440" y="130650"/>
                    <a:pt x="363014" y="130249"/>
                    <a:pt x="363692" y="130106"/>
                  </a:cubicBezTo>
                  <a:lnTo>
                    <a:pt x="363692" y="143129"/>
                  </a:lnTo>
                  <a:close/>
                  <a:moveTo>
                    <a:pt x="417197" y="93392"/>
                  </a:moveTo>
                  <a:cubicBezTo>
                    <a:pt x="415439" y="93119"/>
                    <a:pt x="413672" y="92991"/>
                    <a:pt x="412044" y="92991"/>
                  </a:cubicBezTo>
                  <a:cubicBezTo>
                    <a:pt x="399847" y="92991"/>
                    <a:pt x="394293" y="100040"/>
                    <a:pt x="394293" y="112370"/>
                  </a:cubicBezTo>
                  <a:lnTo>
                    <a:pt x="394293" y="143817"/>
                  </a:lnTo>
                  <a:lnTo>
                    <a:pt x="378572" y="143817"/>
                  </a:lnTo>
                  <a:lnTo>
                    <a:pt x="378572" y="77809"/>
                  </a:lnTo>
                  <a:lnTo>
                    <a:pt x="393882" y="77809"/>
                  </a:lnTo>
                  <a:lnTo>
                    <a:pt x="393882" y="88372"/>
                  </a:lnTo>
                  <a:cubicBezTo>
                    <a:pt x="397006" y="81195"/>
                    <a:pt x="404322" y="76987"/>
                    <a:pt x="412999" y="76987"/>
                  </a:cubicBezTo>
                  <a:cubicBezTo>
                    <a:pt x="414895" y="76987"/>
                    <a:pt x="416523" y="77270"/>
                    <a:pt x="417197" y="77398"/>
                  </a:cubicBezTo>
                  <a:lnTo>
                    <a:pt x="417197" y="93392"/>
                  </a:lnTo>
                  <a:close/>
                  <a:moveTo>
                    <a:pt x="445233" y="143812"/>
                  </a:moveTo>
                  <a:lnTo>
                    <a:pt x="429646" y="143812"/>
                  </a:lnTo>
                  <a:lnTo>
                    <a:pt x="429646" y="77809"/>
                  </a:lnTo>
                  <a:lnTo>
                    <a:pt x="445233" y="77809"/>
                  </a:lnTo>
                  <a:lnTo>
                    <a:pt x="445233" y="143812"/>
                  </a:lnTo>
                  <a:close/>
                  <a:moveTo>
                    <a:pt x="437373" y="64795"/>
                  </a:moveTo>
                  <a:cubicBezTo>
                    <a:pt x="431814" y="64795"/>
                    <a:pt x="427206" y="60316"/>
                    <a:pt x="427206" y="54623"/>
                  </a:cubicBezTo>
                  <a:cubicBezTo>
                    <a:pt x="427206" y="48931"/>
                    <a:pt x="431814" y="44322"/>
                    <a:pt x="437373" y="44322"/>
                  </a:cubicBezTo>
                  <a:cubicBezTo>
                    <a:pt x="443065" y="44322"/>
                    <a:pt x="447674" y="48931"/>
                    <a:pt x="447674" y="54623"/>
                  </a:cubicBezTo>
                  <a:cubicBezTo>
                    <a:pt x="447674" y="60316"/>
                    <a:pt x="443065" y="64795"/>
                    <a:pt x="437373" y="64795"/>
                  </a:cubicBezTo>
                  <a:close/>
                  <a:moveTo>
                    <a:pt x="504040" y="143812"/>
                  </a:moveTo>
                  <a:cubicBezTo>
                    <a:pt x="503906" y="143411"/>
                    <a:pt x="503361" y="140699"/>
                    <a:pt x="503361" y="135407"/>
                  </a:cubicBezTo>
                  <a:cubicBezTo>
                    <a:pt x="500243" y="140417"/>
                    <a:pt x="493739" y="145842"/>
                    <a:pt x="483032" y="145842"/>
                  </a:cubicBezTo>
                  <a:cubicBezTo>
                    <a:pt x="469206" y="145842"/>
                    <a:pt x="460668" y="136363"/>
                    <a:pt x="460668" y="125923"/>
                  </a:cubicBezTo>
                  <a:cubicBezTo>
                    <a:pt x="460668" y="114137"/>
                    <a:pt x="469340" y="107628"/>
                    <a:pt x="480591" y="106004"/>
                  </a:cubicBezTo>
                  <a:lnTo>
                    <a:pt x="497535" y="103425"/>
                  </a:lnTo>
                  <a:cubicBezTo>
                    <a:pt x="501332" y="102881"/>
                    <a:pt x="502416" y="100985"/>
                    <a:pt x="502416" y="98678"/>
                  </a:cubicBezTo>
                  <a:cubicBezTo>
                    <a:pt x="502416" y="93124"/>
                    <a:pt x="498619" y="88659"/>
                    <a:pt x="489947" y="88659"/>
                  </a:cubicBezTo>
                  <a:cubicBezTo>
                    <a:pt x="481680" y="88659"/>
                    <a:pt x="477072" y="93941"/>
                    <a:pt x="476394" y="100589"/>
                  </a:cubicBezTo>
                  <a:lnTo>
                    <a:pt x="462024" y="97337"/>
                  </a:lnTo>
                  <a:cubicBezTo>
                    <a:pt x="463242" y="85952"/>
                    <a:pt x="473547" y="75780"/>
                    <a:pt x="489808" y="75780"/>
                  </a:cubicBezTo>
                  <a:cubicBezTo>
                    <a:pt x="510138" y="75780"/>
                    <a:pt x="517865" y="87298"/>
                    <a:pt x="517865" y="100450"/>
                  </a:cubicBezTo>
                  <a:lnTo>
                    <a:pt x="517865" y="133254"/>
                  </a:lnTo>
                  <a:cubicBezTo>
                    <a:pt x="517865" y="139219"/>
                    <a:pt x="518543" y="143144"/>
                    <a:pt x="518677" y="143827"/>
                  </a:cubicBezTo>
                  <a:lnTo>
                    <a:pt x="504040" y="143827"/>
                  </a:lnTo>
                  <a:close/>
                </a:path>
              </a:pathLst>
            </a:custGeom>
            <a:solidFill>
              <a:srgbClr val="000000"/>
            </a:solidFill>
            <a:ln w="494" cap="flat">
              <a:noFill/>
              <a:prstDash val="solid"/>
              <a:miter/>
            </a:ln>
          </p:spPr>
          <p:txBody>
            <a:bodyPr rtlCol="0" anchor="ctr"/>
            <a:lstStyle/>
            <a:p>
              <a:endParaRPr lang="en-US"/>
            </a:p>
          </p:txBody>
        </p:sp>
        <p:sp>
          <p:nvSpPr>
            <p:cNvPr id="231" name="Freeform: Shape 99">
              <a:extLst>
                <a:ext uri="{FF2B5EF4-FFF2-40B4-BE49-F238E27FC236}">
                  <a16:creationId xmlns:a16="http://schemas.microsoft.com/office/drawing/2014/main" id="{B945185A-2256-4FA9-9281-26F8B3A45E8B}"/>
                </a:ext>
              </a:extLst>
            </p:cNvPr>
            <p:cNvSpPr/>
            <p:nvPr/>
          </p:nvSpPr>
          <p:spPr>
            <a:xfrm>
              <a:off x="7155080" y="3752212"/>
              <a:ext cx="29279" cy="39298"/>
            </a:xfrm>
            <a:custGeom>
              <a:avLst/>
              <a:gdLst>
                <a:gd name="connsiteX0" fmla="*/ 0 w 29279"/>
                <a:gd name="connsiteY0" fmla="*/ 39298 h 39298"/>
                <a:gd name="connsiteX1" fmla="*/ 29279 w 29279"/>
                <a:gd name="connsiteY1" fmla="*/ 39298 h 39298"/>
                <a:gd name="connsiteX2" fmla="*/ 14642 w 29279"/>
                <a:gd name="connsiteY2" fmla="*/ 0 h 39298"/>
              </a:gdLst>
              <a:ahLst/>
              <a:cxnLst>
                <a:cxn ang="0">
                  <a:pos x="connsiteX0" y="connsiteY0"/>
                </a:cxn>
                <a:cxn ang="0">
                  <a:pos x="connsiteX1" y="connsiteY1"/>
                </a:cxn>
                <a:cxn ang="0">
                  <a:pos x="connsiteX2" y="connsiteY2"/>
                </a:cxn>
              </a:cxnLst>
              <a:rect l="l" t="t" r="r" b="b"/>
              <a:pathLst>
                <a:path w="29279" h="39298">
                  <a:moveTo>
                    <a:pt x="0" y="39298"/>
                  </a:moveTo>
                  <a:lnTo>
                    <a:pt x="29279" y="39298"/>
                  </a:lnTo>
                  <a:lnTo>
                    <a:pt x="14642" y="0"/>
                  </a:lnTo>
                  <a:close/>
                </a:path>
              </a:pathLst>
            </a:custGeom>
            <a:solidFill>
              <a:srgbClr val="000000"/>
            </a:solidFill>
            <a:ln w="494" cap="flat">
              <a:noFill/>
              <a:prstDash val="solid"/>
              <a:miter/>
            </a:ln>
          </p:spPr>
          <p:txBody>
            <a:bodyPr rtlCol="0" anchor="ctr"/>
            <a:lstStyle/>
            <a:p>
              <a:endParaRPr lang="en-US"/>
            </a:p>
          </p:txBody>
        </p:sp>
      </p:grpSp>
      <p:grpSp>
        <p:nvGrpSpPr>
          <p:cNvPr id="232" name="Graphic 134">
            <a:extLst>
              <a:ext uri="{FF2B5EF4-FFF2-40B4-BE49-F238E27FC236}">
                <a16:creationId xmlns:a16="http://schemas.microsoft.com/office/drawing/2014/main" id="{5043EAFA-5FF7-42DA-B0C6-997764FCE3DF}"/>
              </a:ext>
            </a:extLst>
          </p:cNvPr>
          <p:cNvGrpSpPr/>
          <p:nvPr userDrawn="1">
            <p:custDataLst>
              <p:tags r:id="rId11"/>
            </p:custDataLst>
          </p:nvPr>
        </p:nvGrpSpPr>
        <p:grpSpPr>
          <a:xfrm>
            <a:off x="7998267" y="3937344"/>
            <a:ext cx="702375" cy="198000"/>
            <a:chOff x="7849408" y="3756590"/>
            <a:chExt cx="702375" cy="198000"/>
          </a:xfrm>
          <a:solidFill>
            <a:srgbClr val="000000"/>
          </a:solidFill>
        </p:grpSpPr>
        <p:sp>
          <p:nvSpPr>
            <p:cNvPr id="233" name="Freeform: Shape 101">
              <a:extLst>
                <a:ext uri="{FF2B5EF4-FFF2-40B4-BE49-F238E27FC236}">
                  <a16:creationId xmlns:a16="http://schemas.microsoft.com/office/drawing/2014/main" id="{31384A87-B352-426C-BD2E-547E34466ECB}"/>
                </a:ext>
              </a:extLst>
            </p:cNvPr>
            <p:cNvSpPr/>
            <p:nvPr/>
          </p:nvSpPr>
          <p:spPr>
            <a:xfrm>
              <a:off x="8291512" y="3870043"/>
              <a:ext cx="26022" cy="20057"/>
            </a:xfrm>
            <a:custGeom>
              <a:avLst/>
              <a:gdLst>
                <a:gd name="connsiteX0" fmla="*/ 0 w 26022"/>
                <a:gd name="connsiteY0" fmla="*/ 1152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69 h 20057"/>
                <a:gd name="connsiteX5" fmla="*/ 0 w 26022"/>
                <a:gd name="connsiteY5" fmla="*/ 1152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24"/>
                  </a:moveTo>
                  <a:cubicBezTo>
                    <a:pt x="0" y="15993"/>
                    <a:pt x="3391" y="20057"/>
                    <a:pt x="9623" y="20057"/>
                  </a:cubicBezTo>
                  <a:cubicBezTo>
                    <a:pt x="18434" y="20057"/>
                    <a:pt x="26022" y="15860"/>
                    <a:pt x="26022" y="2980"/>
                  </a:cubicBezTo>
                  <a:lnTo>
                    <a:pt x="26022" y="0"/>
                  </a:lnTo>
                  <a:lnTo>
                    <a:pt x="8806" y="2569"/>
                  </a:lnTo>
                  <a:cubicBezTo>
                    <a:pt x="3935" y="3391"/>
                    <a:pt x="0" y="6103"/>
                    <a:pt x="0" y="11524"/>
                  </a:cubicBezTo>
                  <a:close/>
                </a:path>
              </a:pathLst>
            </a:custGeom>
            <a:solidFill>
              <a:srgbClr val="000000"/>
            </a:solidFill>
            <a:ln w="490" cap="flat">
              <a:noFill/>
              <a:prstDash val="solid"/>
              <a:miter/>
            </a:ln>
          </p:spPr>
          <p:txBody>
            <a:bodyPr rtlCol="0" anchor="ctr"/>
            <a:lstStyle/>
            <a:p>
              <a:endParaRPr lang="en-US"/>
            </a:p>
          </p:txBody>
        </p:sp>
        <p:sp>
          <p:nvSpPr>
            <p:cNvPr id="234" name="Freeform: Shape 102">
              <a:extLst>
                <a:ext uri="{FF2B5EF4-FFF2-40B4-BE49-F238E27FC236}">
                  <a16:creationId xmlns:a16="http://schemas.microsoft.com/office/drawing/2014/main" id="{4FC2C6D7-244C-49F1-8590-81A128351D20}"/>
                </a:ext>
              </a:extLst>
            </p:cNvPr>
            <p:cNvSpPr/>
            <p:nvPr/>
          </p:nvSpPr>
          <p:spPr>
            <a:xfrm>
              <a:off x="7849408" y="3756590"/>
              <a:ext cx="702375" cy="198000"/>
            </a:xfrm>
            <a:custGeom>
              <a:avLst/>
              <a:gdLst>
                <a:gd name="connsiteX0" fmla="*/ 603375 w 702375"/>
                <a:gd name="connsiteY0" fmla="*/ 0 h 198000"/>
                <a:gd name="connsiteX1" fmla="*/ 99000 w 702375"/>
                <a:gd name="connsiteY1" fmla="*/ 0 h 198000"/>
                <a:gd name="connsiteX2" fmla="*/ 0 w 702375"/>
                <a:gd name="connsiteY2" fmla="*/ 99000 h 198000"/>
                <a:gd name="connsiteX3" fmla="*/ 99000 w 702375"/>
                <a:gd name="connsiteY3" fmla="*/ 198000 h 198000"/>
                <a:gd name="connsiteX4" fmla="*/ 603375 w 702375"/>
                <a:gd name="connsiteY4" fmla="*/ 198000 h 198000"/>
                <a:gd name="connsiteX5" fmla="*/ 702375 w 702375"/>
                <a:gd name="connsiteY5" fmla="*/ 99000 h 198000"/>
                <a:gd name="connsiteX6" fmla="*/ 603375 w 702375"/>
                <a:gd name="connsiteY6" fmla="*/ 0 h 198000"/>
                <a:gd name="connsiteX7" fmla="*/ 173230 w 702375"/>
                <a:gd name="connsiteY7" fmla="*/ 143812 h 198000"/>
                <a:gd name="connsiteX8" fmla="*/ 156831 w 702375"/>
                <a:gd name="connsiteY8" fmla="*/ 143812 h 198000"/>
                <a:gd name="connsiteX9" fmla="*/ 156831 w 702375"/>
                <a:gd name="connsiteY9" fmla="*/ 102747 h 198000"/>
                <a:gd name="connsiteX10" fmla="*/ 111697 w 702375"/>
                <a:gd name="connsiteY10" fmla="*/ 102747 h 198000"/>
                <a:gd name="connsiteX11" fmla="*/ 111697 w 702375"/>
                <a:gd name="connsiteY11" fmla="*/ 143812 h 198000"/>
                <a:gd name="connsiteX12" fmla="*/ 95431 w 702375"/>
                <a:gd name="connsiteY12" fmla="*/ 143812 h 198000"/>
                <a:gd name="connsiteX13" fmla="*/ 95431 w 702375"/>
                <a:gd name="connsiteY13" fmla="*/ 47708 h 198000"/>
                <a:gd name="connsiteX14" fmla="*/ 111697 w 702375"/>
                <a:gd name="connsiteY14" fmla="*/ 47708 h 198000"/>
                <a:gd name="connsiteX15" fmla="*/ 111697 w 702375"/>
                <a:gd name="connsiteY15" fmla="*/ 87427 h 198000"/>
                <a:gd name="connsiteX16" fmla="*/ 156831 w 702375"/>
                <a:gd name="connsiteY16" fmla="*/ 87427 h 198000"/>
                <a:gd name="connsiteX17" fmla="*/ 156831 w 702375"/>
                <a:gd name="connsiteY17" fmla="*/ 47708 h 198000"/>
                <a:gd name="connsiteX18" fmla="*/ 173230 w 702375"/>
                <a:gd name="connsiteY18" fmla="*/ 47708 h 198000"/>
                <a:gd name="connsiteX19" fmla="*/ 173230 w 702375"/>
                <a:gd name="connsiteY19" fmla="*/ 143812 h 198000"/>
                <a:gd name="connsiteX20" fmla="*/ 238511 w 702375"/>
                <a:gd name="connsiteY20" fmla="*/ 143812 h 198000"/>
                <a:gd name="connsiteX21" fmla="*/ 237966 w 702375"/>
                <a:gd name="connsiteY21" fmla="*/ 136491 h 198000"/>
                <a:gd name="connsiteX22" fmla="*/ 219260 w 702375"/>
                <a:gd name="connsiteY22" fmla="*/ 145708 h 198000"/>
                <a:gd name="connsiteX23" fmla="*/ 194322 w 702375"/>
                <a:gd name="connsiteY23" fmla="*/ 119414 h 198000"/>
                <a:gd name="connsiteX24" fmla="*/ 194322 w 702375"/>
                <a:gd name="connsiteY24" fmla="*/ 77809 h 198000"/>
                <a:gd name="connsiteX25" fmla="*/ 210043 w 702375"/>
                <a:gd name="connsiteY25" fmla="*/ 77809 h 198000"/>
                <a:gd name="connsiteX26" fmla="*/ 210043 w 702375"/>
                <a:gd name="connsiteY26" fmla="*/ 116563 h 198000"/>
                <a:gd name="connsiteX27" fmla="*/ 223324 w 702375"/>
                <a:gd name="connsiteY27" fmla="*/ 131611 h 198000"/>
                <a:gd name="connsiteX28" fmla="*/ 237150 w 702375"/>
                <a:gd name="connsiteY28" fmla="*/ 116840 h 198000"/>
                <a:gd name="connsiteX29" fmla="*/ 237150 w 702375"/>
                <a:gd name="connsiteY29" fmla="*/ 77804 h 198000"/>
                <a:gd name="connsiteX30" fmla="*/ 252871 w 702375"/>
                <a:gd name="connsiteY30" fmla="*/ 77804 h 198000"/>
                <a:gd name="connsiteX31" fmla="*/ 252871 w 702375"/>
                <a:gd name="connsiteY31" fmla="*/ 131739 h 198000"/>
                <a:gd name="connsiteX32" fmla="*/ 253549 w 702375"/>
                <a:gd name="connsiteY32" fmla="*/ 143807 h 198000"/>
                <a:gd name="connsiteX33" fmla="*/ 238511 w 702375"/>
                <a:gd name="connsiteY33" fmla="*/ 143807 h 198000"/>
                <a:gd name="connsiteX34" fmla="*/ 331046 w 702375"/>
                <a:gd name="connsiteY34" fmla="*/ 143812 h 198000"/>
                <a:gd name="connsiteX35" fmla="*/ 315325 w 702375"/>
                <a:gd name="connsiteY35" fmla="*/ 143812 h 198000"/>
                <a:gd name="connsiteX36" fmla="*/ 315325 w 702375"/>
                <a:gd name="connsiteY36" fmla="*/ 104777 h 198000"/>
                <a:gd name="connsiteX37" fmla="*/ 301772 w 702375"/>
                <a:gd name="connsiteY37" fmla="*/ 90140 h 198000"/>
                <a:gd name="connsiteX38" fmla="*/ 288085 w 702375"/>
                <a:gd name="connsiteY38" fmla="*/ 105722 h 198000"/>
                <a:gd name="connsiteX39" fmla="*/ 288085 w 702375"/>
                <a:gd name="connsiteY39" fmla="*/ 143812 h 198000"/>
                <a:gd name="connsiteX40" fmla="*/ 272364 w 702375"/>
                <a:gd name="connsiteY40" fmla="*/ 143812 h 198000"/>
                <a:gd name="connsiteX41" fmla="*/ 272364 w 702375"/>
                <a:gd name="connsiteY41" fmla="*/ 77809 h 198000"/>
                <a:gd name="connsiteX42" fmla="*/ 287674 w 702375"/>
                <a:gd name="connsiteY42" fmla="*/ 77809 h 198000"/>
                <a:gd name="connsiteX43" fmla="*/ 287674 w 702375"/>
                <a:gd name="connsiteY43" fmla="*/ 86615 h 198000"/>
                <a:gd name="connsiteX44" fmla="*/ 307192 w 702375"/>
                <a:gd name="connsiteY44" fmla="*/ 75903 h 198000"/>
                <a:gd name="connsiteX45" fmla="*/ 331046 w 702375"/>
                <a:gd name="connsiteY45" fmla="*/ 102069 h 198000"/>
                <a:gd name="connsiteX46" fmla="*/ 331046 w 702375"/>
                <a:gd name="connsiteY46" fmla="*/ 143812 h 198000"/>
                <a:gd name="connsiteX47" fmla="*/ 410979 w 702375"/>
                <a:gd name="connsiteY47" fmla="*/ 137580 h 198000"/>
                <a:gd name="connsiteX48" fmla="*/ 377091 w 702375"/>
                <a:gd name="connsiteY48" fmla="*/ 171607 h 198000"/>
                <a:gd name="connsiteX49" fmla="*/ 345644 w 702375"/>
                <a:gd name="connsiteY49" fmla="*/ 147470 h 198000"/>
                <a:gd name="connsiteX50" fmla="*/ 360142 w 702375"/>
                <a:gd name="connsiteY50" fmla="*/ 143674 h 198000"/>
                <a:gd name="connsiteX51" fmla="*/ 376680 w 702375"/>
                <a:gd name="connsiteY51" fmla="*/ 157910 h 198000"/>
                <a:gd name="connsiteX52" fmla="*/ 395386 w 702375"/>
                <a:gd name="connsiteY52" fmla="*/ 138120 h 198000"/>
                <a:gd name="connsiteX53" fmla="*/ 395386 w 702375"/>
                <a:gd name="connsiteY53" fmla="*/ 131205 h 198000"/>
                <a:gd name="connsiteX54" fmla="*/ 376279 w 702375"/>
                <a:gd name="connsiteY54" fmla="*/ 140832 h 198000"/>
                <a:gd name="connsiteX55" fmla="*/ 345777 w 702375"/>
                <a:gd name="connsiteY55" fmla="*/ 108712 h 198000"/>
                <a:gd name="connsiteX56" fmla="*/ 376279 w 702375"/>
                <a:gd name="connsiteY56" fmla="*/ 76581 h 198000"/>
                <a:gd name="connsiteX57" fmla="*/ 395797 w 702375"/>
                <a:gd name="connsiteY57" fmla="*/ 86199 h 198000"/>
                <a:gd name="connsiteX58" fmla="*/ 395797 w 702375"/>
                <a:gd name="connsiteY58" fmla="*/ 77804 h 198000"/>
                <a:gd name="connsiteX59" fmla="*/ 410979 w 702375"/>
                <a:gd name="connsiteY59" fmla="*/ 77804 h 198000"/>
                <a:gd name="connsiteX60" fmla="*/ 410979 w 702375"/>
                <a:gd name="connsiteY60" fmla="*/ 137580 h 198000"/>
                <a:gd name="connsiteX61" fmla="*/ 469760 w 702375"/>
                <a:gd name="connsiteY61" fmla="*/ 143812 h 198000"/>
                <a:gd name="connsiteX62" fmla="*/ 469082 w 702375"/>
                <a:gd name="connsiteY62" fmla="*/ 135407 h 198000"/>
                <a:gd name="connsiteX63" fmla="*/ 448752 w 702375"/>
                <a:gd name="connsiteY63" fmla="*/ 145842 h 198000"/>
                <a:gd name="connsiteX64" fmla="*/ 426388 w 702375"/>
                <a:gd name="connsiteY64" fmla="*/ 125923 h 198000"/>
                <a:gd name="connsiteX65" fmla="*/ 446312 w 702375"/>
                <a:gd name="connsiteY65" fmla="*/ 106004 h 198000"/>
                <a:gd name="connsiteX66" fmla="*/ 463256 w 702375"/>
                <a:gd name="connsiteY66" fmla="*/ 103425 h 198000"/>
                <a:gd name="connsiteX67" fmla="*/ 468136 w 702375"/>
                <a:gd name="connsiteY67" fmla="*/ 98678 h 198000"/>
                <a:gd name="connsiteX68" fmla="*/ 455667 w 702375"/>
                <a:gd name="connsiteY68" fmla="*/ 88659 h 198000"/>
                <a:gd name="connsiteX69" fmla="*/ 442114 w 702375"/>
                <a:gd name="connsiteY69" fmla="*/ 100589 h 198000"/>
                <a:gd name="connsiteX70" fmla="*/ 427744 w 702375"/>
                <a:gd name="connsiteY70" fmla="*/ 97337 h 198000"/>
                <a:gd name="connsiteX71" fmla="*/ 455529 w 702375"/>
                <a:gd name="connsiteY71" fmla="*/ 75780 h 198000"/>
                <a:gd name="connsiteX72" fmla="*/ 483585 w 702375"/>
                <a:gd name="connsiteY72" fmla="*/ 100450 h 198000"/>
                <a:gd name="connsiteX73" fmla="*/ 483585 w 702375"/>
                <a:gd name="connsiteY73" fmla="*/ 133254 h 198000"/>
                <a:gd name="connsiteX74" fmla="*/ 484397 w 702375"/>
                <a:gd name="connsiteY74" fmla="*/ 143827 h 198000"/>
                <a:gd name="connsiteX75" fmla="*/ 469760 w 702375"/>
                <a:gd name="connsiteY75" fmla="*/ 143827 h 198000"/>
                <a:gd name="connsiteX76" fmla="*/ 541149 w 702375"/>
                <a:gd name="connsiteY76" fmla="*/ 93392 h 198000"/>
                <a:gd name="connsiteX77" fmla="*/ 535996 w 702375"/>
                <a:gd name="connsiteY77" fmla="*/ 92991 h 198000"/>
                <a:gd name="connsiteX78" fmla="*/ 518240 w 702375"/>
                <a:gd name="connsiteY78" fmla="*/ 112370 h 198000"/>
                <a:gd name="connsiteX79" fmla="*/ 518240 w 702375"/>
                <a:gd name="connsiteY79" fmla="*/ 143817 h 198000"/>
                <a:gd name="connsiteX80" fmla="*/ 502519 w 702375"/>
                <a:gd name="connsiteY80" fmla="*/ 143817 h 198000"/>
                <a:gd name="connsiteX81" fmla="*/ 502519 w 702375"/>
                <a:gd name="connsiteY81" fmla="*/ 77809 h 198000"/>
                <a:gd name="connsiteX82" fmla="*/ 517834 w 702375"/>
                <a:gd name="connsiteY82" fmla="*/ 77809 h 198000"/>
                <a:gd name="connsiteX83" fmla="*/ 517834 w 702375"/>
                <a:gd name="connsiteY83" fmla="*/ 88372 h 198000"/>
                <a:gd name="connsiteX84" fmla="*/ 536946 w 702375"/>
                <a:gd name="connsiteY84" fmla="*/ 76987 h 198000"/>
                <a:gd name="connsiteX85" fmla="*/ 541149 w 702375"/>
                <a:gd name="connsiteY85" fmla="*/ 77398 h 198000"/>
                <a:gd name="connsiteX86" fmla="*/ 541149 w 702375"/>
                <a:gd name="connsiteY86" fmla="*/ 93392 h 198000"/>
                <a:gd name="connsiteX87" fmla="*/ 575012 w 702375"/>
                <a:gd name="connsiteY87" fmla="*/ 170518 h 198000"/>
                <a:gd name="connsiteX88" fmla="*/ 558207 w 702375"/>
                <a:gd name="connsiteY88" fmla="*/ 170518 h 198000"/>
                <a:gd name="connsiteX89" fmla="*/ 574061 w 702375"/>
                <a:gd name="connsiteY89" fmla="*/ 135952 h 198000"/>
                <a:gd name="connsiteX90" fmla="*/ 545866 w 702375"/>
                <a:gd name="connsiteY90" fmla="*/ 77809 h 198000"/>
                <a:gd name="connsiteX91" fmla="*/ 563627 w 702375"/>
                <a:gd name="connsiteY91" fmla="*/ 77809 h 198000"/>
                <a:gd name="connsiteX92" fmla="*/ 582605 w 702375"/>
                <a:gd name="connsiteY92" fmla="*/ 119557 h 198000"/>
                <a:gd name="connsiteX93" fmla="*/ 600356 w 702375"/>
                <a:gd name="connsiteY93" fmla="*/ 77809 h 198000"/>
                <a:gd name="connsiteX94" fmla="*/ 617032 w 702375"/>
                <a:gd name="connsiteY94" fmla="*/ 77809 h 198000"/>
                <a:gd name="connsiteX95" fmla="*/ 575012 w 702375"/>
                <a:gd name="connsiteY95" fmla="*/ 170518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702375" h="198000">
                  <a:moveTo>
                    <a:pt x="603375" y="0"/>
                  </a:moveTo>
                  <a:lnTo>
                    <a:pt x="99000" y="0"/>
                  </a:lnTo>
                  <a:cubicBezTo>
                    <a:pt x="44322" y="0"/>
                    <a:pt x="0" y="44327"/>
                    <a:pt x="0" y="99000"/>
                  </a:cubicBezTo>
                  <a:cubicBezTo>
                    <a:pt x="0" y="153673"/>
                    <a:pt x="44322" y="198000"/>
                    <a:pt x="99000" y="198000"/>
                  </a:cubicBezTo>
                  <a:lnTo>
                    <a:pt x="603375" y="198000"/>
                  </a:lnTo>
                  <a:cubicBezTo>
                    <a:pt x="658053" y="198000"/>
                    <a:pt x="702375" y="153673"/>
                    <a:pt x="702375" y="99000"/>
                  </a:cubicBezTo>
                  <a:cubicBezTo>
                    <a:pt x="702375" y="44327"/>
                    <a:pt x="658053" y="0"/>
                    <a:pt x="603375" y="0"/>
                  </a:cubicBezTo>
                  <a:close/>
                  <a:moveTo>
                    <a:pt x="173230" y="143812"/>
                  </a:moveTo>
                  <a:lnTo>
                    <a:pt x="156831" y="143812"/>
                  </a:lnTo>
                  <a:lnTo>
                    <a:pt x="156831" y="102747"/>
                  </a:lnTo>
                  <a:lnTo>
                    <a:pt x="111697" y="102747"/>
                  </a:lnTo>
                  <a:lnTo>
                    <a:pt x="111697" y="143812"/>
                  </a:lnTo>
                  <a:lnTo>
                    <a:pt x="95431" y="143812"/>
                  </a:lnTo>
                  <a:lnTo>
                    <a:pt x="95431" y="47708"/>
                  </a:lnTo>
                  <a:lnTo>
                    <a:pt x="111697" y="47708"/>
                  </a:lnTo>
                  <a:lnTo>
                    <a:pt x="111697" y="87427"/>
                  </a:lnTo>
                  <a:lnTo>
                    <a:pt x="156831" y="87427"/>
                  </a:lnTo>
                  <a:lnTo>
                    <a:pt x="156831" y="47708"/>
                  </a:lnTo>
                  <a:lnTo>
                    <a:pt x="173230" y="47708"/>
                  </a:lnTo>
                  <a:lnTo>
                    <a:pt x="173230" y="143812"/>
                  </a:lnTo>
                  <a:close/>
                  <a:moveTo>
                    <a:pt x="238511" y="143812"/>
                  </a:moveTo>
                  <a:cubicBezTo>
                    <a:pt x="238239" y="142327"/>
                    <a:pt x="237966" y="139204"/>
                    <a:pt x="237966" y="136491"/>
                  </a:cubicBezTo>
                  <a:cubicBezTo>
                    <a:pt x="234714" y="142456"/>
                    <a:pt x="226987" y="145708"/>
                    <a:pt x="219260" y="145708"/>
                  </a:cubicBezTo>
                  <a:cubicBezTo>
                    <a:pt x="203539" y="145708"/>
                    <a:pt x="194322" y="134051"/>
                    <a:pt x="194322" y="119414"/>
                  </a:cubicBezTo>
                  <a:lnTo>
                    <a:pt x="194322" y="77809"/>
                  </a:lnTo>
                  <a:lnTo>
                    <a:pt x="210043" y="77809"/>
                  </a:lnTo>
                  <a:lnTo>
                    <a:pt x="210043" y="116563"/>
                  </a:lnTo>
                  <a:cubicBezTo>
                    <a:pt x="210043" y="124695"/>
                    <a:pt x="213840" y="131611"/>
                    <a:pt x="223324" y="131611"/>
                  </a:cubicBezTo>
                  <a:cubicBezTo>
                    <a:pt x="232407" y="131611"/>
                    <a:pt x="237150" y="125517"/>
                    <a:pt x="237150" y="116840"/>
                  </a:cubicBezTo>
                  <a:lnTo>
                    <a:pt x="237150" y="77804"/>
                  </a:lnTo>
                  <a:lnTo>
                    <a:pt x="252871" y="77804"/>
                  </a:lnTo>
                  <a:lnTo>
                    <a:pt x="252871" y="131739"/>
                  </a:lnTo>
                  <a:cubicBezTo>
                    <a:pt x="252871" y="137160"/>
                    <a:pt x="253277" y="141367"/>
                    <a:pt x="253549" y="143807"/>
                  </a:cubicBezTo>
                  <a:lnTo>
                    <a:pt x="238511" y="143807"/>
                  </a:lnTo>
                  <a:close/>
                  <a:moveTo>
                    <a:pt x="331046" y="143812"/>
                  </a:moveTo>
                  <a:lnTo>
                    <a:pt x="315325" y="143812"/>
                  </a:lnTo>
                  <a:lnTo>
                    <a:pt x="315325" y="104777"/>
                  </a:lnTo>
                  <a:cubicBezTo>
                    <a:pt x="315325" y="96644"/>
                    <a:pt x="311672" y="90140"/>
                    <a:pt x="301772" y="90140"/>
                  </a:cubicBezTo>
                  <a:cubicBezTo>
                    <a:pt x="292827" y="90140"/>
                    <a:pt x="288085" y="97050"/>
                    <a:pt x="288085" y="105722"/>
                  </a:cubicBezTo>
                  <a:lnTo>
                    <a:pt x="288085" y="143812"/>
                  </a:lnTo>
                  <a:lnTo>
                    <a:pt x="272364" y="143812"/>
                  </a:lnTo>
                  <a:lnTo>
                    <a:pt x="272364" y="77809"/>
                  </a:lnTo>
                  <a:lnTo>
                    <a:pt x="287674" y="77809"/>
                  </a:lnTo>
                  <a:lnTo>
                    <a:pt x="287674" y="86615"/>
                  </a:lnTo>
                  <a:cubicBezTo>
                    <a:pt x="292010" y="79027"/>
                    <a:pt x="299871" y="75903"/>
                    <a:pt x="307192" y="75903"/>
                  </a:cubicBezTo>
                  <a:cubicBezTo>
                    <a:pt x="323324" y="75903"/>
                    <a:pt x="331046" y="87570"/>
                    <a:pt x="331046" y="102069"/>
                  </a:cubicBezTo>
                  <a:lnTo>
                    <a:pt x="331046" y="143812"/>
                  </a:lnTo>
                  <a:close/>
                  <a:moveTo>
                    <a:pt x="410979" y="137580"/>
                  </a:moveTo>
                  <a:cubicBezTo>
                    <a:pt x="410979" y="155202"/>
                    <a:pt x="401891" y="171607"/>
                    <a:pt x="377091" y="171607"/>
                  </a:cubicBezTo>
                  <a:cubicBezTo>
                    <a:pt x="359603" y="171607"/>
                    <a:pt x="347401" y="160761"/>
                    <a:pt x="345644" y="147470"/>
                  </a:cubicBezTo>
                  <a:lnTo>
                    <a:pt x="360142" y="143674"/>
                  </a:lnTo>
                  <a:cubicBezTo>
                    <a:pt x="361226" y="151807"/>
                    <a:pt x="367602" y="157910"/>
                    <a:pt x="376680" y="157910"/>
                  </a:cubicBezTo>
                  <a:cubicBezTo>
                    <a:pt x="389149" y="157910"/>
                    <a:pt x="395386" y="151544"/>
                    <a:pt x="395386" y="138120"/>
                  </a:cubicBezTo>
                  <a:lnTo>
                    <a:pt x="395386" y="131205"/>
                  </a:lnTo>
                  <a:cubicBezTo>
                    <a:pt x="392545" y="136363"/>
                    <a:pt x="385897" y="140832"/>
                    <a:pt x="376279" y="140832"/>
                  </a:cubicBezTo>
                  <a:cubicBezTo>
                    <a:pt x="358657" y="140832"/>
                    <a:pt x="345777" y="127279"/>
                    <a:pt x="345777" y="108712"/>
                  </a:cubicBezTo>
                  <a:cubicBezTo>
                    <a:pt x="345777" y="91080"/>
                    <a:pt x="358118" y="76581"/>
                    <a:pt x="376279" y="76581"/>
                  </a:cubicBezTo>
                  <a:cubicBezTo>
                    <a:pt x="386580" y="76581"/>
                    <a:pt x="392946" y="80779"/>
                    <a:pt x="395797" y="86199"/>
                  </a:cubicBezTo>
                  <a:lnTo>
                    <a:pt x="395797" y="77804"/>
                  </a:lnTo>
                  <a:lnTo>
                    <a:pt x="410979" y="77804"/>
                  </a:lnTo>
                  <a:lnTo>
                    <a:pt x="410979" y="137580"/>
                  </a:lnTo>
                  <a:close/>
                  <a:moveTo>
                    <a:pt x="469760" y="143812"/>
                  </a:moveTo>
                  <a:cubicBezTo>
                    <a:pt x="469626" y="143411"/>
                    <a:pt x="469082" y="140699"/>
                    <a:pt x="469082" y="135407"/>
                  </a:cubicBezTo>
                  <a:cubicBezTo>
                    <a:pt x="465963" y="140417"/>
                    <a:pt x="459459" y="145842"/>
                    <a:pt x="448752" y="145842"/>
                  </a:cubicBezTo>
                  <a:cubicBezTo>
                    <a:pt x="434927" y="145842"/>
                    <a:pt x="426388" y="136363"/>
                    <a:pt x="426388" y="125923"/>
                  </a:cubicBezTo>
                  <a:cubicBezTo>
                    <a:pt x="426388" y="114137"/>
                    <a:pt x="435060" y="107628"/>
                    <a:pt x="446312" y="106004"/>
                  </a:cubicBezTo>
                  <a:lnTo>
                    <a:pt x="463256" y="103425"/>
                  </a:lnTo>
                  <a:cubicBezTo>
                    <a:pt x="467052" y="102881"/>
                    <a:pt x="468136" y="100985"/>
                    <a:pt x="468136" y="98678"/>
                  </a:cubicBezTo>
                  <a:cubicBezTo>
                    <a:pt x="468136" y="93124"/>
                    <a:pt x="464340" y="88659"/>
                    <a:pt x="455667" y="88659"/>
                  </a:cubicBezTo>
                  <a:cubicBezTo>
                    <a:pt x="447401" y="88659"/>
                    <a:pt x="442792" y="93941"/>
                    <a:pt x="442114" y="100589"/>
                  </a:cubicBezTo>
                  <a:lnTo>
                    <a:pt x="427744" y="97337"/>
                  </a:lnTo>
                  <a:cubicBezTo>
                    <a:pt x="428962" y="85952"/>
                    <a:pt x="439268" y="75780"/>
                    <a:pt x="455529" y="75780"/>
                  </a:cubicBezTo>
                  <a:cubicBezTo>
                    <a:pt x="475858" y="75780"/>
                    <a:pt x="483585" y="87298"/>
                    <a:pt x="483585" y="100450"/>
                  </a:cubicBezTo>
                  <a:lnTo>
                    <a:pt x="483585" y="133254"/>
                  </a:lnTo>
                  <a:cubicBezTo>
                    <a:pt x="483585" y="139219"/>
                    <a:pt x="484263" y="143144"/>
                    <a:pt x="484397" y="143827"/>
                  </a:cubicBezTo>
                  <a:lnTo>
                    <a:pt x="469760" y="143827"/>
                  </a:lnTo>
                  <a:close/>
                  <a:moveTo>
                    <a:pt x="541149" y="93392"/>
                  </a:moveTo>
                  <a:cubicBezTo>
                    <a:pt x="539387" y="93119"/>
                    <a:pt x="537624" y="92991"/>
                    <a:pt x="535996" y="92991"/>
                  </a:cubicBezTo>
                  <a:cubicBezTo>
                    <a:pt x="523799" y="92991"/>
                    <a:pt x="518240" y="100040"/>
                    <a:pt x="518240" y="112370"/>
                  </a:cubicBezTo>
                  <a:lnTo>
                    <a:pt x="518240" y="143817"/>
                  </a:lnTo>
                  <a:lnTo>
                    <a:pt x="502519" y="143817"/>
                  </a:lnTo>
                  <a:lnTo>
                    <a:pt x="502519" y="77809"/>
                  </a:lnTo>
                  <a:lnTo>
                    <a:pt x="517834" y="77809"/>
                  </a:lnTo>
                  <a:lnTo>
                    <a:pt x="517834" y="88372"/>
                  </a:lnTo>
                  <a:cubicBezTo>
                    <a:pt x="520953" y="81195"/>
                    <a:pt x="528269" y="76987"/>
                    <a:pt x="536946" y="76987"/>
                  </a:cubicBezTo>
                  <a:cubicBezTo>
                    <a:pt x="538842" y="76987"/>
                    <a:pt x="540471" y="77270"/>
                    <a:pt x="541149" y="77398"/>
                  </a:cubicBezTo>
                  <a:lnTo>
                    <a:pt x="541149" y="93392"/>
                  </a:lnTo>
                  <a:close/>
                  <a:moveTo>
                    <a:pt x="575012" y="170518"/>
                  </a:moveTo>
                  <a:lnTo>
                    <a:pt x="558207" y="170518"/>
                  </a:lnTo>
                  <a:lnTo>
                    <a:pt x="574061" y="135952"/>
                  </a:lnTo>
                  <a:lnTo>
                    <a:pt x="545866" y="77809"/>
                  </a:lnTo>
                  <a:lnTo>
                    <a:pt x="563627" y="77809"/>
                  </a:lnTo>
                  <a:lnTo>
                    <a:pt x="582605" y="119557"/>
                  </a:lnTo>
                  <a:lnTo>
                    <a:pt x="600356" y="77809"/>
                  </a:lnTo>
                  <a:lnTo>
                    <a:pt x="617032" y="77809"/>
                  </a:lnTo>
                  <a:lnTo>
                    <a:pt x="575012" y="170518"/>
                  </a:lnTo>
                  <a:close/>
                </a:path>
              </a:pathLst>
            </a:custGeom>
            <a:solidFill>
              <a:srgbClr val="000000"/>
            </a:solidFill>
            <a:ln w="490" cap="flat">
              <a:noFill/>
              <a:prstDash val="solid"/>
              <a:miter/>
            </a:ln>
          </p:spPr>
          <p:txBody>
            <a:bodyPr rtlCol="0" anchor="ctr"/>
            <a:lstStyle/>
            <a:p>
              <a:endParaRPr lang="en-US"/>
            </a:p>
          </p:txBody>
        </p:sp>
        <p:sp>
          <p:nvSpPr>
            <p:cNvPr id="235" name="Freeform: Shape 103">
              <a:extLst>
                <a:ext uri="{FF2B5EF4-FFF2-40B4-BE49-F238E27FC236}">
                  <a16:creationId xmlns:a16="http://schemas.microsoft.com/office/drawing/2014/main" id="{3C08B84D-28F8-49A4-995F-D7A32805045D}"/>
                </a:ext>
              </a:extLst>
            </p:cNvPr>
            <p:cNvSpPr/>
            <p:nvPr/>
          </p:nvSpPr>
          <p:spPr>
            <a:xfrm>
              <a:off x="8211045" y="3846729"/>
              <a:ext cx="34159" cy="37268"/>
            </a:xfrm>
            <a:custGeom>
              <a:avLst/>
              <a:gdLst>
                <a:gd name="connsiteX0" fmla="*/ 17211 w 34159"/>
                <a:gd name="connsiteY0" fmla="*/ 0 h 37268"/>
                <a:gd name="connsiteX1" fmla="*/ 0 w 34159"/>
                <a:gd name="connsiteY1" fmla="*/ 18572 h 37268"/>
                <a:gd name="connsiteX2" fmla="*/ 17211 w 34159"/>
                <a:gd name="connsiteY2" fmla="*/ 37269 h 37268"/>
                <a:gd name="connsiteX3" fmla="*/ 34160 w 34159"/>
                <a:gd name="connsiteY3" fmla="*/ 18572 h 37268"/>
                <a:gd name="connsiteX4" fmla="*/ 17211 w 34159"/>
                <a:gd name="connsiteY4" fmla="*/ 0 h 37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59" h="37268">
                  <a:moveTo>
                    <a:pt x="17211" y="0"/>
                  </a:moveTo>
                  <a:cubicBezTo>
                    <a:pt x="7182" y="0"/>
                    <a:pt x="0" y="7321"/>
                    <a:pt x="0" y="18572"/>
                  </a:cubicBezTo>
                  <a:cubicBezTo>
                    <a:pt x="0" y="30091"/>
                    <a:pt x="6910" y="37269"/>
                    <a:pt x="17211" y="37269"/>
                  </a:cubicBezTo>
                  <a:cubicBezTo>
                    <a:pt x="27240" y="37269"/>
                    <a:pt x="34160" y="29957"/>
                    <a:pt x="34160" y="18572"/>
                  </a:cubicBezTo>
                  <a:cubicBezTo>
                    <a:pt x="34160" y="7316"/>
                    <a:pt x="26973" y="0"/>
                    <a:pt x="17211" y="0"/>
                  </a:cubicBezTo>
                  <a:close/>
                </a:path>
              </a:pathLst>
            </a:custGeom>
            <a:solidFill>
              <a:srgbClr val="000000"/>
            </a:solidFill>
            <a:ln w="490" cap="flat">
              <a:noFill/>
              <a:prstDash val="solid"/>
              <a:miter/>
            </a:ln>
          </p:spPr>
          <p:txBody>
            <a:bodyPr rtlCol="0" anchor="ctr"/>
            <a:lstStyle/>
            <a:p>
              <a:endParaRPr lang="en-US"/>
            </a:p>
          </p:txBody>
        </p:sp>
      </p:grpSp>
      <p:grpSp>
        <p:nvGrpSpPr>
          <p:cNvPr id="236" name="Graphic 120">
            <a:extLst>
              <a:ext uri="{FF2B5EF4-FFF2-40B4-BE49-F238E27FC236}">
                <a16:creationId xmlns:a16="http://schemas.microsoft.com/office/drawing/2014/main" id="{52A84773-FEDF-44EB-95EA-AE0DF72C95E4}"/>
              </a:ext>
            </a:extLst>
          </p:cNvPr>
          <p:cNvGrpSpPr/>
          <p:nvPr userDrawn="1">
            <p:custDataLst>
              <p:tags r:id="rId12"/>
            </p:custDataLst>
          </p:nvPr>
        </p:nvGrpSpPr>
        <p:grpSpPr>
          <a:xfrm>
            <a:off x="7023484" y="4202355"/>
            <a:ext cx="691961" cy="198000"/>
            <a:chOff x="6672604" y="4021601"/>
            <a:chExt cx="691961" cy="198000"/>
          </a:xfrm>
          <a:solidFill>
            <a:srgbClr val="000000"/>
          </a:solidFill>
        </p:grpSpPr>
        <p:sp>
          <p:nvSpPr>
            <p:cNvPr id="237" name="Freeform: Shape 105">
              <a:extLst>
                <a:ext uri="{FF2B5EF4-FFF2-40B4-BE49-F238E27FC236}">
                  <a16:creationId xmlns:a16="http://schemas.microsoft.com/office/drawing/2014/main" id="{51EAFB36-AF34-4E6C-9A48-AAFBEBC83615}"/>
                </a:ext>
              </a:extLst>
            </p:cNvPr>
            <p:cNvSpPr/>
            <p:nvPr/>
          </p:nvSpPr>
          <p:spPr>
            <a:xfrm>
              <a:off x="7042508" y="4110512"/>
              <a:ext cx="32392" cy="14637"/>
            </a:xfrm>
            <a:custGeom>
              <a:avLst/>
              <a:gdLst>
                <a:gd name="connsiteX0" fmla="*/ 16132 w 32392"/>
                <a:gd name="connsiteY0" fmla="*/ 0 h 14637"/>
                <a:gd name="connsiteX1" fmla="*/ 0 w 32392"/>
                <a:gd name="connsiteY1" fmla="*/ 14637 h 14637"/>
                <a:gd name="connsiteX2" fmla="*/ 32393 w 32392"/>
                <a:gd name="connsiteY2" fmla="*/ 14637 h 14637"/>
                <a:gd name="connsiteX3" fmla="*/ 16132 w 32392"/>
                <a:gd name="connsiteY3" fmla="*/ 0 h 14637"/>
              </a:gdLst>
              <a:ahLst/>
              <a:cxnLst>
                <a:cxn ang="0">
                  <a:pos x="connsiteX0" y="connsiteY0"/>
                </a:cxn>
                <a:cxn ang="0">
                  <a:pos x="connsiteX1" y="connsiteY1"/>
                </a:cxn>
                <a:cxn ang="0">
                  <a:pos x="connsiteX2" y="connsiteY2"/>
                </a:cxn>
                <a:cxn ang="0">
                  <a:pos x="connsiteX3" y="connsiteY3"/>
                </a:cxn>
              </a:cxnLst>
              <a:rect l="l" t="t" r="r" b="b"/>
              <a:pathLst>
                <a:path w="32392" h="14637">
                  <a:moveTo>
                    <a:pt x="16132" y="0"/>
                  </a:moveTo>
                  <a:cubicBezTo>
                    <a:pt x="6237" y="0"/>
                    <a:pt x="544" y="7588"/>
                    <a:pt x="0" y="14637"/>
                  </a:cubicBezTo>
                  <a:lnTo>
                    <a:pt x="32393" y="14637"/>
                  </a:lnTo>
                  <a:cubicBezTo>
                    <a:pt x="32126" y="6920"/>
                    <a:pt x="26978" y="0"/>
                    <a:pt x="16132" y="0"/>
                  </a:cubicBezTo>
                  <a:close/>
                </a:path>
              </a:pathLst>
            </a:custGeom>
            <a:solidFill>
              <a:srgbClr val="000000"/>
            </a:solidFill>
            <a:ln w="491" cap="flat">
              <a:noFill/>
              <a:prstDash val="solid"/>
              <a:miter/>
            </a:ln>
          </p:spPr>
          <p:txBody>
            <a:bodyPr rtlCol="0" anchor="ctr"/>
            <a:lstStyle/>
            <a:p>
              <a:endParaRPr lang="en-US"/>
            </a:p>
          </p:txBody>
        </p:sp>
        <p:sp>
          <p:nvSpPr>
            <p:cNvPr id="238" name="Freeform: Shape 106">
              <a:extLst>
                <a:ext uri="{FF2B5EF4-FFF2-40B4-BE49-F238E27FC236}">
                  <a16:creationId xmlns:a16="http://schemas.microsoft.com/office/drawing/2014/main" id="{367EE346-55C1-4C2A-994A-8651EE1E46DA}"/>
                </a:ext>
              </a:extLst>
            </p:cNvPr>
            <p:cNvSpPr/>
            <p:nvPr/>
          </p:nvSpPr>
          <p:spPr>
            <a:xfrm>
              <a:off x="6894027" y="4111596"/>
              <a:ext cx="36867" cy="41743"/>
            </a:xfrm>
            <a:custGeom>
              <a:avLst/>
              <a:gdLst>
                <a:gd name="connsiteX0" fmla="*/ 18434 w 36867"/>
                <a:gd name="connsiteY0" fmla="*/ 0 h 41743"/>
                <a:gd name="connsiteX1" fmla="*/ 0 w 36867"/>
                <a:gd name="connsiteY1" fmla="*/ 20741 h 41743"/>
                <a:gd name="connsiteX2" fmla="*/ 18434 w 36867"/>
                <a:gd name="connsiteY2" fmla="*/ 41743 h 41743"/>
                <a:gd name="connsiteX3" fmla="*/ 36868 w 36867"/>
                <a:gd name="connsiteY3" fmla="*/ 20741 h 41743"/>
                <a:gd name="connsiteX4" fmla="*/ 18434 w 36867"/>
                <a:gd name="connsiteY4" fmla="*/ 0 h 41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7" h="41743">
                  <a:moveTo>
                    <a:pt x="18434" y="0"/>
                  </a:moveTo>
                  <a:cubicBezTo>
                    <a:pt x="8816" y="0"/>
                    <a:pt x="0" y="7049"/>
                    <a:pt x="0" y="20741"/>
                  </a:cubicBezTo>
                  <a:cubicBezTo>
                    <a:pt x="0" y="34432"/>
                    <a:pt x="8816" y="41743"/>
                    <a:pt x="18434" y="41743"/>
                  </a:cubicBezTo>
                  <a:cubicBezTo>
                    <a:pt x="28195" y="41743"/>
                    <a:pt x="36868" y="34566"/>
                    <a:pt x="36868" y="20741"/>
                  </a:cubicBezTo>
                  <a:cubicBezTo>
                    <a:pt x="36868" y="7049"/>
                    <a:pt x="28195" y="0"/>
                    <a:pt x="18434" y="0"/>
                  </a:cubicBezTo>
                  <a:close/>
                </a:path>
              </a:pathLst>
            </a:custGeom>
            <a:solidFill>
              <a:srgbClr val="000000"/>
            </a:solidFill>
            <a:ln w="491" cap="flat">
              <a:noFill/>
              <a:prstDash val="solid"/>
              <a:miter/>
            </a:ln>
          </p:spPr>
          <p:txBody>
            <a:bodyPr rtlCol="0" anchor="ctr"/>
            <a:lstStyle/>
            <a:p>
              <a:endParaRPr lang="en-US"/>
            </a:p>
          </p:txBody>
        </p:sp>
        <p:sp>
          <p:nvSpPr>
            <p:cNvPr id="239" name="Freeform: Shape 107">
              <a:extLst>
                <a:ext uri="{FF2B5EF4-FFF2-40B4-BE49-F238E27FC236}">
                  <a16:creationId xmlns:a16="http://schemas.microsoft.com/office/drawing/2014/main" id="{155C18EE-FC54-408B-A36E-2235D1D04921}"/>
                </a:ext>
              </a:extLst>
            </p:cNvPr>
            <p:cNvSpPr/>
            <p:nvPr/>
          </p:nvSpPr>
          <p:spPr>
            <a:xfrm>
              <a:off x="7230271" y="4135054"/>
              <a:ext cx="26022" cy="20057"/>
            </a:xfrm>
            <a:custGeom>
              <a:avLst/>
              <a:gdLst>
                <a:gd name="connsiteX0" fmla="*/ 0 w 26022"/>
                <a:gd name="connsiteY0" fmla="*/ 11524 h 20057"/>
                <a:gd name="connsiteX1" fmla="*/ 9628 w 26022"/>
                <a:gd name="connsiteY1" fmla="*/ 20057 h 20057"/>
                <a:gd name="connsiteX2" fmla="*/ 26022 w 26022"/>
                <a:gd name="connsiteY2" fmla="*/ 2980 h 20057"/>
                <a:gd name="connsiteX3" fmla="*/ 26022 w 26022"/>
                <a:gd name="connsiteY3" fmla="*/ 0 h 20057"/>
                <a:gd name="connsiteX4" fmla="*/ 8811 w 26022"/>
                <a:gd name="connsiteY4" fmla="*/ 2569 h 20057"/>
                <a:gd name="connsiteX5" fmla="*/ 0 w 26022"/>
                <a:gd name="connsiteY5" fmla="*/ 1152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24"/>
                  </a:moveTo>
                  <a:cubicBezTo>
                    <a:pt x="0" y="15993"/>
                    <a:pt x="3396" y="20057"/>
                    <a:pt x="9628" y="20057"/>
                  </a:cubicBezTo>
                  <a:cubicBezTo>
                    <a:pt x="18434" y="20057"/>
                    <a:pt x="26022" y="15860"/>
                    <a:pt x="26022" y="2980"/>
                  </a:cubicBezTo>
                  <a:lnTo>
                    <a:pt x="26022" y="0"/>
                  </a:lnTo>
                  <a:lnTo>
                    <a:pt x="8811" y="2569"/>
                  </a:lnTo>
                  <a:cubicBezTo>
                    <a:pt x="3935" y="3391"/>
                    <a:pt x="0" y="6098"/>
                    <a:pt x="0" y="11524"/>
                  </a:cubicBezTo>
                  <a:close/>
                </a:path>
              </a:pathLst>
            </a:custGeom>
            <a:solidFill>
              <a:srgbClr val="000000"/>
            </a:solidFill>
            <a:ln w="491" cap="flat">
              <a:noFill/>
              <a:prstDash val="solid"/>
              <a:miter/>
            </a:ln>
          </p:spPr>
          <p:txBody>
            <a:bodyPr rtlCol="0" anchor="ctr"/>
            <a:lstStyle/>
            <a:p>
              <a:endParaRPr lang="en-US"/>
            </a:p>
          </p:txBody>
        </p:sp>
        <p:sp>
          <p:nvSpPr>
            <p:cNvPr id="240" name="Freeform: Shape 108">
              <a:extLst>
                <a:ext uri="{FF2B5EF4-FFF2-40B4-BE49-F238E27FC236}">
                  <a16:creationId xmlns:a16="http://schemas.microsoft.com/office/drawing/2014/main" id="{F87F777F-F0DB-48D1-8D60-A037FBA87A48}"/>
                </a:ext>
              </a:extLst>
            </p:cNvPr>
            <p:cNvSpPr/>
            <p:nvPr/>
          </p:nvSpPr>
          <p:spPr>
            <a:xfrm>
              <a:off x="6672604" y="4021601"/>
              <a:ext cx="691961" cy="198000"/>
            </a:xfrm>
            <a:custGeom>
              <a:avLst/>
              <a:gdLst>
                <a:gd name="connsiteX0" fmla="*/ 592966 w 691961"/>
                <a:gd name="connsiteY0" fmla="*/ 0 h 198000"/>
                <a:gd name="connsiteX1" fmla="*/ 99000 w 691961"/>
                <a:gd name="connsiteY1" fmla="*/ 0 h 198000"/>
                <a:gd name="connsiteX2" fmla="*/ 0 w 691961"/>
                <a:gd name="connsiteY2" fmla="*/ 99000 h 198000"/>
                <a:gd name="connsiteX3" fmla="*/ 99000 w 691961"/>
                <a:gd name="connsiteY3" fmla="*/ 198000 h 198000"/>
                <a:gd name="connsiteX4" fmla="*/ 592961 w 691961"/>
                <a:gd name="connsiteY4" fmla="*/ 198000 h 198000"/>
                <a:gd name="connsiteX5" fmla="*/ 691962 w 691961"/>
                <a:gd name="connsiteY5" fmla="*/ 99000 h 198000"/>
                <a:gd name="connsiteX6" fmla="*/ 592966 w 691961"/>
                <a:gd name="connsiteY6" fmla="*/ 0 h 198000"/>
                <a:gd name="connsiteX7" fmla="*/ 125116 w 691961"/>
                <a:gd name="connsiteY7" fmla="*/ 145842 h 198000"/>
                <a:gd name="connsiteX8" fmla="*/ 87976 w 691961"/>
                <a:gd name="connsiteY8" fmla="*/ 116300 h 198000"/>
                <a:gd name="connsiteX9" fmla="*/ 103158 w 691961"/>
                <a:gd name="connsiteY9" fmla="*/ 111964 h 198000"/>
                <a:gd name="connsiteX10" fmla="*/ 125116 w 691961"/>
                <a:gd name="connsiteY10" fmla="*/ 131200 h 198000"/>
                <a:gd name="connsiteX11" fmla="*/ 142600 w 691961"/>
                <a:gd name="connsiteY11" fmla="*/ 117924 h 198000"/>
                <a:gd name="connsiteX12" fmla="*/ 129725 w 691961"/>
                <a:gd name="connsiteY12" fmla="*/ 104910 h 198000"/>
                <a:gd name="connsiteX13" fmla="*/ 116172 w 691961"/>
                <a:gd name="connsiteY13" fmla="*/ 102059 h 198000"/>
                <a:gd name="connsiteX14" fmla="*/ 91773 w 691961"/>
                <a:gd name="connsiteY14" fmla="*/ 75092 h 198000"/>
                <a:gd name="connsiteX15" fmla="*/ 124438 w 691961"/>
                <a:gd name="connsiteY15" fmla="*/ 45674 h 198000"/>
                <a:gd name="connsiteX16" fmla="*/ 158054 w 691961"/>
                <a:gd name="connsiteY16" fmla="*/ 70211 h 198000"/>
                <a:gd name="connsiteX17" fmla="*/ 143417 w 691961"/>
                <a:gd name="connsiteY17" fmla="*/ 74809 h 198000"/>
                <a:gd name="connsiteX18" fmla="*/ 124577 w 691961"/>
                <a:gd name="connsiteY18" fmla="*/ 60039 h 198000"/>
                <a:gd name="connsiteX19" fmla="*/ 108039 w 691961"/>
                <a:gd name="connsiteY19" fmla="*/ 73864 h 198000"/>
                <a:gd name="connsiteX20" fmla="*/ 119290 w 691961"/>
                <a:gd name="connsiteY20" fmla="*/ 86194 h 198000"/>
                <a:gd name="connsiteX21" fmla="*/ 133116 w 691961"/>
                <a:gd name="connsiteY21" fmla="*/ 89046 h 198000"/>
                <a:gd name="connsiteX22" fmla="*/ 159138 w 691961"/>
                <a:gd name="connsiteY22" fmla="*/ 116696 h 198000"/>
                <a:gd name="connsiteX23" fmla="*/ 125116 w 691961"/>
                <a:gd name="connsiteY23" fmla="*/ 145842 h 198000"/>
                <a:gd name="connsiteX24" fmla="*/ 190407 w 691961"/>
                <a:gd name="connsiteY24" fmla="*/ 143812 h 198000"/>
                <a:gd name="connsiteX25" fmla="*/ 174686 w 691961"/>
                <a:gd name="connsiteY25" fmla="*/ 143812 h 198000"/>
                <a:gd name="connsiteX26" fmla="*/ 174686 w 691961"/>
                <a:gd name="connsiteY26" fmla="*/ 45679 h 198000"/>
                <a:gd name="connsiteX27" fmla="*/ 190407 w 691961"/>
                <a:gd name="connsiteY27" fmla="*/ 45679 h 198000"/>
                <a:gd name="connsiteX28" fmla="*/ 190407 w 691961"/>
                <a:gd name="connsiteY28" fmla="*/ 143812 h 198000"/>
                <a:gd name="connsiteX29" fmla="*/ 239858 w 691961"/>
                <a:gd name="connsiteY29" fmla="*/ 145842 h 198000"/>
                <a:gd name="connsiteX30" fmla="*/ 205703 w 691961"/>
                <a:gd name="connsiteY30" fmla="*/ 110741 h 198000"/>
                <a:gd name="connsiteX31" fmla="*/ 239858 w 691961"/>
                <a:gd name="connsiteY31" fmla="*/ 75770 h 198000"/>
                <a:gd name="connsiteX32" fmla="*/ 274156 w 691961"/>
                <a:gd name="connsiteY32" fmla="*/ 110741 h 198000"/>
                <a:gd name="connsiteX33" fmla="*/ 239858 w 691961"/>
                <a:gd name="connsiteY33" fmla="*/ 145842 h 198000"/>
                <a:gd name="connsiteX34" fmla="*/ 322097 w 691961"/>
                <a:gd name="connsiteY34" fmla="*/ 143812 h 198000"/>
                <a:gd name="connsiteX35" fmla="*/ 306376 w 691961"/>
                <a:gd name="connsiteY35" fmla="*/ 143812 h 198000"/>
                <a:gd name="connsiteX36" fmla="*/ 279537 w 691961"/>
                <a:gd name="connsiteY36" fmla="*/ 77809 h 198000"/>
                <a:gd name="connsiteX37" fmla="*/ 296887 w 691961"/>
                <a:gd name="connsiteY37" fmla="*/ 77809 h 198000"/>
                <a:gd name="connsiteX38" fmla="*/ 314370 w 691961"/>
                <a:gd name="connsiteY38" fmla="*/ 124978 h 198000"/>
                <a:gd name="connsiteX39" fmla="*/ 331448 w 691961"/>
                <a:gd name="connsiteY39" fmla="*/ 77809 h 198000"/>
                <a:gd name="connsiteX40" fmla="*/ 347986 w 691961"/>
                <a:gd name="connsiteY40" fmla="*/ 77809 h 198000"/>
                <a:gd name="connsiteX41" fmla="*/ 322097 w 691961"/>
                <a:gd name="connsiteY41" fmla="*/ 143812 h 198000"/>
                <a:gd name="connsiteX42" fmla="*/ 417756 w 691961"/>
                <a:gd name="connsiteY42" fmla="*/ 115078 h 198000"/>
                <a:gd name="connsiteX43" fmla="*/ 369503 w 691961"/>
                <a:gd name="connsiteY43" fmla="*/ 115078 h 198000"/>
                <a:gd name="connsiteX44" fmla="*/ 387531 w 691961"/>
                <a:gd name="connsiteY44" fmla="*/ 132289 h 198000"/>
                <a:gd name="connsiteX45" fmla="*/ 404069 w 691961"/>
                <a:gd name="connsiteY45" fmla="*/ 120770 h 198000"/>
                <a:gd name="connsiteX46" fmla="*/ 417355 w 691961"/>
                <a:gd name="connsiteY46" fmla="*/ 124978 h 198000"/>
                <a:gd name="connsiteX47" fmla="*/ 387536 w 691961"/>
                <a:gd name="connsiteY47" fmla="*/ 145842 h 198000"/>
                <a:gd name="connsiteX48" fmla="*/ 353787 w 691961"/>
                <a:gd name="connsiteY48" fmla="*/ 110469 h 198000"/>
                <a:gd name="connsiteX49" fmla="*/ 385912 w 691961"/>
                <a:gd name="connsiteY49" fmla="*/ 75770 h 198000"/>
                <a:gd name="connsiteX50" fmla="*/ 418172 w 691961"/>
                <a:gd name="connsiteY50" fmla="*/ 110058 h 198000"/>
                <a:gd name="connsiteX51" fmla="*/ 417756 w 691961"/>
                <a:gd name="connsiteY51" fmla="*/ 115078 h 198000"/>
                <a:gd name="connsiteX52" fmla="*/ 492130 w 691961"/>
                <a:gd name="connsiteY52" fmla="*/ 143812 h 198000"/>
                <a:gd name="connsiteX53" fmla="*/ 476409 w 691961"/>
                <a:gd name="connsiteY53" fmla="*/ 143812 h 198000"/>
                <a:gd name="connsiteX54" fmla="*/ 476409 w 691961"/>
                <a:gd name="connsiteY54" fmla="*/ 104777 h 198000"/>
                <a:gd name="connsiteX55" fmla="*/ 462855 w 691961"/>
                <a:gd name="connsiteY55" fmla="*/ 90140 h 198000"/>
                <a:gd name="connsiteX56" fmla="*/ 449159 w 691961"/>
                <a:gd name="connsiteY56" fmla="*/ 105722 h 198000"/>
                <a:gd name="connsiteX57" fmla="*/ 449159 w 691961"/>
                <a:gd name="connsiteY57" fmla="*/ 143812 h 198000"/>
                <a:gd name="connsiteX58" fmla="*/ 433437 w 691961"/>
                <a:gd name="connsiteY58" fmla="*/ 143812 h 198000"/>
                <a:gd name="connsiteX59" fmla="*/ 433437 w 691961"/>
                <a:gd name="connsiteY59" fmla="*/ 77809 h 198000"/>
                <a:gd name="connsiteX60" fmla="*/ 448758 w 691961"/>
                <a:gd name="connsiteY60" fmla="*/ 77809 h 198000"/>
                <a:gd name="connsiteX61" fmla="*/ 448758 w 691961"/>
                <a:gd name="connsiteY61" fmla="*/ 86615 h 198000"/>
                <a:gd name="connsiteX62" fmla="*/ 468276 w 691961"/>
                <a:gd name="connsiteY62" fmla="*/ 75903 h 198000"/>
                <a:gd name="connsiteX63" fmla="*/ 492130 w 691961"/>
                <a:gd name="connsiteY63" fmla="*/ 102069 h 198000"/>
                <a:gd name="connsiteX64" fmla="*/ 492130 w 691961"/>
                <a:gd name="connsiteY64" fmla="*/ 143812 h 198000"/>
                <a:gd name="connsiteX65" fmla="*/ 526513 w 691961"/>
                <a:gd name="connsiteY65" fmla="*/ 143812 h 198000"/>
                <a:gd name="connsiteX66" fmla="*/ 510930 w 691961"/>
                <a:gd name="connsiteY66" fmla="*/ 143812 h 198000"/>
                <a:gd name="connsiteX67" fmla="*/ 510930 w 691961"/>
                <a:gd name="connsiteY67" fmla="*/ 77809 h 198000"/>
                <a:gd name="connsiteX68" fmla="*/ 526513 w 691961"/>
                <a:gd name="connsiteY68" fmla="*/ 77809 h 198000"/>
                <a:gd name="connsiteX69" fmla="*/ 526513 w 691961"/>
                <a:gd name="connsiteY69" fmla="*/ 143812 h 198000"/>
                <a:gd name="connsiteX70" fmla="*/ 518652 w 691961"/>
                <a:gd name="connsiteY70" fmla="*/ 64795 h 198000"/>
                <a:gd name="connsiteX71" fmla="*/ 508490 w 691961"/>
                <a:gd name="connsiteY71" fmla="*/ 54623 h 198000"/>
                <a:gd name="connsiteX72" fmla="*/ 518652 w 691961"/>
                <a:gd name="connsiteY72" fmla="*/ 44322 h 198000"/>
                <a:gd name="connsiteX73" fmla="*/ 528953 w 691961"/>
                <a:gd name="connsiteY73" fmla="*/ 54623 h 198000"/>
                <a:gd name="connsiteX74" fmla="*/ 518652 w 691961"/>
                <a:gd name="connsiteY74" fmla="*/ 64795 h 198000"/>
                <a:gd name="connsiteX75" fmla="*/ 585319 w 691961"/>
                <a:gd name="connsiteY75" fmla="*/ 143812 h 198000"/>
                <a:gd name="connsiteX76" fmla="*/ 584645 w 691961"/>
                <a:gd name="connsiteY76" fmla="*/ 135407 h 198000"/>
                <a:gd name="connsiteX77" fmla="*/ 564316 w 691961"/>
                <a:gd name="connsiteY77" fmla="*/ 145842 h 198000"/>
                <a:gd name="connsiteX78" fmla="*/ 541947 w 691961"/>
                <a:gd name="connsiteY78" fmla="*/ 125923 h 198000"/>
                <a:gd name="connsiteX79" fmla="*/ 561875 w 691961"/>
                <a:gd name="connsiteY79" fmla="*/ 106004 h 198000"/>
                <a:gd name="connsiteX80" fmla="*/ 578814 w 691961"/>
                <a:gd name="connsiteY80" fmla="*/ 103425 h 198000"/>
                <a:gd name="connsiteX81" fmla="*/ 583695 w 691961"/>
                <a:gd name="connsiteY81" fmla="*/ 98678 h 198000"/>
                <a:gd name="connsiteX82" fmla="*/ 571226 w 691961"/>
                <a:gd name="connsiteY82" fmla="*/ 88659 h 198000"/>
                <a:gd name="connsiteX83" fmla="*/ 557673 w 691961"/>
                <a:gd name="connsiteY83" fmla="*/ 100589 h 198000"/>
                <a:gd name="connsiteX84" fmla="*/ 543303 w 691961"/>
                <a:gd name="connsiteY84" fmla="*/ 97337 h 198000"/>
                <a:gd name="connsiteX85" fmla="*/ 571092 w 691961"/>
                <a:gd name="connsiteY85" fmla="*/ 75780 h 198000"/>
                <a:gd name="connsiteX86" fmla="*/ 599144 w 691961"/>
                <a:gd name="connsiteY86" fmla="*/ 100450 h 198000"/>
                <a:gd name="connsiteX87" fmla="*/ 599144 w 691961"/>
                <a:gd name="connsiteY87" fmla="*/ 133254 h 198000"/>
                <a:gd name="connsiteX88" fmla="*/ 599956 w 691961"/>
                <a:gd name="connsiteY88" fmla="*/ 143827 h 198000"/>
                <a:gd name="connsiteX89" fmla="*/ 585319 w 691961"/>
                <a:gd name="connsiteY89" fmla="*/ 143827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91961" h="198000">
                  <a:moveTo>
                    <a:pt x="592966" y="0"/>
                  </a:moveTo>
                  <a:lnTo>
                    <a:pt x="99000" y="0"/>
                  </a:lnTo>
                  <a:cubicBezTo>
                    <a:pt x="44322" y="0"/>
                    <a:pt x="0" y="44322"/>
                    <a:pt x="0" y="99000"/>
                  </a:cubicBezTo>
                  <a:cubicBezTo>
                    <a:pt x="0" y="153678"/>
                    <a:pt x="44322" y="198000"/>
                    <a:pt x="99000" y="198000"/>
                  </a:cubicBezTo>
                  <a:lnTo>
                    <a:pt x="592961" y="198000"/>
                  </a:lnTo>
                  <a:cubicBezTo>
                    <a:pt x="647639" y="198000"/>
                    <a:pt x="691962" y="153678"/>
                    <a:pt x="691962" y="99000"/>
                  </a:cubicBezTo>
                  <a:cubicBezTo>
                    <a:pt x="691966" y="44322"/>
                    <a:pt x="647639" y="0"/>
                    <a:pt x="592966" y="0"/>
                  </a:cubicBezTo>
                  <a:close/>
                  <a:moveTo>
                    <a:pt x="125116" y="145842"/>
                  </a:moveTo>
                  <a:cubicBezTo>
                    <a:pt x="100718" y="145842"/>
                    <a:pt x="89466" y="130121"/>
                    <a:pt x="87976" y="116300"/>
                  </a:cubicBezTo>
                  <a:lnTo>
                    <a:pt x="103158" y="111964"/>
                  </a:lnTo>
                  <a:cubicBezTo>
                    <a:pt x="104109" y="121983"/>
                    <a:pt x="111291" y="131200"/>
                    <a:pt x="125116" y="131200"/>
                  </a:cubicBezTo>
                  <a:cubicBezTo>
                    <a:pt x="136640" y="131200"/>
                    <a:pt x="142600" y="125374"/>
                    <a:pt x="142600" y="117924"/>
                  </a:cubicBezTo>
                  <a:cubicBezTo>
                    <a:pt x="142600" y="111682"/>
                    <a:pt x="137991" y="106668"/>
                    <a:pt x="129725" y="104910"/>
                  </a:cubicBezTo>
                  <a:lnTo>
                    <a:pt x="116172" y="102059"/>
                  </a:lnTo>
                  <a:cubicBezTo>
                    <a:pt x="101535" y="99079"/>
                    <a:pt x="91773" y="89447"/>
                    <a:pt x="91773" y="75092"/>
                  </a:cubicBezTo>
                  <a:cubicBezTo>
                    <a:pt x="91773" y="58959"/>
                    <a:pt x="106549" y="45674"/>
                    <a:pt x="124438" y="45674"/>
                  </a:cubicBezTo>
                  <a:cubicBezTo>
                    <a:pt x="147075" y="45674"/>
                    <a:pt x="155886" y="59499"/>
                    <a:pt x="158054" y="70211"/>
                  </a:cubicBezTo>
                  <a:lnTo>
                    <a:pt x="143417" y="74809"/>
                  </a:lnTo>
                  <a:cubicBezTo>
                    <a:pt x="142466" y="68845"/>
                    <a:pt x="137452" y="60039"/>
                    <a:pt x="124577" y="60039"/>
                  </a:cubicBezTo>
                  <a:cubicBezTo>
                    <a:pt x="114815" y="60039"/>
                    <a:pt x="108039" y="66543"/>
                    <a:pt x="108039" y="73864"/>
                  </a:cubicBezTo>
                  <a:cubicBezTo>
                    <a:pt x="108039" y="79967"/>
                    <a:pt x="111836" y="84566"/>
                    <a:pt x="119290" y="86194"/>
                  </a:cubicBezTo>
                  <a:lnTo>
                    <a:pt x="133116" y="89046"/>
                  </a:lnTo>
                  <a:cubicBezTo>
                    <a:pt x="150059" y="92441"/>
                    <a:pt x="159138" y="103143"/>
                    <a:pt x="159138" y="116696"/>
                  </a:cubicBezTo>
                  <a:cubicBezTo>
                    <a:pt x="159138" y="131616"/>
                    <a:pt x="147075" y="145842"/>
                    <a:pt x="125116" y="145842"/>
                  </a:cubicBezTo>
                  <a:close/>
                  <a:moveTo>
                    <a:pt x="190407" y="143812"/>
                  </a:moveTo>
                  <a:lnTo>
                    <a:pt x="174686" y="143812"/>
                  </a:lnTo>
                  <a:lnTo>
                    <a:pt x="174686" y="45679"/>
                  </a:lnTo>
                  <a:lnTo>
                    <a:pt x="190407" y="45679"/>
                  </a:lnTo>
                  <a:lnTo>
                    <a:pt x="190407" y="143812"/>
                  </a:lnTo>
                  <a:close/>
                  <a:moveTo>
                    <a:pt x="239858" y="145842"/>
                  </a:moveTo>
                  <a:cubicBezTo>
                    <a:pt x="220206" y="145842"/>
                    <a:pt x="205703" y="131071"/>
                    <a:pt x="205703" y="110741"/>
                  </a:cubicBezTo>
                  <a:cubicBezTo>
                    <a:pt x="205703" y="90540"/>
                    <a:pt x="220211" y="75770"/>
                    <a:pt x="239858" y="75770"/>
                  </a:cubicBezTo>
                  <a:cubicBezTo>
                    <a:pt x="259648" y="75770"/>
                    <a:pt x="274156" y="90540"/>
                    <a:pt x="274156" y="110741"/>
                  </a:cubicBezTo>
                  <a:cubicBezTo>
                    <a:pt x="274156" y="131071"/>
                    <a:pt x="259648" y="145842"/>
                    <a:pt x="239858" y="145842"/>
                  </a:cubicBezTo>
                  <a:close/>
                  <a:moveTo>
                    <a:pt x="322097" y="143812"/>
                  </a:moveTo>
                  <a:lnTo>
                    <a:pt x="306376" y="143812"/>
                  </a:lnTo>
                  <a:lnTo>
                    <a:pt x="279537" y="77809"/>
                  </a:lnTo>
                  <a:lnTo>
                    <a:pt x="296887" y="77809"/>
                  </a:lnTo>
                  <a:lnTo>
                    <a:pt x="314370" y="124978"/>
                  </a:lnTo>
                  <a:lnTo>
                    <a:pt x="331448" y="77809"/>
                  </a:lnTo>
                  <a:lnTo>
                    <a:pt x="347986" y="77809"/>
                  </a:lnTo>
                  <a:lnTo>
                    <a:pt x="322097" y="143812"/>
                  </a:lnTo>
                  <a:close/>
                  <a:moveTo>
                    <a:pt x="417756" y="115078"/>
                  </a:moveTo>
                  <a:lnTo>
                    <a:pt x="369503" y="115078"/>
                  </a:lnTo>
                  <a:cubicBezTo>
                    <a:pt x="369909" y="125106"/>
                    <a:pt x="377770" y="132289"/>
                    <a:pt x="387531" y="132289"/>
                  </a:cubicBezTo>
                  <a:cubicBezTo>
                    <a:pt x="397020" y="132289"/>
                    <a:pt x="401901" y="127279"/>
                    <a:pt x="404069" y="120770"/>
                  </a:cubicBezTo>
                  <a:lnTo>
                    <a:pt x="417355" y="124978"/>
                  </a:lnTo>
                  <a:cubicBezTo>
                    <a:pt x="413831" y="136496"/>
                    <a:pt x="403396" y="145842"/>
                    <a:pt x="387536" y="145842"/>
                  </a:cubicBezTo>
                  <a:cubicBezTo>
                    <a:pt x="369642" y="145842"/>
                    <a:pt x="353787" y="132828"/>
                    <a:pt x="353787" y="110469"/>
                  </a:cubicBezTo>
                  <a:cubicBezTo>
                    <a:pt x="353787" y="89595"/>
                    <a:pt x="369241" y="75770"/>
                    <a:pt x="385912" y="75770"/>
                  </a:cubicBezTo>
                  <a:cubicBezTo>
                    <a:pt x="406242" y="75770"/>
                    <a:pt x="418172" y="89194"/>
                    <a:pt x="418172" y="110058"/>
                  </a:cubicBezTo>
                  <a:cubicBezTo>
                    <a:pt x="418162" y="112637"/>
                    <a:pt x="417890" y="114805"/>
                    <a:pt x="417756" y="115078"/>
                  </a:cubicBezTo>
                  <a:close/>
                  <a:moveTo>
                    <a:pt x="492130" y="143812"/>
                  </a:moveTo>
                  <a:lnTo>
                    <a:pt x="476409" y="143812"/>
                  </a:lnTo>
                  <a:lnTo>
                    <a:pt x="476409" y="104777"/>
                  </a:lnTo>
                  <a:cubicBezTo>
                    <a:pt x="476409" y="96644"/>
                    <a:pt x="472745" y="90140"/>
                    <a:pt x="462855" y="90140"/>
                  </a:cubicBezTo>
                  <a:cubicBezTo>
                    <a:pt x="453911" y="90140"/>
                    <a:pt x="449159" y="97050"/>
                    <a:pt x="449159" y="105722"/>
                  </a:cubicBezTo>
                  <a:lnTo>
                    <a:pt x="449159" y="143812"/>
                  </a:lnTo>
                  <a:lnTo>
                    <a:pt x="433437" y="143812"/>
                  </a:lnTo>
                  <a:lnTo>
                    <a:pt x="433437" y="77809"/>
                  </a:lnTo>
                  <a:lnTo>
                    <a:pt x="448758" y="77809"/>
                  </a:lnTo>
                  <a:lnTo>
                    <a:pt x="448758" y="86615"/>
                  </a:lnTo>
                  <a:cubicBezTo>
                    <a:pt x="453094" y="79027"/>
                    <a:pt x="460955" y="75903"/>
                    <a:pt x="468276" y="75903"/>
                  </a:cubicBezTo>
                  <a:cubicBezTo>
                    <a:pt x="484403" y="75903"/>
                    <a:pt x="492130" y="87570"/>
                    <a:pt x="492130" y="102069"/>
                  </a:cubicBezTo>
                  <a:lnTo>
                    <a:pt x="492130" y="143812"/>
                  </a:lnTo>
                  <a:close/>
                  <a:moveTo>
                    <a:pt x="526513" y="143812"/>
                  </a:moveTo>
                  <a:lnTo>
                    <a:pt x="510930" y="143812"/>
                  </a:lnTo>
                  <a:lnTo>
                    <a:pt x="510930" y="77809"/>
                  </a:lnTo>
                  <a:lnTo>
                    <a:pt x="526513" y="77809"/>
                  </a:lnTo>
                  <a:lnTo>
                    <a:pt x="526513" y="143812"/>
                  </a:lnTo>
                  <a:close/>
                  <a:moveTo>
                    <a:pt x="518652" y="64795"/>
                  </a:moveTo>
                  <a:cubicBezTo>
                    <a:pt x="513098" y="64795"/>
                    <a:pt x="508490" y="60316"/>
                    <a:pt x="508490" y="54623"/>
                  </a:cubicBezTo>
                  <a:cubicBezTo>
                    <a:pt x="508490" y="48931"/>
                    <a:pt x="513098" y="44322"/>
                    <a:pt x="518652" y="44322"/>
                  </a:cubicBezTo>
                  <a:cubicBezTo>
                    <a:pt x="524344" y="44322"/>
                    <a:pt x="528953" y="48931"/>
                    <a:pt x="528953" y="54623"/>
                  </a:cubicBezTo>
                  <a:cubicBezTo>
                    <a:pt x="528953" y="60316"/>
                    <a:pt x="524344" y="64795"/>
                    <a:pt x="518652" y="64795"/>
                  </a:cubicBezTo>
                  <a:close/>
                  <a:moveTo>
                    <a:pt x="585319" y="143812"/>
                  </a:moveTo>
                  <a:cubicBezTo>
                    <a:pt x="585190" y="143411"/>
                    <a:pt x="584645" y="140699"/>
                    <a:pt x="584645" y="135407"/>
                  </a:cubicBezTo>
                  <a:cubicBezTo>
                    <a:pt x="581522" y="140417"/>
                    <a:pt x="575018" y="145842"/>
                    <a:pt x="564316" y="145842"/>
                  </a:cubicBezTo>
                  <a:cubicBezTo>
                    <a:pt x="550490" y="145842"/>
                    <a:pt x="541947" y="136363"/>
                    <a:pt x="541947" y="125923"/>
                  </a:cubicBezTo>
                  <a:cubicBezTo>
                    <a:pt x="541947" y="114137"/>
                    <a:pt x="550619" y="107628"/>
                    <a:pt x="561875" y="106004"/>
                  </a:cubicBezTo>
                  <a:lnTo>
                    <a:pt x="578814" y="103425"/>
                  </a:lnTo>
                  <a:cubicBezTo>
                    <a:pt x="582611" y="102881"/>
                    <a:pt x="583695" y="100985"/>
                    <a:pt x="583695" y="98678"/>
                  </a:cubicBezTo>
                  <a:cubicBezTo>
                    <a:pt x="583695" y="93124"/>
                    <a:pt x="579898" y="88659"/>
                    <a:pt x="571226" y="88659"/>
                  </a:cubicBezTo>
                  <a:cubicBezTo>
                    <a:pt x="562964" y="88659"/>
                    <a:pt x="558356" y="93941"/>
                    <a:pt x="557673" y="100589"/>
                  </a:cubicBezTo>
                  <a:lnTo>
                    <a:pt x="543303" y="97337"/>
                  </a:lnTo>
                  <a:cubicBezTo>
                    <a:pt x="544526" y="85952"/>
                    <a:pt x="554827" y="75780"/>
                    <a:pt x="571092" y="75780"/>
                  </a:cubicBezTo>
                  <a:cubicBezTo>
                    <a:pt x="591422" y="75780"/>
                    <a:pt x="599144" y="87298"/>
                    <a:pt x="599144" y="100450"/>
                  </a:cubicBezTo>
                  <a:lnTo>
                    <a:pt x="599144" y="133254"/>
                  </a:lnTo>
                  <a:cubicBezTo>
                    <a:pt x="599144" y="139219"/>
                    <a:pt x="599827" y="143144"/>
                    <a:pt x="599956" y="143827"/>
                  </a:cubicBezTo>
                  <a:lnTo>
                    <a:pt x="585319" y="143827"/>
                  </a:lnTo>
                  <a:close/>
                </a:path>
              </a:pathLst>
            </a:custGeom>
            <a:solidFill>
              <a:srgbClr val="000000"/>
            </a:solidFill>
            <a:ln w="491" cap="flat">
              <a:noFill/>
              <a:prstDash val="solid"/>
              <a:miter/>
            </a:ln>
          </p:spPr>
          <p:txBody>
            <a:bodyPr rtlCol="0" anchor="ctr"/>
            <a:lstStyle/>
            <a:p>
              <a:endParaRPr lang="en-US"/>
            </a:p>
          </p:txBody>
        </p:sp>
      </p:grpSp>
      <p:grpSp>
        <p:nvGrpSpPr>
          <p:cNvPr id="241" name="Graphic 130">
            <a:extLst>
              <a:ext uri="{FF2B5EF4-FFF2-40B4-BE49-F238E27FC236}">
                <a16:creationId xmlns:a16="http://schemas.microsoft.com/office/drawing/2014/main" id="{DD1D84F9-9025-43FB-A8D5-950653DD1475}"/>
              </a:ext>
            </a:extLst>
          </p:cNvPr>
          <p:cNvGrpSpPr/>
          <p:nvPr userDrawn="1">
            <p:custDataLst>
              <p:tags r:id="rId13"/>
            </p:custDataLst>
          </p:nvPr>
        </p:nvGrpSpPr>
        <p:grpSpPr>
          <a:xfrm>
            <a:off x="7705337" y="4347003"/>
            <a:ext cx="625264" cy="198000"/>
            <a:chOff x="7354457" y="4166249"/>
            <a:chExt cx="625264" cy="198000"/>
          </a:xfrm>
          <a:solidFill>
            <a:srgbClr val="000000"/>
          </a:solidFill>
        </p:grpSpPr>
        <p:sp>
          <p:nvSpPr>
            <p:cNvPr id="242" name="Freeform: Shape 110">
              <a:extLst>
                <a:ext uri="{FF2B5EF4-FFF2-40B4-BE49-F238E27FC236}">
                  <a16:creationId xmlns:a16="http://schemas.microsoft.com/office/drawing/2014/main" id="{3EDD6810-DCC1-4458-A7ED-73CD449BDB9F}"/>
                </a:ext>
              </a:extLst>
            </p:cNvPr>
            <p:cNvSpPr/>
            <p:nvPr/>
          </p:nvSpPr>
          <p:spPr>
            <a:xfrm>
              <a:off x="7610970" y="4256249"/>
              <a:ext cx="36867" cy="41748"/>
            </a:xfrm>
            <a:custGeom>
              <a:avLst/>
              <a:gdLst>
                <a:gd name="connsiteX0" fmla="*/ 18434 w 36867"/>
                <a:gd name="connsiteY0" fmla="*/ 0 h 41748"/>
                <a:gd name="connsiteX1" fmla="*/ 0 w 36867"/>
                <a:gd name="connsiteY1" fmla="*/ 20736 h 41748"/>
                <a:gd name="connsiteX2" fmla="*/ 18434 w 36867"/>
                <a:gd name="connsiteY2" fmla="*/ 41748 h 41748"/>
                <a:gd name="connsiteX3" fmla="*/ 36868 w 36867"/>
                <a:gd name="connsiteY3" fmla="*/ 20736 h 41748"/>
                <a:gd name="connsiteX4" fmla="*/ 18434 w 36867"/>
                <a:gd name="connsiteY4" fmla="*/ 0 h 41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7" h="41748">
                  <a:moveTo>
                    <a:pt x="18434" y="0"/>
                  </a:moveTo>
                  <a:cubicBezTo>
                    <a:pt x="8816" y="0"/>
                    <a:pt x="0" y="7049"/>
                    <a:pt x="0" y="20736"/>
                  </a:cubicBezTo>
                  <a:cubicBezTo>
                    <a:pt x="0" y="34422"/>
                    <a:pt x="8816" y="41748"/>
                    <a:pt x="18434" y="41748"/>
                  </a:cubicBezTo>
                  <a:cubicBezTo>
                    <a:pt x="28195" y="41748"/>
                    <a:pt x="36868" y="34561"/>
                    <a:pt x="36868" y="20736"/>
                  </a:cubicBezTo>
                  <a:cubicBezTo>
                    <a:pt x="36868" y="7049"/>
                    <a:pt x="28190" y="0"/>
                    <a:pt x="18434" y="0"/>
                  </a:cubicBezTo>
                  <a:close/>
                </a:path>
              </a:pathLst>
            </a:custGeom>
            <a:solidFill>
              <a:srgbClr val="000000"/>
            </a:solidFill>
            <a:ln w="490" cap="flat">
              <a:noFill/>
              <a:prstDash val="solid"/>
              <a:miter/>
            </a:ln>
          </p:spPr>
          <p:txBody>
            <a:bodyPr rtlCol="0" anchor="ctr"/>
            <a:lstStyle/>
            <a:p>
              <a:endParaRPr lang="en-US"/>
            </a:p>
          </p:txBody>
        </p:sp>
        <p:sp>
          <p:nvSpPr>
            <p:cNvPr id="243" name="Freeform: Shape 111">
              <a:extLst>
                <a:ext uri="{FF2B5EF4-FFF2-40B4-BE49-F238E27FC236}">
                  <a16:creationId xmlns:a16="http://schemas.microsoft.com/office/drawing/2014/main" id="{AE9C714E-DBE7-44A1-AE7B-8958F1022BD7}"/>
                </a:ext>
              </a:extLst>
            </p:cNvPr>
            <p:cNvSpPr/>
            <p:nvPr/>
          </p:nvSpPr>
          <p:spPr>
            <a:xfrm>
              <a:off x="7846689" y="4279698"/>
              <a:ext cx="26022" cy="20057"/>
            </a:xfrm>
            <a:custGeom>
              <a:avLst/>
              <a:gdLst>
                <a:gd name="connsiteX0" fmla="*/ 0 w 26022"/>
                <a:gd name="connsiteY0" fmla="*/ 1151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1" y="20057"/>
                    <a:pt x="9623" y="20057"/>
                  </a:cubicBezTo>
                  <a:cubicBezTo>
                    <a:pt x="18434" y="20057"/>
                    <a:pt x="26022" y="15850"/>
                    <a:pt x="26022" y="2980"/>
                  </a:cubicBezTo>
                  <a:lnTo>
                    <a:pt x="26022" y="0"/>
                  </a:lnTo>
                  <a:lnTo>
                    <a:pt x="8806" y="2579"/>
                  </a:lnTo>
                  <a:cubicBezTo>
                    <a:pt x="3935" y="3381"/>
                    <a:pt x="0" y="6093"/>
                    <a:pt x="0" y="11514"/>
                  </a:cubicBezTo>
                  <a:close/>
                </a:path>
              </a:pathLst>
            </a:custGeom>
            <a:solidFill>
              <a:srgbClr val="000000"/>
            </a:solidFill>
            <a:ln w="490" cap="flat">
              <a:noFill/>
              <a:prstDash val="solid"/>
              <a:miter/>
            </a:ln>
          </p:spPr>
          <p:txBody>
            <a:bodyPr rtlCol="0" anchor="ctr"/>
            <a:lstStyle/>
            <a:p>
              <a:endParaRPr lang="en-US"/>
            </a:p>
          </p:txBody>
        </p:sp>
        <p:sp>
          <p:nvSpPr>
            <p:cNvPr id="244" name="Freeform: Shape 112">
              <a:extLst>
                <a:ext uri="{FF2B5EF4-FFF2-40B4-BE49-F238E27FC236}">
                  <a16:creationId xmlns:a16="http://schemas.microsoft.com/office/drawing/2014/main" id="{C0ACBC7B-1DF9-4DCC-965B-39F111AD4D8E}"/>
                </a:ext>
              </a:extLst>
            </p:cNvPr>
            <p:cNvSpPr/>
            <p:nvPr/>
          </p:nvSpPr>
          <p:spPr>
            <a:xfrm>
              <a:off x="7690631" y="4279698"/>
              <a:ext cx="26022" cy="20057"/>
            </a:xfrm>
            <a:custGeom>
              <a:avLst/>
              <a:gdLst>
                <a:gd name="connsiteX0" fmla="*/ 0 w 26022"/>
                <a:gd name="connsiteY0" fmla="*/ 11514 h 20057"/>
                <a:gd name="connsiteX1" fmla="*/ 9618 w 26022"/>
                <a:gd name="connsiteY1" fmla="*/ 20057 h 20057"/>
                <a:gd name="connsiteX2" fmla="*/ 26022 w 26022"/>
                <a:gd name="connsiteY2" fmla="*/ 2980 h 20057"/>
                <a:gd name="connsiteX3" fmla="*/ 26022 w 26022"/>
                <a:gd name="connsiteY3" fmla="*/ 0 h 20057"/>
                <a:gd name="connsiteX4" fmla="*/ 8801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86" y="20057"/>
                    <a:pt x="9618" y="20057"/>
                  </a:cubicBezTo>
                  <a:cubicBezTo>
                    <a:pt x="18434" y="20057"/>
                    <a:pt x="26022" y="15850"/>
                    <a:pt x="26022" y="2980"/>
                  </a:cubicBezTo>
                  <a:lnTo>
                    <a:pt x="26022" y="0"/>
                  </a:lnTo>
                  <a:lnTo>
                    <a:pt x="8801" y="2579"/>
                  </a:lnTo>
                  <a:cubicBezTo>
                    <a:pt x="3925" y="3381"/>
                    <a:pt x="0" y="6093"/>
                    <a:pt x="0" y="11514"/>
                  </a:cubicBezTo>
                  <a:close/>
                </a:path>
              </a:pathLst>
            </a:custGeom>
            <a:solidFill>
              <a:srgbClr val="000000"/>
            </a:solidFill>
            <a:ln w="490" cap="flat">
              <a:noFill/>
              <a:prstDash val="solid"/>
              <a:miter/>
            </a:ln>
          </p:spPr>
          <p:txBody>
            <a:bodyPr rtlCol="0" anchor="ctr"/>
            <a:lstStyle/>
            <a:p>
              <a:endParaRPr lang="en-US"/>
            </a:p>
          </p:txBody>
        </p:sp>
        <p:sp>
          <p:nvSpPr>
            <p:cNvPr id="245" name="Freeform: Shape 113">
              <a:extLst>
                <a:ext uri="{FF2B5EF4-FFF2-40B4-BE49-F238E27FC236}">
                  <a16:creationId xmlns:a16="http://schemas.microsoft.com/office/drawing/2014/main" id="{18553645-4EE2-482B-A8D2-A105033CF882}"/>
                </a:ext>
              </a:extLst>
            </p:cNvPr>
            <p:cNvSpPr/>
            <p:nvPr/>
          </p:nvSpPr>
          <p:spPr>
            <a:xfrm>
              <a:off x="7354457" y="4166249"/>
              <a:ext cx="625264" cy="198000"/>
            </a:xfrm>
            <a:custGeom>
              <a:avLst/>
              <a:gdLst>
                <a:gd name="connsiteX0" fmla="*/ 526259 w 625264"/>
                <a:gd name="connsiteY0" fmla="*/ 0 h 198000"/>
                <a:gd name="connsiteX1" fmla="*/ 99000 w 625264"/>
                <a:gd name="connsiteY1" fmla="*/ 0 h 198000"/>
                <a:gd name="connsiteX2" fmla="*/ 0 w 625264"/>
                <a:gd name="connsiteY2" fmla="*/ 99000 h 198000"/>
                <a:gd name="connsiteX3" fmla="*/ 99000 w 625264"/>
                <a:gd name="connsiteY3" fmla="*/ 198000 h 198000"/>
                <a:gd name="connsiteX4" fmla="*/ 526264 w 625264"/>
                <a:gd name="connsiteY4" fmla="*/ 198000 h 198000"/>
                <a:gd name="connsiteX5" fmla="*/ 625264 w 625264"/>
                <a:gd name="connsiteY5" fmla="*/ 99000 h 198000"/>
                <a:gd name="connsiteX6" fmla="*/ 526259 w 625264"/>
                <a:gd name="connsiteY6" fmla="*/ 0 h 198000"/>
                <a:gd name="connsiteX7" fmla="*/ 137858 w 625264"/>
                <a:gd name="connsiteY7" fmla="*/ 145847 h 198000"/>
                <a:gd name="connsiteX8" fmla="*/ 89333 w 625264"/>
                <a:gd name="connsiteY8" fmla="*/ 95827 h 198000"/>
                <a:gd name="connsiteX9" fmla="*/ 137724 w 625264"/>
                <a:gd name="connsiteY9" fmla="*/ 45679 h 198000"/>
                <a:gd name="connsiteX10" fmla="*/ 180962 w 625264"/>
                <a:gd name="connsiteY10" fmla="*/ 76854 h 198000"/>
                <a:gd name="connsiteX11" fmla="*/ 165647 w 625264"/>
                <a:gd name="connsiteY11" fmla="*/ 82007 h 198000"/>
                <a:gd name="connsiteX12" fmla="*/ 137724 w 625264"/>
                <a:gd name="connsiteY12" fmla="*/ 60994 h 198000"/>
                <a:gd name="connsiteX13" fmla="*/ 106009 w 625264"/>
                <a:gd name="connsiteY13" fmla="*/ 95832 h 198000"/>
                <a:gd name="connsiteX14" fmla="*/ 137862 w 625264"/>
                <a:gd name="connsiteY14" fmla="*/ 130259 h 198000"/>
                <a:gd name="connsiteX15" fmla="*/ 166464 w 625264"/>
                <a:gd name="connsiteY15" fmla="*/ 109113 h 198000"/>
                <a:gd name="connsiteX16" fmla="*/ 181373 w 625264"/>
                <a:gd name="connsiteY16" fmla="*/ 113994 h 198000"/>
                <a:gd name="connsiteX17" fmla="*/ 137858 w 625264"/>
                <a:gd name="connsiteY17" fmla="*/ 145847 h 198000"/>
                <a:gd name="connsiteX18" fmla="*/ 233496 w 625264"/>
                <a:gd name="connsiteY18" fmla="*/ 93387 h 198000"/>
                <a:gd name="connsiteX19" fmla="*/ 228344 w 625264"/>
                <a:gd name="connsiteY19" fmla="*/ 92976 h 198000"/>
                <a:gd name="connsiteX20" fmla="*/ 210583 w 625264"/>
                <a:gd name="connsiteY20" fmla="*/ 112365 h 198000"/>
                <a:gd name="connsiteX21" fmla="*/ 210583 w 625264"/>
                <a:gd name="connsiteY21" fmla="*/ 143812 h 198000"/>
                <a:gd name="connsiteX22" fmla="*/ 194862 w 625264"/>
                <a:gd name="connsiteY22" fmla="*/ 143812 h 198000"/>
                <a:gd name="connsiteX23" fmla="*/ 194862 w 625264"/>
                <a:gd name="connsiteY23" fmla="*/ 77794 h 198000"/>
                <a:gd name="connsiteX24" fmla="*/ 210182 w 625264"/>
                <a:gd name="connsiteY24" fmla="*/ 77794 h 198000"/>
                <a:gd name="connsiteX25" fmla="*/ 210182 w 625264"/>
                <a:gd name="connsiteY25" fmla="*/ 88377 h 198000"/>
                <a:gd name="connsiteX26" fmla="*/ 229289 w 625264"/>
                <a:gd name="connsiteY26" fmla="*/ 76992 h 198000"/>
                <a:gd name="connsiteX27" fmla="*/ 233496 w 625264"/>
                <a:gd name="connsiteY27" fmla="*/ 77393 h 198000"/>
                <a:gd name="connsiteX28" fmla="*/ 233496 w 625264"/>
                <a:gd name="connsiteY28" fmla="*/ 93387 h 198000"/>
                <a:gd name="connsiteX29" fmla="*/ 274948 w 625264"/>
                <a:gd name="connsiteY29" fmla="*/ 145847 h 198000"/>
                <a:gd name="connsiteX30" fmla="*/ 240793 w 625264"/>
                <a:gd name="connsiteY30" fmla="*/ 110736 h 198000"/>
                <a:gd name="connsiteX31" fmla="*/ 274948 w 625264"/>
                <a:gd name="connsiteY31" fmla="*/ 75765 h 198000"/>
                <a:gd name="connsiteX32" fmla="*/ 309246 w 625264"/>
                <a:gd name="connsiteY32" fmla="*/ 110736 h 198000"/>
                <a:gd name="connsiteX33" fmla="*/ 274948 w 625264"/>
                <a:gd name="connsiteY33" fmla="*/ 145847 h 198000"/>
                <a:gd name="connsiteX34" fmla="*/ 363825 w 625264"/>
                <a:gd name="connsiteY34" fmla="*/ 143807 h 198000"/>
                <a:gd name="connsiteX35" fmla="*/ 363142 w 625264"/>
                <a:gd name="connsiteY35" fmla="*/ 135402 h 198000"/>
                <a:gd name="connsiteX36" fmla="*/ 342812 w 625264"/>
                <a:gd name="connsiteY36" fmla="*/ 145842 h 198000"/>
                <a:gd name="connsiteX37" fmla="*/ 320453 w 625264"/>
                <a:gd name="connsiteY37" fmla="*/ 125913 h 198000"/>
                <a:gd name="connsiteX38" fmla="*/ 340372 w 625264"/>
                <a:gd name="connsiteY38" fmla="*/ 105984 h 198000"/>
                <a:gd name="connsiteX39" fmla="*/ 357321 w 625264"/>
                <a:gd name="connsiteY39" fmla="*/ 103415 h 198000"/>
                <a:gd name="connsiteX40" fmla="*/ 362201 w 625264"/>
                <a:gd name="connsiteY40" fmla="*/ 98678 h 198000"/>
                <a:gd name="connsiteX41" fmla="*/ 349732 w 625264"/>
                <a:gd name="connsiteY41" fmla="*/ 88640 h 198000"/>
                <a:gd name="connsiteX42" fmla="*/ 336179 w 625264"/>
                <a:gd name="connsiteY42" fmla="*/ 100569 h 198000"/>
                <a:gd name="connsiteX43" fmla="*/ 321809 w 625264"/>
                <a:gd name="connsiteY43" fmla="*/ 97317 h 198000"/>
                <a:gd name="connsiteX44" fmla="*/ 349589 w 625264"/>
                <a:gd name="connsiteY44" fmla="*/ 75770 h 198000"/>
                <a:gd name="connsiteX45" fmla="*/ 377650 w 625264"/>
                <a:gd name="connsiteY45" fmla="*/ 100440 h 198000"/>
                <a:gd name="connsiteX46" fmla="*/ 377650 w 625264"/>
                <a:gd name="connsiteY46" fmla="*/ 133244 h 198000"/>
                <a:gd name="connsiteX47" fmla="*/ 378462 w 625264"/>
                <a:gd name="connsiteY47" fmla="*/ 143817 h 198000"/>
                <a:gd name="connsiteX48" fmla="*/ 363825 w 625264"/>
                <a:gd name="connsiteY48" fmla="*/ 143817 h 198000"/>
                <a:gd name="connsiteX49" fmla="*/ 430605 w 625264"/>
                <a:gd name="connsiteY49" fmla="*/ 143134 h 198000"/>
                <a:gd name="connsiteX50" fmla="*/ 420988 w 625264"/>
                <a:gd name="connsiteY50" fmla="*/ 144619 h 198000"/>
                <a:gd name="connsiteX51" fmla="*/ 401198 w 625264"/>
                <a:gd name="connsiteY51" fmla="*/ 124963 h 198000"/>
                <a:gd name="connsiteX52" fmla="*/ 401198 w 625264"/>
                <a:gd name="connsiteY52" fmla="*/ 91758 h 198000"/>
                <a:gd name="connsiteX53" fmla="*/ 389001 w 625264"/>
                <a:gd name="connsiteY53" fmla="*/ 91758 h 198000"/>
                <a:gd name="connsiteX54" fmla="*/ 389001 w 625264"/>
                <a:gd name="connsiteY54" fmla="*/ 77794 h 198000"/>
                <a:gd name="connsiteX55" fmla="*/ 392387 w 625264"/>
                <a:gd name="connsiteY55" fmla="*/ 77794 h 198000"/>
                <a:gd name="connsiteX56" fmla="*/ 402559 w 625264"/>
                <a:gd name="connsiteY56" fmla="*/ 67493 h 198000"/>
                <a:gd name="connsiteX57" fmla="*/ 402559 w 625264"/>
                <a:gd name="connsiteY57" fmla="*/ 57603 h 198000"/>
                <a:gd name="connsiteX58" fmla="*/ 416785 w 625264"/>
                <a:gd name="connsiteY58" fmla="*/ 57603 h 198000"/>
                <a:gd name="connsiteX59" fmla="*/ 416785 w 625264"/>
                <a:gd name="connsiteY59" fmla="*/ 77794 h 198000"/>
                <a:gd name="connsiteX60" fmla="*/ 430482 w 625264"/>
                <a:gd name="connsiteY60" fmla="*/ 77794 h 198000"/>
                <a:gd name="connsiteX61" fmla="*/ 430482 w 625264"/>
                <a:gd name="connsiteY61" fmla="*/ 91758 h 198000"/>
                <a:gd name="connsiteX62" fmla="*/ 416785 w 625264"/>
                <a:gd name="connsiteY62" fmla="*/ 91758 h 198000"/>
                <a:gd name="connsiteX63" fmla="*/ 416785 w 625264"/>
                <a:gd name="connsiteY63" fmla="*/ 122389 h 198000"/>
                <a:gd name="connsiteX64" fmla="*/ 425190 w 625264"/>
                <a:gd name="connsiteY64" fmla="*/ 130660 h 198000"/>
                <a:gd name="connsiteX65" fmla="*/ 430610 w 625264"/>
                <a:gd name="connsiteY65" fmla="*/ 130116 h 198000"/>
                <a:gd name="connsiteX66" fmla="*/ 430610 w 625264"/>
                <a:gd name="connsiteY66" fmla="*/ 143134 h 198000"/>
                <a:gd name="connsiteX67" fmla="*/ 461078 w 625264"/>
                <a:gd name="connsiteY67" fmla="*/ 143807 h 198000"/>
                <a:gd name="connsiteX68" fmla="*/ 445490 w 625264"/>
                <a:gd name="connsiteY68" fmla="*/ 143807 h 198000"/>
                <a:gd name="connsiteX69" fmla="*/ 445490 w 625264"/>
                <a:gd name="connsiteY69" fmla="*/ 77794 h 198000"/>
                <a:gd name="connsiteX70" fmla="*/ 461078 w 625264"/>
                <a:gd name="connsiteY70" fmla="*/ 77794 h 198000"/>
                <a:gd name="connsiteX71" fmla="*/ 461078 w 625264"/>
                <a:gd name="connsiteY71" fmla="*/ 143807 h 198000"/>
                <a:gd name="connsiteX72" fmla="*/ 453217 w 625264"/>
                <a:gd name="connsiteY72" fmla="*/ 64781 h 198000"/>
                <a:gd name="connsiteX73" fmla="*/ 443050 w 625264"/>
                <a:gd name="connsiteY73" fmla="*/ 54618 h 198000"/>
                <a:gd name="connsiteX74" fmla="*/ 453217 w 625264"/>
                <a:gd name="connsiteY74" fmla="*/ 44317 h 198000"/>
                <a:gd name="connsiteX75" fmla="*/ 463518 w 625264"/>
                <a:gd name="connsiteY75" fmla="*/ 54618 h 198000"/>
                <a:gd name="connsiteX76" fmla="*/ 453217 w 625264"/>
                <a:gd name="connsiteY76" fmla="*/ 64781 h 198000"/>
                <a:gd name="connsiteX77" fmla="*/ 519889 w 625264"/>
                <a:gd name="connsiteY77" fmla="*/ 143807 h 198000"/>
                <a:gd name="connsiteX78" fmla="*/ 519210 w 625264"/>
                <a:gd name="connsiteY78" fmla="*/ 135402 h 198000"/>
                <a:gd name="connsiteX79" fmla="*/ 498881 w 625264"/>
                <a:gd name="connsiteY79" fmla="*/ 145842 h 198000"/>
                <a:gd name="connsiteX80" fmla="*/ 476517 w 625264"/>
                <a:gd name="connsiteY80" fmla="*/ 125913 h 198000"/>
                <a:gd name="connsiteX81" fmla="*/ 496440 w 625264"/>
                <a:gd name="connsiteY81" fmla="*/ 105984 h 198000"/>
                <a:gd name="connsiteX82" fmla="*/ 513384 w 625264"/>
                <a:gd name="connsiteY82" fmla="*/ 103415 h 198000"/>
                <a:gd name="connsiteX83" fmla="*/ 518265 w 625264"/>
                <a:gd name="connsiteY83" fmla="*/ 98678 h 198000"/>
                <a:gd name="connsiteX84" fmla="*/ 505796 w 625264"/>
                <a:gd name="connsiteY84" fmla="*/ 88640 h 198000"/>
                <a:gd name="connsiteX85" fmla="*/ 492243 w 625264"/>
                <a:gd name="connsiteY85" fmla="*/ 100569 h 198000"/>
                <a:gd name="connsiteX86" fmla="*/ 477873 w 625264"/>
                <a:gd name="connsiteY86" fmla="*/ 97317 h 198000"/>
                <a:gd name="connsiteX87" fmla="*/ 505657 w 625264"/>
                <a:gd name="connsiteY87" fmla="*/ 75770 h 198000"/>
                <a:gd name="connsiteX88" fmla="*/ 533714 w 625264"/>
                <a:gd name="connsiteY88" fmla="*/ 100440 h 198000"/>
                <a:gd name="connsiteX89" fmla="*/ 533714 w 625264"/>
                <a:gd name="connsiteY89" fmla="*/ 133244 h 198000"/>
                <a:gd name="connsiteX90" fmla="*/ 534526 w 625264"/>
                <a:gd name="connsiteY90" fmla="*/ 143817 h 198000"/>
                <a:gd name="connsiteX91" fmla="*/ 519889 w 625264"/>
                <a:gd name="connsiteY91" fmla="*/ 143817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25264" h="198000">
                  <a:moveTo>
                    <a:pt x="526259" y="0"/>
                  </a:moveTo>
                  <a:lnTo>
                    <a:pt x="99000" y="0"/>
                  </a:lnTo>
                  <a:cubicBezTo>
                    <a:pt x="44322" y="0"/>
                    <a:pt x="0" y="44327"/>
                    <a:pt x="0" y="99000"/>
                  </a:cubicBezTo>
                  <a:cubicBezTo>
                    <a:pt x="0" y="153673"/>
                    <a:pt x="44322" y="198000"/>
                    <a:pt x="99000" y="198000"/>
                  </a:cubicBezTo>
                  <a:lnTo>
                    <a:pt x="526264" y="198000"/>
                  </a:lnTo>
                  <a:cubicBezTo>
                    <a:pt x="580942" y="198000"/>
                    <a:pt x="625264" y="153673"/>
                    <a:pt x="625264" y="99000"/>
                  </a:cubicBezTo>
                  <a:cubicBezTo>
                    <a:pt x="625264" y="44327"/>
                    <a:pt x="580937" y="0"/>
                    <a:pt x="526259" y="0"/>
                  </a:cubicBezTo>
                  <a:close/>
                  <a:moveTo>
                    <a:pt x="137858" y="145847"/>
                  </a:moveTo>
                  <a:cubicBezTo>
                    <a:pt x="111969" y="145847"/>
                    <a:pt x="89333" y="127131"/>
                    <a:pt x="89333" y="95827"/>
                  </a:cubicBezTo>
                  <a:cubicBezTo>
                    <a:pt x="89333" y="64523"/>
                    <a:pt x="112781" y="45679"/>
                    <a:pt x="137724" y="45679"/>
                  </a:cubicBezTo>
                  <a:cubicBezTo>
                    <a:pt x="162122" y="45679"/>
                    <a:pt x="176626" y="60048"/>
                    <a:pt x="180962" y="76854"/>
                  </a:cubicBezTo>
                  <a:lnTo>
                    <a:pt x="165647" y="82007"/>
                  </a:lnTo>
                  <a:cubicBezTo>
                    <a:pt x="162801" y="70349"/>
                    <a:pt x="153856" y="60994"/>
                    <a:pt x="137724" y="60994"/>
                  </a:cubicBezTo>
                  <a:cubicBezTo>
                    <a:pt x="121864" y="60994"/>
                    <a:pt x="106009" y="72518"/>
                    <a:pt x="106009" y="95832"/>
                  </a:cubicBezTo>
                  <a:cubicBezTo>
                    <a:pt x="106009" y="118330"/>
                    <a:pt x="121463" y="130259"/>
                    <a:pt x="137862" y="130259"/>
                  </a:cubicBezTo>
                  <a:cubicBezTo>
                    <a:pt x="153995" y="130259"/>
                    <a:pt x="163211" y="119958"/>
                    <a:pt x="166464" y="109113"/>
                  </a:cubicBezTo>
                  <a:lnTo>
                    <a:pt x="181373" y="113994"/>
                  </a:lnTo>
                  <a:cubicBezTo>
                    <a:pt x="177027" y="130254"/>
                    <a:pt x="162390" y="145847"/>
                    <a:pt x="137858" y="145847"/>
                  </a:cubicBezTo>
                  <a:close/>
                  <a:moveTo>
                    <a:pt x="233496" y="93387"/>
                  </a:moveTo>
                  <a:cubicBezTo>
                    <a:pt x="231729" y="93114"/>
                    <a:pt x="229972" y="92976"/>
                    <a:pt x="228344" y="92976"/>
                  </a:cubicBezTo>
                  <a:cubicBezTo>
                    <a:pt x="216147" y="92976"/>
                    <a:pt x="210583" y="100025"/>
                    <a:pt x="210583" y="112365"/>
                  </a:cubicBezTo>
                  <a:lnTo>
                    <a:pt x="210583" y="143812"/>
                  </a:lnTo>
                  <a:lnTo>
                    <a:pt x="194862" y="143812"/>
                  </a:lnTo>
                  <a:lnTo>
                    <a:pt x="194862" y="77794"/>
                  </a:lnTo>
                  <a:lnTo>
                    <a:pt x="210182" y="77794"/>
                  </a:lnTo>
                  <a:lnTo>
                    <a:pt x="210182" y="88377"/>
                  </a:lnTo>
                  <a:cubicBezTo>
                    <a:pt x="213296" y="81190"/>
                    <a:pt x="220617" y="76992"/>
                    <a:pt x="229289" y="76992"/>
                  </a:cubicBezTo>
                  <a:cubicBezTo>
                    <a:pt x="231185" y="76992"/>
                    <a:pt x="232813" y="77255"/>
                    <a:pt x="233496" y="77393"/>
                  </a:cubicBezTo>
                  <a:lnTo>
                    <a:pt x="233496" y="93387"/>
                  </a:lnTo>
                  <a:close/>
                  <a:moveTo>
                    <a:pt x="274948" y="145847"/>
                  </a:moveTo>
                  <a:cubicBezTo>
                    <a:pt x="255296" y="145847"/>
                    <a:pt x="240793" y="131066"/>
                    <a:pt x="240793" y="110736"/>
                  </a:cubicBezTo>
                  <a:cubicBezTo>
                    <a:pt x="240793" y="90545"/>
                    <a:pt x="255301" y="75765"/>
                    <a:pt x="274948" y="75765"/>
                  </a:cubicBezTo>
                  <a:cubicBezTo>
                    <a:pt x="294738" y="75765"/>
                    <a:pt x="309246" y="90545"/>
                    <a:pt x="309246" y="110736"/>
                  </a:cubicBezTo>
                  <a:cubicBezTo>
                    <a:pt x="309241" y="131066"/>
                    <a:pt x="294738" y="145847"/>
                    <a:pt x="274948" y="145847"/>
                  </a:cubicBezTo>
                  <a:close/>
                  <a:moveTo>
                    <a:pt x="363825" y="143807"/>
                  </a:moveTo>
                  <a:cubicBezTo>
                    <a:pt x="363686" y="143397"/>
                    <a:pt x="363142" y="140684"/>
                    <a:pt x="363142" y="135402"/>
                  </a:cubicBezTo>
                  <a:cubicBezTo>
                    <a:pt x="360028" y="140422"/>
                    <a:pt x="353524" y="145842"/>
                    <a:pt x="342812" y="145842"/>
                  </a:cubicBezTo>
                  <a:cubicBezTo>
                    <a:pt x="328987" y="145842"/>
                    <a:pt x="320453" y="136343"/>
                    <a:pt x="320453" y="125913"/>
                  </a:cubicBezTo>
                  <a:cubicBezTo>
                    <a:pt x="320453" y="114117"/>
                    <a:pt x="329126" y="107608"/>
                    <a:pt x="340372" y="105984"/>
                  </a:cubicBezTo>
                  <a:lnTo>
                    <a:pt x="357321" y="103415"/>
                  </a:lnTo>
                  <a:cubicBezTo>
                    <a:pt x="361117" y="102871"/>
                    <a:pt x="362201" y="100975"/>
                    <a:pt x="362201" y="98678"/>
                  </a:cubicBezTo>
                  <a:cubicBezTo>
                    <a:pt x="362201" y="93114"/>
                    <a:pt x="358405" y="88640"/>
                    <a:pt x="349732" y="88640"/>
                  </a:cubicBezTo>
                  <a:cubicBezTo>
                    <a:pt x="341461" y="88640"/>
                    <a:pt x="336852" y="93931"/>
                    <a:pt x="336179" y="100569"/>
                  </a:cubicBezTo>
                  <a:lnTo>
                    <a:pt x="321809" y="97317"/>
                  </a:lnTo>
                  <a:cubicBezTo>
                    <a:pt x="323022" y="85932"/>
                    <a:pt x="333328" y="75770"/>
                    <a:pt x="349589" y="75770"/>
                  </a:cubicBezTo>
                  <a:cubicBezTo>
                    <a:pt x="369918" y="75770"/>
                    <a:pt x="377650" y="87293"/>
                    <a:pt x="377650" y="100440"/>
                  </a:cubicBezTo>
                  <a:lnTo>
                    <a:pt x="377650" y="133244"/>
                  </a:lnTo>
                  <a:cubicBezTo>
                    <a:pt x="377650" y="139209"/>
                    <a:pt x="378324" y="143144"/>
                    <a:pt x="378462" y="143817"/>
                  </a:cubicBezTo>
                  <a:lnTo>
                    <a:pt x="363825" y="143817"/>
                  </a:lnTo>
                  <a:close/>
                  <a:moveTo>
                    <a:pt x="430605" y="143134"/>
                  </a:moveTo>
                  <a:cubicBezTo>
                    <a:pt x="429660" y="143535"/>
                    <a:pt x="426680" y="144619"/>
                    <a:pt x="420988" y="144619"/>
                  </a:cubicBezTo>
                  <a:cubicBezTo>
                    <a:pt x="408791" y="144619"/>
                    <a:pt x="401198" y="137298"/>
                    <a:pt x="401198" y="124963"/>
                  </a:cubicBezTo>
                  <a:lnTo>
                    <a:pt x="401198" y="91758"/>
                  </a:lnTo>
                  <a:lnTo>
                    <a:pt x="389001" y="91758"/>
                  </a:lnTo>
                  <a:lnTo>
                    <a:pt x="389001" y="77794"/>
                  </a:lnTo>
                  <a:lnTo>
                    <a:pt x="392387" y="77794"/>
                  </a:lnTo>
                  <a:cubicBezTo>
                    <a:pt x="399435" y="77794"/>
                    <a:pt x="402559" y="73324"/>
                    <a:pt x="402559" y="67493"/>
                  </a:cubicBezTo>
                  <a:lnTo>
                    <a:pt x="402559" y="57603"/>
                  </a:lnTo>
                  <a:lnTo>
                    <a:pt x="416785" y="57603"/>
                  </a:lnTo>
                  <a:lnTo>
                    <a:pt x="416785" y="77794"/>
                  </a:lnTo>
                  <a:lnTo>
                    <a:pt x="430482" y="77794"/>
                  </a:lnTo>
                  <a:lnTo>
                    <a:pt x="430482" y="91758"/>
                  </a:lnTo>
                  <a:lnTo>
                    <a:pt x="416785" y="91758"/>
                  </a:lnTo>
                  <a:lnTo>
                    <a:pt x="416785" y="122389"/>
                  </a:lnTo>
                  <a:cubicBezTo>
                    <a:pt x="416785" y="128210"/>
                    <a:pt x="419364" y="130660"/>
                    <a:pt x="425190" y="130660"/>
                  </a:cubicBezTo>
                  <a:cubicBezTo>
                    <a:pt x="427358" y="130660"/>
                    <a:pt x="429937" y="130249"/>
                    <a:pt x="430610" y="130116"/>
                  </a:cubicBezTo>
                  <a:lnTo>
                    <a:pt x="430610" y="143134"/>
                  </a:lnTo>
                  <a:close/>
                  <a:moveTo>
                    <a:pt x="461078" y="143807"/>
                  </a:moveTo>
                  <a:lnTo>
                    <a:pt x="445490" y="143807"/>
                  </a:lnTo>
                  <a:lnTo>
                    <a:pt x="445490" y="77794"/>
                  </a:lnTo>
                  <a:lnTo>
                    <a:pt x="461078" y="77794"/>
                  </a:lnTo>
                  <a:lnTo>
                    <a:pt x="461078" y="143807"/>
                  </a:lnTo>
                  <a:close/>
                  <a:moveTo>
                    <a:pt x="453217" y="64781"/>
                  </a:moveTo>
                  <a:cubicBezTo>
                    <a:pt x="447658" y="64781"/>
                    <a:pt x="443050" y="60311"/>
                    <a:pt x="443050" y="54618"/>
                  </a:cubicBezTo>
                  <a:cubicBezTo>
                    <a:pt x="443050" y="48926"/>
                    <a:pt x="447658" y="44317"/>
                    <a:pt x="453217" y="44317"/>
                  </a:cubicBezTo>
                  <a:cubicBezTo>
                    <a:pt x="458910" y="44317"/>
                    <a:pt x="463518" y="48926"/>
                    <a:pt x="463518" y="54618"/>
                  </a:cubicBezTo>
                  <a:cubicBezTo>
                    <a:pt x="463518" y="60311"/>
                    <a:pt x="458910" y="64781"/>
                    <a:pt x="453217" y="64781"/>
                  </a:cubicBezTo>
                  <a:close/>
                  <a:moveTo>
                    <a:pt x="519889" y="143807"/>
                  </a:moveTo>
                  <a:cubicBezTo>
                    <a:pt x="519755" y="143397"/>
                    <a:pt x="519210" y="140684"/>
                    <a:pt x="519210" y="135402"/>
                  </a:cubicBezTo>
                  <a:cubicBezTo>
                    <a:pt x="516092" y="140422"/>
                    <a:pt x="509588" y="145842"/>
                    <a:pt x="498881" y="145842"/>
                  </a:cubicBezTo>
                  <a:cubicBezTo>
                    <a:pt x="485055" y="145842"/>
                    <a:pt x="476517" y="136343"/>
                    <a:pt x="476517" y="125913"/>
                  </a:cubicBezTo>
                  <a:cubicBezTo>
                    <a:pt x="476517" y="114117"/>
                    <a:pt x="485189" y="107608"/>
                    <a:pt x="496440" y="105984"/>
                  </a:cubicBezTo>
                  <a:lnTo>
                    <a:pt x="513384" y="103415"/>
                  </a:lnTo>
                  <a:cubicBezTo>
                    <a:pt x="517181" y="102871"/>
                    <a:pt x="518265" y="100975"/>
                    <a:pt x="518265" y="98678"/>
                  </a:cubicBezTo>
                  <a:cubicBezTo>
                    <a:pt x="518265" y="93114"/>
                    <a:pt x="514468" y="88640"/>
                    <a:pt x="505796" y="88640"/>
                  </a:cubicBezTo>
                  <a:cubicBezTo>
                    <a:pt x="497529" y="88640"/>
                    <a:pt x="492921" y="93931"/>
                    <a:pt x="492243" y="100569"/>
                  </a:cubicBezTo>
                  <a:lnTo>
                    <a:pt x="477873" y="97317"/>
                  </a:lnTo>
                  <a:cubicBezTo>
                    <a:pt x="479091" y="85932"/>
                    <a:pt x="489397" y="75770"/>
                    <a:pt x="505657" y="75770"/>
                  </a:cubicBezTo>
                  <a:cubicBezTo>
                    <a:pt x="525987" y="75770"/>
                    <a:pt x="533714" y="87293"/>
                    <a:pt x="533714" y="100440"/>
                  </a:cubicBezTo>
                  <a:lnTo>
                    <a:pt x="533714" y="133244"/>
                  </a:lnTo>
                  <a:cubicBezTo>
                    <a:pt x="533714" y="139209"/>
                    <a:pt x="534392" y="143144"/>
                    <a:pt x="534526" y="143817"/>
                  </a:cubicBezTo>
                  <a:lnTo>
                    <a:pt x="519889" y="143817"/>
                  </a:lnTo>
                  <a:close/>
                </a:path>
              </a:pathLst>
            </a:custGeom>
            <a:solidFill>
              <a:srgbClr val="000000"/>
            </a:solidFill>
            <a:ln w="490" cap="flat">
              <a:noFill/>
              <a:prstDash val="solid"/>
              <a:miter/>
            </a:ln>
          </p:spPr>
          <p:txBody>
            <a:bodyPr rtlCol="0" anchor="ctr"/>
            <a:lstStyle/>
            <a:p>
              <a:endParaRPr lang="en-US"/>
            </a:p>
          </p:txBody>
        </p:sp>
      </p:grpSp>
      <p:grpSp>
        <p:nvGrpSpPr>
          <p:cNvPr id="246" name="Graphic 138">
            <a:extLst>
              <a:ext uri="{FF2B5EF4-FFF2-40B4-BE49-F238E27FC236}">
                <a16:creationId xmlns:a16="http://schemas.microsoft.com/office/drawing/2014/main" id="{A7927FCF-14ED-4B3E-BBEC-07202590EC0F}"/>
              </a:ext>
            </a:extLst>
          </p:cNvPr>
          <p:cNvGrpSpPr/>
          <p:nvPr userDrawn="1">
            <p:custDataLst>
              <p:tags r:id="rId14"/>
            </p:custDataLst>
          </p:nvPr>
        </p:nvGrpSpPr>
        <p:grpSpPr>
          <a:xfrm>
            <a:off x="9002212" y="4224989"/>
            <a:ext cx="702385" cy="198000"/>
            <a:chOff x="8651332" y="4044235"/>
            <a:chExt cx="702385" cy="198000"/>
          </a:xfrm>
          <a:solidFill>
            <a:srgbClr val="000000"/>
          </a:solidFill>
        </p:grpSpPr>
        <p:sp>
          <p:nvSpPr>
            <p:cNvPr id="247" name="Freeform: Shape 115">
              <a:extLst>
                <a:ext uri="{FF2B5EF4-FFF2-40B4-BE49-F238E27FC236}">
                  <a16:creationId xmlns:a16="http://schemas.microsoft.com/office/drawing/2014/main" id="{99F4E4CF-7DCF-4A02-A20F-9C05F613289C}"/>
                </a:ext>
              </a:extLst>
            </p:cNvPr>
            <p:cNvSpPr/>
            <p:nvPr/>
          </p:nvSpPr>
          <p:spPr>
            <a:xfrm>
              <a:off x="9035600" y="4157684"/>
              <a:ext cx="26022" cy="20057"/>
            </a:xfrm>
            <a:custGeom>
              <a:avLst/>
              <a:gdLst>
                <a:gd name="connsiteX0" fmla="*/ 0 w 26022"/>
                <a:gd name="connsiteY0" fmla="*/ 1151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1" y="20057"/>
                    <a:pt x="9623" y="20057"/>
                  </a:cubicBezTo>
                  <a:cubicBezTo>
                    <a:pt x="18434" y="20057"/>
                    <a:pt x="26022" y="15850"/>
                    <a:pt x="26022" y="2980"/>
                  </a:cubicBezTo>
                  <a:lnTo>
                    <a:pt x="26022" y="0"/>
                  </a:lnTo>
                  <a:lnTo>
                    <a:pt x="8806" y="2579"/>
                  </a:lnTo>
                  <a:cubicBezTo>
                    <a:pt x="3930" y="3381"/>
                    <a:pt x="0" y="6093"/>
                    <a:pt x="0" y="11514"/>
                  </a:cubicBezTo>
                  <a:close/>
                </a:path>
              </a:pathLst>
            </a:custGeom>
            <a:solidFill>
              <a:srgbClr val="000000"/>
            </a:solidFill>
            <a:ln w="490" cap="flat">
              <a:noFill/>
              <a:prstDash val="solid"/>
              <a:miter/>
            </a:ln>
          </p:spPr>
          <p:txBody>
            <a:bodyPr rtlCol="0" anchor="ctr"/>
            <a:lstStyle/>
            <a:p>
              <a:endParaRPr lang="en-US"/>
            </a:p>
          </p:txBody>
        </p:sp>
        <p:sp>
          <p:nvSpPr>
            <p:cNvPr id="248" name="Freeform: Shape 116">
              <a:extLst>
                <a:ext uri="{FF2B5EF4-FFF2-40B4-BE49-F238E27FC236}">
                  <a16:creationId xmlns:a16="http://schemas.microsoft.com/office/drawing/2014/main" id="{AFF1BAAC-C172-4AE2-BEAE-D9AECDB6B3FF}"/>
                </a:ext>
              </a:extLst>
            </p:cNvPr>
            <p:cNvSpPr/>
            <p:nvPr/>
          </p:nvSpPr>
          <p:spPr>
            <a:xfrm>
              <a:off x="8838080" y="4134240"/>
              <a:ext cx="36867" cy="41748"/>
            </a:xfrm>
            <a:custGeom>
              <a:avLst/>
              <a:gdLst>
                <a:gd name="connsiteX0" fmla="*/ 18434 w 36867"/>
                <a:gd name="connsiteY0" fmla="*/ 0 h 41748"/>
                <a:gd name="connsiteX1" fmla="*/ 0 w 36867"/>
                <a:gd name="connsiteY1" fmla="*/ 20736 h 41748"/>
                <a:gd name="connsiteX2" fmla="*/ 18434 w 36867"/>
                <a:gd name="connsiteY2" fmla="*/ 41748 h 41748"/>
                <a:gd name="connsiteX3" fmla="*/ 36868 w 36867"/>
                <a:gd name="connsiteY3" fmla="*/ 20736 h 41748"/>
                <a:gd name="connsiteX4" fmla="*/ 18434 w 36867"/>
                <a:gd name="connsiteY4" fmla="*/ 0 h 41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7" h="41748">
                  <a:moveTo>
                    <a:pt x="18434" y="0"/>
                  </a:moveTo>
                  <a:cubicBezTo>
                    <a:pt x="8811" y="0"/>
                    <a:pt x="0" y="7049"/>
                    <a:pt x="0" y="20736"/>
                  </a:cubicBezTo>
                  <a:cubicBezTo>
                    <a:pt x="0" y="34422"/>
                    <a:pt x="8811" y="41748"/>
                    <a:pt x="18434" y="41748"/>
                  </a:cubicBezTo>
                  <a:cubicBezTo>
                    <a:pt x="28195" y="41748"/>
                    <a:pt x="36868" y="34561"/>
                    <a:pt x="36868" y="20736"/>
                  </a:cubicBezTo>
                  <a:cubicBezTo>
                    <a:pt x="36868" y="7044"/>
                    <a:pt x="28190" y="0"/>
                    <a:pt x="18434" y="0"/>
                  </a:cubicBezTo>
                  <a:close/>
                </a:path>
              </a:pathLst>
            </a:custGeom>
            <a:solidFill>
              <a:srgbClr val="000000"/>
            </a:solidFill>
            <a:ln w="490" cap="flat">
              <a:noFill/>
              <a:prstDash val="solid"/>
              <a:miter/>
            </a:ln>
          </p:spPr>
          <p:txBody>
            <a:bodyPr rtlCol="0" anchor="ctr"/>
            <a:lstStyle/>
            <a:p>
              <a:endParaRPr lang="en-US"/>
            </a:p>
          </p:txBody>
        </p:sp>
        <p:sp>
          <p:nvSpPr>
            <p:cNvPr id="249" name="Freeform: Shape 117">
              <a:extLst>
                <a:ext uri="{FF2B5EF4-FFF2-40B4-BE49-F238E27FC236}">
                  <a16:creationId xmlns:a16="http://schemas.microsoft.com/office/drawing/2014/main" id="{C30897FD-4114-4A9F-80A4-4C1924324622}"/>
                </a:ext>
              </a:extLst>
            </p:cNvPr>
            <p:cNvSpPr/>
            <p:nvPr/>
          </p:nvSpPr>
          <p:spPr>
            <a:xfrm>
              <a:off x="8651332" y="4044235"/>
              <a:ext cx="702385" cy="198000"/>
            </a:xfrm>
            <a:custGeom>
              <a:avLst/>
              <a:gdLst>
                <a:gd name="connsiteX0" fmla="*/ 603385 w 702385"/>
                <a:gd name="connsiteY0" fmla="*/ 0 h 198000"/>
                <a:gd name="connsiteX1" fmla="*/ 99000 w 702385"/>
                <a:gd name="connsiteY1" fmla="*/ 0 h 198000"/>
                <a:gd name="connsiteX2" fmla="*/ 0 w 702385"/>
                <a:gd name="connsiteY2" fmla="*/ 99000 h 198000"/>
                <a:gd name="connsiteX3" fmla="*/ 99000 w 702385"/>
                <a:gd name="connsiteY3" fmla="*/ 198000 h 198000"/>
                <a:gd name="connsiteX4" fmla="*/ 603385 w 702385"/>
                <a:gd name="connsiteY4" fmla="*/ 198000 h 198000"/>
                <a:gd name="connsiteX5" fmla="*/ 702385 w 702385"/>
                <a:gd name="connsiteY5" fmla="*/ 99000 h 198000"/>
                <a:gd name="connsiteX6" fmla="*/ 603385 w 702385"/>
                <a:gd name="connsiteY6" fmla="*/ 0 h 198000"/>
                <a:gd name="connsiteX7" fmla="*/ 162390 w 702385"/>
                <a:gd name="connsiteY7" fmla="*/ 143812 h 198000"/>
                <a:gd name="connsiteX8" fmla="*/ 143956 w 702385"/>
                <a:gd name="connsiteY8" fmla="*/ 143812 h 198000"/>
                <a:gd name="connsiteX9" fmla="*/ 123760 w 702385"/>
                <a:gd name="connsiteY9" fmla="*/ 105861 h 198000"/>
                <a:gd name="connsiteX10" fmla="*/ 111830 w 702385"/>
                <a:gd name="connsiteY10" fmla="*/ 105861 h 198000"/>
                <a:gd name="connsiteX11" fmla="*/ 111830 w 702385"/>
                <a:gd name="connsiteY11" fmla="*/ 143812 h 198000"/>
                <a:gd name="connsiteX12" fmla="*/ 95431 w 702385"/>
                <a:gd name="connsiteY12" fmla="*/ 143812 h 198000"/>
                <a:gd name="connsiteX13" fmla="*/ 95431 w 702385"/>
                <a:gd name="connsiteY13" fmla="*/ 47713 h 198000"/>
                <a:gd name="connsiteX14" fmla="*/ 132299 w 702385"/>
                <a:gd name="connsiteY14" fmla="*/ 47713 h 198000"/>
                <a:gd name="connsiteX15" fmla="*/ 162390 w 702385"/>
                <a:gd name="connsiteY15" fmla="*/ 76849 h 198000"/>
                <a:gd name="connsiteX16" fmla="*/ 140704 w 702385"/>
                <a:gd name="connsiteY16" fmla="*/ 104227 h 198000"/>
                <a:gd name="connsiteX17" fmla="*/ 162390 w 702385"/>
                <a:gd name="connsiteY17" fmla="*/ 143812 h 198000"/>
                <a:gd name="connsiteX18" fmla="*/ 205182 w 702385"/>
                <a:gd name="connsiteY18" fmla="*/ 145847 h 198000"/>
                <a:gd name="connsiteX19" fmla="*/ 171027 w 702385"/>
                <a:gd name="connsiteY19" fmla="*/ 110736 h 198000"/>
                <a:gd name="connsiteX20" fmla="*/ 205182 w 702385"/>
                <a:gd name="connsiteY20" fmla="*/ 75765 h 198000"/>
                <a:gd name="connsiteX21" fmla="*/ 239476 w 702385"/>
                <a:gd name="connsiteY21" fmla="*/ 110736 h 198000"/>
                <a:gd name="connsiteX22" fmla="*/ 205182 w 702385"/>
                <a:gd name="connsiteY22" fmla="*/ 145847 h 198000"/>
                <a:gd name="connsiteX23" fmla="*/ 353831 w 702385"/>
                <a:gd name="connsiteY23" fmla="*/ 143812 h 198000"/>
                <a:gd name="connsiteX24" fmla="*/ 338649 w 702385"/>
                <a:gd name="connsiteY24" fmla="*/ 143812 h 198000"/>
                <a:gd name="connsiteX25" fmla="*/ 338649 w 702385"/>
                <a:gd name="connsiteY25" fmla="*/ 103559 h 198000"/>
                <a:gd name="connsiteX26" fmla="*/ 325908 w 702385"/>
                <a:gd name="connsiteY26" fmla="*/ 90006 h 198000"/>
                <a:gd name="connsiteX27" fmla="*/ 312216 w 702385"/>
                <a:gd name="connsiteY27" fmla="*/ 104643 h 198000"/>
                <a:gd name="connsiteX28" fmla="*/ 312216 w 702385"/>
                <a:gd name="connsiteY28" fmla="*/ 143812 h 198000"/>
                <a:gd name="connsiteX29" fmla="*/ 296762 w 702385"/>
                <a:gd name="connsiteY29" fmla="*/ 143812 h 198000"/>
                <a:gd name="connsiteX30" fmla="*/ 296762 w 702385"/>
                <a:gd name="connsiteY30" fmla="*/ 103559 h 198000"/>
                <a:gd name="connsiteX31" fmla="*/ 284021 w 702385"/>
                <a:gd name="connsiteY31" fmla="*/ 90006 h 198000"/>
                <a:gd name="connsiteX32" fmla="*/ 270329 w 702385"/>
                <a:gd name="connsiteY32" fmla="*/ 104643 h 198000"/>
                <a:gd name="connsiteX33" fmla="*/ 270329 w 702385"/>
                <a:gd name="connsiteY33" fmla="*/ 143812 h 198000"/>
                <a:gd name="connsiteX34" fmla="*/ 254742 w 702385"/>
                <a:gd name="connsiteY34" fmla="*/ 143812 h 198000"/>
                <a:gd name="connsiteX35" fmla="*/ 254742 w 702385"/>
                <a:gd name="connsiteY35" fmla="*/ 77794 h 198000"/>
                <a:gd name="connsiteX36" fmla="*/ 269785 w 702385"/>
                <a:gd name="connsiteY36" fmla="*/ 77794 h 198000"/>
                <a:gd name="connsiteX37" fmla="*/ 269785 w 702385"/>
                <a:gd name="connsiteY37" fmla="*/ 86209 h 198000"/>
                <a:gd name="connsiteX38" fmla="*/ 289303 w 702385"/>
                <a:gd name="connsiteY38" fmla="*/ 75908 h 198000"/>
                <a:gd name="connsiteX39" fmla="*/ 309093 w 702385"/>
                <a:gd name="connsiteY39" fmla="*/ 87556 h 198000"/>
                <a:gd name="connsiteX40" fmla="*/ 330507 w 702385"/>
                <a:gd name="connsiteY40" fmla="*/ 75908 h 198000"/>
                <a:gd name="connsiteX41" fmla="*/ 353821 w 702385"/>
                <a:gd name="connsiteY41" fmla="*/ 100980 h 198000"/>
                <a:gd name="connsiteX42" fmla="*/ 353821 w 702385"/>
                <a:gd name="connsiteY42" fmla="*/ 143812 h 198000"/>
                <a:gd name="connsiteX43" fmla="*/ 411919 w 702385"/>
                <a:gd name="connsiteY43" fmla="*/ 143812 h 198000"/>
                <a:gd name="connsiteX44" fmla="*/ 411241 w 702385"/>
                <a:gd name="connsiteY44" fmla="*/ 135407 h 198000"/>
                <a:gd name="connsiteX45" fmla="*/ 390911 w 702385"/>
                <a:gd name="connsiteY45" fmla="*/ 145847 h 198000"/>
                <a:gd name="connsiteX46" fmla="*/ 368547 w 702385"/>
                <a:gd name="connsiteY46" fmla="*/ 125918 h 198000"/>
                <a:gd name="connsiteX47" fmla="*/ 388471 w 702385"/>
                <a:gd name="connsiteY47" fmla="*/ 105989 h 198000"/>
                <a:gd name="connsiteX48" fmla="*/ 405415 w 702385"/>
                <a:gd name="connsiteY48" fmla="*/ 103420 h 198000"/>
                <a:gd name="connsiteX49" fmla="*/ 410296 w 702385"/>
                <a:gd name="connsiteY49" fmla="*/ 98683 h 198000"/>
                <a:gd name="connsiteX50" fmla="*/ 397827 w 702385"/>
                <a:gd name="connsiteY50" fmla="*/ 88645 h 198000"/>
                <a:gd name="connsiteX51" fmla="*/ 384273 w 702385"/>
                <a:gd name="connsiteY51" fmla="*/ 100574 h 198000"/>
                <a:gd name="connsiteX52" fmla="*/ 369904 w 702385"/>
                <a:gd name="connsiteY52" fmla="*/ 97322 h 198000"/>
                <a:gd name="connsiteX53" fmla="*/ 397688 w 702385"/>
                <a:gd name="connsiteY53" fmla="*/ 75775 h 198000"/>
                <a:gd name="connsiteX54" fmla="*/ 425745 w 702385"/>
                <a:gd name="connsiteY54" fmla="*/ 100445 h 198000"/>
                <a:gd name="connsiteX55" fmla="*/ 425745 w 702385"/>
                <a:gd name="connsiteY55" fmla="*/ 133249 h 198000"/>
                <a:gd name="connsiteX56" fmla="*/ 426556 w 702385"/>
                <a:gd name="connsiteY56" fmla="*/ 143822 h 198000"/>
                <a:gd name="connsiteX57" fmla="*/ 411919 w 702385"/>
                <a:gd name="connsiteY57" fmla="*/ 143822 h 198000"/>
                <a:gd name="connsiteX58" fmla="*/ 503375 w 702385"/>
                <a:gd name="connsiteY58" fmla="*/ 143812 h 198000"/>
                <a:gd name="connsiteX59" fmla="*/ 487654 w 702385"/>
                <a:gd name="connsiteY59" fmla="*/ 143812 h 198000"/>
                <a:gd name="connsiteX60" fmla="*/ 487654 w 702385"/>
                <a:gd name="connsiteY60" fmla="*/ 104777 h 198000"/>
                <a:gd name="connsiteX61" fmla="*/ 474101 w 702385"/>
                <a:gd name="connsiteY61" fmla="*/ 90140 h 198000"/>
                <a:gd name="connsiteX62" fmla="*/ 460409 w 702385"/>
                <a:gd name="connsiteY62" fmla="*/ 105732 h 198000"/>
                <a:gd name="connsiteX63" fmla="*/ 460409 w 702385"/>
                <a:gd name="connsiteY63" fmla="*/ 143817 h 198000"/>
                <a:gd name="connsiteX64" fmla="*/ 444688 w 702385"/>
                <a:gd name="connsiteY64" fmla="*/ 143817 h 198000"/>
                <a:gd name="connsiteX65" fmla="*/ 444688 w 702385"/>
                <a:gd name="connsiteY65" fmla="*/ 77794 h 198000"/>
                <a:gd name="connsiteX66" fmla="*/ 460004 w 702385"/>
                <a:gd name="connsiteY66" fmla="*/ 77794 h 198000"/>
                <a:gd name="connsiteX67" fmla="*/ 460004 w 702385"/>
                <a:gd name="connsiteY67" fmla="*/ 86610 h 198000"/>
                <a:gd name="connsiteX68" fmla="*/ 479521 w 702385"/>
                <a:gd name="connsiteY68" fmla="*/ 75908 h 198000"/>
                <a:gd name="connsiteX69" fmla="*/ 503375 w 702385"/>
                <a:gd name="connsiteY69" fmla="*/ 102064 h 198000"/>
                <a:gd name="connsiteX70" fmla="*/ 503375 w 702385"/>
                <a:gd name="connsiteY70" fmla="*/ 143812 h 198000"/>
                <a:gd name="connsiteX71" fmla="*/ 537763 w 702385"/>
                <a:gd name="connsiteY71" fmla="*/ 143812 h 198000"/>
                <a:gd name="connsiteX72" fmla="*/ 522176 w 702385"/>
                <a:gd name="connsiteY72" fmla="*/ 143812 h 198000"/>
                <a:gd name="connsiteX73" fmla="*/ 522176 w 702385"/>
                <a:gd name="connsiteY73" fmla="*/ 77794 h 198000"/>
                <a:gd name="connsiteX74" fmla="*/ 537763 w 702385"/>
                <a:gd name="connsiteY74" fmla="*/ 77794 h 198000"/>
                <a:gd name="connsiteX75" fmla="*/ 537763 w 702385"/>
                <a:gd name="connsiteY75" fmla="*/ 143812 h 198000"/>
                <a:gd name="connsiteX76" fmla="*/ 529898 w 702385"/>
                <a:gd name="connsiteY76" fmla="*/ 64786 h 198000"/>
                <a:gd name="connsiteX77" fmla="*/ 519730 w 702385"/>
                <a:gd name="connsiteY77" fmla="*/ 54623 h 198000"/>
                <a:gd name="connsiteX78" fmla="*/ 529898 w 702385"/>
                <a:gd name="connsiteY78" fmla="*/ 44322 h 198000"/>
                <a:gd name="connsiteX79" fmla="*/ 540199 w 702385"/>
                <a:gd name="connsiteY79" fmla="*/ 54623 h 198000"/>
                <a:gd name="connsiteX80" fmla="*/ 529898 w 702385"/>
                <a:gd name="connsiteY80" fmla="*/ 64786 h 198000"/>
                <a:gd name="connsiteX81" fmla="*/ 596569 w 702385"/>
                <a:gd name="connsiteY81" fmla="*/ 143812 h 198000"/>
                <a:gd name="connsiteX82" fmla="*/ 595891 w 702385"/>
                <a:gd name="connsiteY82" fmla="*/ 135407 h 198000"/>
                <a:gd name="connsiteX83" fmla="*/ 575561 w 702385"/>
                <a:gd name="connsiteY83" fmla="*/ 145847 h 198000"/>
                <a:gd name="connsiteX84" fmla="*/ 553197 w 702385"/>
                <a:gd name="connsiteY84" fmla="*/ 125918 h 198000"/>
                <a:gd name="connsiteX85" fmla="*/ 573121 w 702385"/>
                <a:gd name="connsiteY85" fmla="*/ 105989 h 198000"/>
                <a:gd name="connsiteX86" fmla="*/ 590065 w 702385"/>
                <a:gd name="connsiteY86" fmla="*/ 103420 h 198000"/>
                <a:gd name="connsiteX87" fmla="*/ 594945 w 702385"/>
                <a:gd name="connsiteY87" fmla="*/ 98683 h 198000"/>
                <a:gd name="connsiteX88" fmla="*/ 582476 w 702385"/>
                <a:gd name="connsiteY88" fmla="*/ 88645 h 198000"/>
                <a:gd name="connsiteX89" fmla="*/ 568923 w 702385"/>
                <a:gd name="connsiteY89" fmla="*/ 100574 h 198000"/>
                <a:gd name="connsiteX90" fmla="*/ 554554 w 702385"/>
                <a:gd name="connsiteY90" fmla="*/ 97322 h 198000"/>
                <a:gd name="connsiteX91" fmla="*/ 582338 w 702385"/>
                <a:gd name="connsiteY91" fmla="*/ 75775 h 198000"/>
                <a:gd name="connsiteX92" fmla="*/ 610394 w 702385"/>
                <a:gd name="connsiteY92" fmla="*/ 100445 h 198000"/>
                <a:gd name="connsiteX93" fmla="*/ 610394 w 702385"/>
                <a:gd name="connsiteY93" fmla="*/ 133249 h 198000"/>
                <a:gd name="connsiteX94" fmla="*/ 611206 w 702385"/>
                <a:gd name="connsiteY94" fmla="*/ 143822 h 198000"/>
                <a:gd name="connsiteX95" fmla="*/ 596569 w 702385"/>
                <a:gd name="connsiteY95" fmla="*/ 143822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702385" h="198000">
                  <a:moveTo>
                    <a:pt x="603385" y="0"/>
                  </a:moveTo>
                  <a:lnTo>
                    <a:pt x="99000" y="0"/>
                  </a:lnTo>
                  <a:cubicBezTo>
                    <a:pt x="44322" y="0"/>
                    <a:pt x="0" y="44322"/>
                    <a:pt x="0" y="99000"/>
                  </a:cubicBezTo>
                  <a:cubicBezTo>
                    <a:pt x="0" y="153678"/>
                    <a:pt x="44322" y="198000"/>
                    <a:pt x="99000" y="198000"/>
                  </a:cubicBezTo>
                  <a:lnTo>
                    <a:pt x="603385" y="198000"/>
                  </a:lnTo>
                  <a:cubicBezTo>
                    <a:pt x="658063" y="198000"/>
                    <a:pt x="702385" y="153678"/>
                    <a:pt x="702385" y="99000"/>
                  </a:cubicBezTo>
                  <a:cubicBezTo>
                    <a:pt x="702385" y="44322"/>
                    <a:pt x="658063" y="0"/>
                    <a:pt x="603385" y="0"/>
                  </a:cubicBezTo>
                  <a:close/>
                  <a:moveTo>
                    <a:pt x="162390" y="143812"/>
                  </a:moveTo>
                  <a:lnTo>
                    <a:pt x="143956" y="143812"/>
                  </a:lnTo>
                  <a:lnTo>
                    <a:pt x="123760" y="105861"/>
                  </a:lnTo>
                  <a:lnTo>
                    <a:pt x="111830" y="105861"/>
                  </a:lnTo>
                  <a:lnTo>
                    <a:pt x="111830" y="143812"/>
                  </a:lnTo>
                  <a:lnTo>
                    <a:pt x="95431" y="143812"/>
                  </a:lnTo>
                  <a:lnTo>
                    <a:pt x="95431" y="47713"/>
                  </a:lnTo>
                  <a:lnTo>
                    <a:pt x="132299" y="47713"/>
                  </a:lnTo>
                  <a:cubicBezTo>
                    <a:pt x="150866" y="47713"/>
                    <a:pt x="162390" y="60583"/>
                    <a:pt x="162390" y="76849"/>
                  </a:cubicBezTo>
                  <a:cubicBezTo>
                    <a:pt x="162390" y="90545"/>
                    <a:pt x="154123" y="100975"/>
                    <a:pt x="140704" y="104227"/>
                  </a:cubicBezTo>
                  <a:lnTo>
                    <a:pt x="162390" y="143812"/>
                  </a:lnTo>
                  <a:close/>
                  <a:moveTo>
                    <a:pt x="205182" y="145847"/>
                  </a:moveTo>
                  <a:cubicBezTo>
                    <a:pt x="185531" y="145847"/>
                    <a:pt x="171027" y="131066"/>
                    <a:pt x="171027" y="110736"/>
                  </a:cubicBezTo>
                  <a:cubicBezTo>
                    <a:pt x="171027" y="90545"/>
                    <a:pt x="185531" y="75765"/>
                    <a:pt x="205182" y="75765"/>
                  </a:cubicBezTo>
                  <a:cubicBezTo>
                    <a:pt x="224973" y="75765"/>
                    <a:pt x="239476" y="90545"/>
                    <a:pt x="239476" y="110736"/>
                  </a:cubicBezTo>
                  <a:cubicBezTo>
                    <a:pt x="239476" y="131071"/>
                    <a:pt x="224973" y="145847"/>
                    <a:pt x="205182" y="145847"/>
                  </a:cubicBezTo>
                  <a:close/>
                  <a:moveTo>
                    <a:pt x="353831" y="143812"/>
                  </a:moveTo>
                  <a:lnTo>
                    <a:pt x="338649" y="143812"/>
                  </a:lnTo>
                  <a:lnTo>
                    <a:pt x="338649" y="103559"/>
                  </a:lnTo>
                  <a:cubicBezTo>
                    <a:pt x="338649" y="95827"/>
                    <a:pt x="334719" y="90006"/>
                    <a:pt x="325908" y="90006"/>
                  </a:cubicBezTo>
                  <a:cubicBezTo>
                    <a:pt x="317642" y="90006"/>
                    <a:pt x="312216" y="96510"/>
                    <a:pt x="312216" y="104643"/>
                  </a:cubicBezTo>
                  <a:lnTo>
                    <a:pt x="312216" y="143812"/>
                  </a:lnTo>
                  <a:lnTo>
                    <a:pt x="296762" y="143812"/>
                  </a:lnTo>
                  <a:lnTo>
                    <a:pt x="296762" y="103559"/>
                  </a:lnTo>
                  <a:cubicBezTo>
                    <a:pt x="296762" y="95971"/>
                    <a:pt x="292966" y="90006"/>
                    <a:pt x="284021" y="90006"/>
                  </a:cubicBezTo>
                  <a:cubicBezTo>
                    <a:pt x="275616" y="90006"/>
                    <a:pt x="270329" y="96233"/>
                    <a:pt x="270329" y="104643"/>
                  </a:cubicBezTo>
                  <a:lnTo>
                    <a:pt x="270329" y="143812"/>
                  </a:lnTo>
                  <a:lnTo>
                    <a:pt x="254742" y="143812"/>
                  </a:lnTo>
                  <a:lnTo>
                    <a:pt x="254742" y="77794"/>
                  </a:lnTo>
                  <a:lnTo>
                    <a:pt x="269785" y="77794"/>
                  </a:lnTo>
                  <a:lnTo>
                    <a:pt x="269785" y="86209"/>
                  </a:lnTo>
                  <a:cubicBezTo>
                    <a:pt x="273582" y="79423"/>
                    <a:pt x="281848" y="75908"/>
                    <a:pt x="289303" y="75908"/>
                  </a:cubicBezTo>
                  <a:cubicBezTo>
                    <a:pt x="297975" y="75908"/>
                    <a:pt x="305568" y="79834"/>
                    <a:pt x="309093" y="87556"/>
                  </a:cubicBezTo>
                  <a:cubicBezTo>
                    <a:pt x="314246" y="78883"/>
                    <a:pt x="321968" y="75908"/>
                    <a:pt x="330507" y="75908"/>
                  </a:cubicBezTo>
                  <a:cubicBezTo>
                    <a:pt x="342436" y="75908"/>
                    <a:pt x="353821" y="83497"/>
                    <a:pt x="353821" y="100980"/>
                  </a:cubicBezTo>
                  <a:lnTo>
                    <a:pt x="353821" y="143812"/>
                  </a:lnTo>
                  <a:close/>
                  <a:moveTo>
                    <a:pt x="411919" y="143812"/>
                  </a:moveTo>
                  <a:cubicBezTo>
                    <a:pt x="411786" y="143402"/>
                    <a:pt x="411241" y="140689"/>
                    <a:pt x="411241" y="135407"/>
                  </a:cubicBezTo>
                  <a:cubicBezTo>
                    <a:pt x="408123" y="140427"/>
                    <a:pt x="401618" y="145847"/>
                    <a:pt x="390911" y="145847"/>
                  </a:cubicBezTo>
                  <a:cubicBezTo>
                    <a:pt x="377086" y="145847"/>
                    <a:pt x="368547" y="136348"/>
                    <a:pt x="368547" y="125918"/>
                  </a:cubicBezTo>
                  <a:cubicBezTo>
                    <a:pt x="368547" y="114122"/>
                    <a:pt x="377220" y="107613"/>
                    <a:pt x="388471" y="105989"/>
                  </a:cubicBezTo>
                  <a:lnTo>
                    <a:pt x="405415" y="103420"/>
                  </a:lnTo>
                  <a:cubicBezTo>
                    <a:pt x="409212" y="102876"/>
                    <a:pt x="410296" y="100980"/>
                    <a:pt x="410296" y="98683"/>
                  </a:cubicBezTo>
                  <a:cubicBezTo>
                    <a:pt x="410296" y="93119"/>
                    <a:pt x="406499" y="88645"/>
                    <a:pt x="397827" y="88645"/>
                  </a:cubicBezTo>
                  <a:cubicBezTo>
                    <a:pt x="389560" y="88645"/>
                    <a:pt x="384952" y="93936"/>
                    <a:pt x="384273" y="100574"/>
                  </a:cubicBezTo>
                  <a:lnTo>
                    <a:pt x="369904" y="97322"/>
                  </a:lnTo>
                  <a:cubicBezTo>
                    <a:pt x="371121" y="85937"/>
                    <a:pt x="381427" y="75775"/>
                    <a:pt x="397688" y="75775"/>
                  </a:cubicBezTo>
                  <a:cubicBezTo>
                    <a:pt x="418018" y="75775"/>
                    <a:pt x="425745" y="87298"/>
                    <a:pt x="425745" y="100445"/>
                  </a:cubicBezTo>
                  <a:lnTo>
                    <a:pt x="425745" y="133249"/>
                  </a:lnTo>
                  <a:cubicBezTo>
                    <a:pt x="425745" y="139214"/>
                    <a:pt x="426423" y="143149"/>
                    <a:pt x="426556" y="143822"/>
                  </a:cubicBezTo>
                  <a:lnTo>
                    <a:pt x="411919" y="143822"/>
                  </a:lnTo>
                  <a:close/>
                  <a:moveTo>
                    <a:pt x="503375" y="143812"/>
                  </a:moveTo>
                  <a:lnTo>
                    <a:pt x="487654" y="143812"/>
                  </a:lnTo>
                  <a:lnTo>
                    <a:pt x="487654" y="104777"/>
                  </a:lnTo>
                  <a:cubicBezTo>
                    <a:pt x="487654" y="96644"/>
                    <a:pt x="483996" y="90140"/>
                    <a:pt x="474101" y="90140"/>
                  </a:cubicBezTo>
                  <a:cubicBezTo>
                    <a:pt x="465156" y="90140"/>
                    <a:pt x="460409" y="97055"/>
                    <a:pt x="460409" y="105732"/>
                  </a:cubicBezTo>
                  <a:lnTo>
                    <a:pt x="460409" y="143817"/>
                  </a:lnTo>
                  <a:lnTo>
                    <a:pt x="444688" y="143817"/>
                  </a:lnTo>
                  <a:lnTo>
                    <a:pt x="444688" y="77794"/>
                  </a:lnTo>
                  <a:lnTo>
                    <a:pt x="460004" y="77794"/>
                  </a:lnTo>
                  <a:lnTo>
                    <a:pt x="460004" y="86610"/>
                  </a:lnTo>
                  <a:cubicBezTo>
                    <a:pt x="464340" y="79022"/>
                    <a:pt x="472200" y="75908"/>
                    <a:pt x="479521" y="75908"/>
                  </a:cubicBezTo>
                  <a:cubicBezTo>
                    <a:pt x="495653" y="75908"/>
                    <a:pt x="503375" y="87556"/>
                    <a:pt x="503375" y="102064"/>
                  </a:cubicBezTo>
                  <a:lnTo>
                    <a:pt x="503375" y="143812"/>
                  </a:lnTo>
                  <a:close/>
                  <a:moveTo>
                    <a:pt x="537763" y="143812"/>
                  </a:moveTo>
                  <a:lnTo>
                    <a:pt x="522176" y="143812"/>
                  </a:lnTo>
                  <a:lnTo>
                    <a:pt x="522176" y="77794"/>
                  </a:lnTo>
                  <a:lnTo>
                    <a:pt x="537763" y="77794"/>
                  </a:lnTo>
                  <a:lnTo>
                    <a:pt x="537763" y="143812"/>
                  </a:lnTo>
                  <a:close/>
                  <a:moveTo>
                    <a:pt x="529898" y="64786"/>
                  </a:moveTo>
                  <a:cubicBezTo>
                    <a:pt x="524339" y="64786"/>
                    <a:pt x="519730" y="60316"/>
                    <a:pt x="519730" y="54623"/>
                  </a:cubicBezTo>
                  <a:cubicBezTo>
                    <a:pt x="519730" y="48931"/>
                    <a:pt x="524339" y="44322"/>
                    <a:pt x="529898" y="44322"/>
                  </a:cubicBezTo>
                  <a:cubicBezTo>
                    <a:pt x="535590" y="44322"/>
                    <a:pt x="540199" y="48931"/>
                    <a:pt x="540199" y="54623"/>
                  </a:cubicBezTo>
                  <a:cubicBezTo>
                    <a:pt x="540199" y="60316"/>
                    <a:pt x="535595" y="64786"/>
                    <a:pt x="529898" y="64786"/>
                  </a:cubicBezTo>
                  <a:close/>
                  <a:moveTo>
                    <a:pt x="596569" y="143812"/>
                  </a:moveTo>
                  <a:cubicBezTo>
                    <a:pt x="596435" y="143402"/>
                    <a:pt x="595891" y="140689"/>
                    <a:pt x="595891" y="135407"/>
                  </a:cubicBezTo>
                  <a:cubicBezTo>
                    <a:pt x="592772" y="140427"/>
                    <a:pt x="586268" y="145847"/>
                    <a:pt x="575561" y="145847"/>
                  </a:cubicBezTo>
                  <a:cubicBezTo>
                    <a:pt x="561736" y="145847"/>
                    <a:pt x="553197" y="136348"/>
                    <a:pt x="553197" y="125918"/>
                  </a:cubicBezTo>
                  <a:cubicBezTo>
                    <a:pt x="553197" y="114122"/>
                    <a:pt x="561870" y="107613"/>
                    <a:pt x="573121" y="105989"/>
                  </a:cubicBezTo>
                  <a:lnTo>
                    <a:pt x="590065" y="103420"/>
                  </a:lnTo>
                  <a:cubicBezTo>
                    <a:pt x="593861" y="102876"/>
                    <a:pt x="594945" y="100980"/>
                    <a:pt x="594945" y="98683"/>
                  </a:cubicBezTo>
                  <a:cubicBezTo>
                    <a:pt x="594945" y="93119"/>
                    <a:pt x="591149" y="88645"/>
                    <a:pt x="582476" y="88645"/>
                  </a:cubicBezTo>
                  <a:cubicBezTo>
                    <a:pt x="574210" y="88645"/>
                    <a:pt x="569601" y="93936"/>
                    <a:pt x="568923" y="100574"/>
                  </a:cubicBezTo>
                  <a:lnTo>
                    <a:pt x="554554" y="97322"/>
                  </a:lnTo>
                  <a:cubicBezTo>
                    <a:pt x="555771" y="85937"/>
                    <a:pt x="566077" y="75775"/>
                    <a:pt x="582338" y="75775"/>
                  </a:cubicBezTo>
                  <a:cubicBezTo>
                    <a:pt x="602667" y="75775"/>
                    <a:pt x="610394" y="87298"/>
                    <a:pt x="610394" y="100445"/>
                  </a:cubicBezTo>
                  <a:lnTo>
                    <a:pt x="610394" y="133249"/>
                  </a:lnTo>
                  <a:cubicBezTo>
                    <a:pt x="610394" y="139214"/>
                    <a:pt x="611073" y="143149"/>
                    <a:pt x="611206" y="143822"/>
                  </a:cubicBezTo>
                  <a:lnTo>
                    <a:pt x="596569" y="143822"/>
                  </a:lnTo>
                  <a:close/>
                </a:path>
              </a:pathLst>
            </a:custGeom>
            <a:solidFill>
              <a:srgbClr val="000000"/>
            </a:solidFill>
            <a:ln w="490" cap="flat">
              <a:noFill/>
              <a:prstDash val="solid"/>
              <a:miter/>
            </a:ln>
          </p:spPr>
          <p:txBody>
            <a:bodyPr rtlCol="0" anchor="ctr"/>
            <a:lstStyle/>
            <a:p>
              <a:endParaRPr lang="en-US"/>
            </a:p>
          </p:txBody>
        </p:sp>
        <p:sp>
          <p:nvSpPr>
            <p:cNvPr id="250" name="Freeform: Shape 119">
              <a:extLst>
                <a:ext uri="{FF2B5EF4-FFF2-40B4-BE49-F238E27FC236}">
                  <a16:creationId xmlns:a16="http://schemas.microsoft.com/office/drawing/2014/main" id="{ED7F1291-10ED-41F8-B1B2-A6BD21A448B2}"/>
                </a:ext>
              </a:extLst>
            </p:cNvPr>
            <p:cNvSpPr/>
            <p:nvPr/>
          </p:nvSpPr>
          <p:spPr>
            <a:xfrm>
              <a:off x="9220250" y="4157684"/>
              <a:ext cx="26022" cy="20057"/>
            </a:xfrm>
            <a:custGeom>
              <a:avLst/>
              <a:gdLst>
                <a:gd name="connsiteX0" fmla="*/ 0 w 26022"/>
                <a:gd name="connsiteY0" fmla="*/ 1151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1" y="20057"/>
                    <a:pt x="9623" y="20057"/>
                  </a:cubicBezTo>
                  <a:cubicBezTo>
                    <a:pt x="18434" y="20057"/>
                    <a:pt x="26022" y="15850"/>
                    <a:pt x="26022" y="2980"/>
                  </a:cubicBezTo>
                  <a:lnTo>
                    <a:pt x="26022" y="0"/>
                  </a:lnTo>
                  <a:lnTo>
                    <a:pt x="8806" y="2579"/>
                  </a:lnTo>
                  <a:cubicBezTo>
                    <a:pt x="3930" y="3381"/>
                    <a:pt x="0" y="6093"/>
                    <a:pt x="0" y="11514"/>
                  </a:cubicBezTo>
                  <a:close/>
                </a:path>
              </a:pathLst>
            </a:custGeom>
            <a:solidFill>
              <a:srgbClr val="000000"/>
            </a:solidFill>
            <a:ln w="490" cap="flat">
              <a:noFill/>
              <a:prstDash val="solid"/>
              <a:miter/>
            </a:ln>
          </p:spPr>
          <p:txBody>
            <a:bodyPr rtlCol="0" anchor="ctr"/>
            <a:lstStyle/>
            <a:p>
              <a:endParaRPr lang="en-US"/>
            </a:p>
          </p:txBody>
        </p:sp>
        <p:sp>
          <p:nvSpPr>
            <p:cNvPr id="251" name="Freeform: Shape 121">
              <a:extLst>
                <a:ext uri="{FF2B5EF4-FFF2-40B4-BE49-F238E27FC236}">
                  <a16:creationId xmlns:a16="http://schemas.microsoft.com/office/drawing/2014/main" id="{9CAF737D-F6C6-4938-A71B-A4D1A45E1889}"/>
                </a:ext>
              </a:extLst>
            </p:cNvPr>
            <p:cNvSpPr/>
            <p:nvPr/>
          </p:nvSpPr>
          <p:spPr>
            <a:xfrm>
              <a:off x="8763167" y="4106308"/>
              <a:ext cx="34021" cy="29417"/>
            </a:xfrm>
            <a:custGeom>
              <a:avLst/>
              <a:gdLst>
                <a:gd name="connsiteX0" fmla="*/ 17483 w 34021"/>
                <a:gd name="connsiteY0" fmla="*/ 0 h 29417"/>
                <a:gd name="connsiteX1" fmla="*/ 0 w 34021"/>
                <a:gd name="connsiteY1" fmla="*/ 0 h 29417"/>
                <a:gd name="connsiteX2" fmla="*/ 0 w 34021"/>
                <a:gd name="connsiteY2" fmla="*/ 29418 h 29417"/>
                <a:gd name="connsiteX3" fmla="*/ 17483 w 34021"/>
                <a:gd name="connsiteY3" fmla="*/ 29418 h 29417"/>
                <a:gd name="connsiteX4" fmla="*/ 34021 w 34021"/>
                <a:gd name="connsiteY4" fmla="*/ 14781 h 29417"/>
                <a:gd name="connsiteX5" fmla="*/ 17483 w 34021"/>
                <a:gd name="connsiteY5" fmla="*/ 0 h 2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21" h="29417">
                  <a:moveTo>
                    <a:pt x="17483" y="0"/>
                  </a:moveTo>
                  <a:lnTo>
                    <a:pt x="0" y="0"/>
                  </a:lnTo>
                  <a:lnTo>
                    <a:pt x="0" y="29418"/>
                  </a:lnTo>
                  <a:lnTo>
                    <a:pt x="17483" y="29418"/>
                  </a:lnTo>
                  <a:cubicBezTo>
                    <a:pt x="27512" y="29418"/>
                    <a:pt x="34021" y="23592"/>
                    <a:pt x="34021" y="14781"/>
                  </a:cubicBezTo>
                  <a:cubicBezTo>
                    <a:pt x="34021" y="5831"/>
                    <a:pt x="27512" y="0"/>
                    <a:pt x="17483" y="0"/>
                  </a:cubicBezTo>
                  <a:close/>
                </a:path>
              </a:pathLst>
            </a:custGeom>
            <a:solidFill>
              <a:srgbClr val="000000"/>
            </a:solidFill>
            <a:ln w="490" cap="flat">
              <a:noFill/>
              <a:prstDash val="solid"/>
              <a:miter/>
            </a:ln>
          </p:spPr>
          <p:txBody>
            <a:bodyPr rtlCol="0" anchor="ctr"/>
            <a:lstStyle/>
            <a:p>
              <a:endParaRPr lang="en-US"/>
            </a:p>
          </p:txBody>
        </p:sp>
      </p:grpSp>
      <p:grpSp>
        <p:nvGrpSpPr>
          <p:cNvPr id="252" name="Graphic 140">
            <a:extLst>
              <a:ext uri="{FF2B5EF4-FFF2-40B4-BE49-F238E27FC236}">
                <a16:creationId xmlns:a16="http://schemas.microsoft.com/office/drawing/2014/main" id="{6AA41C00-C4B7-44CB-B032-C6672A2C0C46}"/>
              </a:ext>
            </a:extLst>
          </p:cNvPr>
          <p:cNvGrpSpPr/>
          <p:nvPr userDrawn="1">
            <p:custDataLst>
              <p:tags r:id="rId15"/>
            </p:custDataLst>
          </p:nvPr>
        </p:nvGrpSpPr>
        <p:grpSpPr>
          <a:xfrm>
            <a:off x="8424377" y="4422989"/>
            <a:ext cx="564819" cy="198000"/>
            <a:chOff x="8073497" y="4242235"/>
            <a:chExt cx="564819" cy="198000"/>
          </a:xfrm>
          <a:solidFill>
            <a:srgbClr val="000000"/>
          </a:solidFill>
        </p:grpSpPr>
        <p:sp>
          <p:nvSpPr>
            <p:cNvPr id="253" name="Freeform: Shape 125">
              <a:extLst>
                <a:ext uri="{FF2B5EF4-FFF2-40B4-BE49-F238E27FC236}">
                  <a16:creationId xmlns:a16="http://schemas.microsoft.com/office/drawing/2014/main" id="{0281611D-EDD9-48D1-96E8-7097E8602CD3}"/>
                </a:ext>
              </a:extLst>
            </p:cNvPr>
            <p:cNvSpPr/>
            <p:nvPr/>
          </p:nvSpPr>
          <p:spPr>
            <a:xfrm>
              <a:off x="8390024" y="4332235"/>
              <a:ext cx="35511" cy="41466"/>
            </a:xfrm>
            <a:custGeom>
              <a:avLst/>
              <a:gdLst>
                <a:gd name="connsiteX0" fmla="*/ 17761 w 35511"/>
                <a:gd name="connsiteY0" fmla="*/ 0 h 41466"/>
                <a:gd name="connsiteX1" fmla="*/ 0 w 35511"/>
                <a:gd name="connsiteY1" fmla="*/ 20602 h 41466"/>
                <a:gd name="connsiteX2" fmla="*/ 17761 w 35511"/>
                <a:gd name="connsiteY2" fmla="*/ 41466 h 41466"/>
                <a:gd name="connsiteX3" fmla="*/ 35511 w 35511"/>
                <a:gd name="connsiteY3" fmla="*/ 20602 h 41466"/>
                <a:gd name="connsiteX4" fmla="*/ 17761 w 35511"/>
                <a:gd name="connsiteY4" fmla="*/ 0 h 4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1" h="41466">
                  <a:moveTo>
                    <a:pt x="17761" y="0"/>
                  </a:moveTo>
                  <a:cubicBezTo>
                    <a:pt x="7732" y="0"/>
                    <a:pt x="0" y="7450"/>
                    <a:pt x="0" y="20602"/>
                  </a:cubicBezTo>
                  <a:cubicBezTo>
                    <a:pt x="0" y="33615"/>
                    <a:pt x="7732" y="41466"/>
                    <a:pt x="17761" y="41466"/>
                  </a:cubicBezTo>
                  <a:cubicBezTo>
                    <a:pt x="28062" y="41466"/>
                    <a:pt x="35511" y="33615"/>
                    <a:pt x="35511" y="20602"/>
                  </a:cubicBezTo>
                  <a:cubicBezTo>
                    <a:pt x="35511" y="7450"/>
                    <a:pt x="28195" y="0"/>
                    <a:pt x="17761" y="0"/>
                  </a:cubicBezTo>
                  <a:close/>
                </a:path>
              </a:pathLst>
            </a:custGeom>
            <a:solidFill>
              <a:srgbClr val="000000"/>
            </a:solidFill>
            <a:ln w="493" cap="flat">
              <a:noFill/>
              <a:prstDash val="solid"/>
              <a:miter/>
            </a:ln>
          </p:spPr>
          <p:txBody>
            <a:bodyPr rtlCol="0" anchor="ctr"/>
            <a:lstStyle/>
            <a:p>
              <a:endParaRPr lang="en-US"/>
            </a:p>
          </p:txBody>
        </p:sp>
        <p:sp>
          <p:nvSpPr>
            <p:cNvPr id="254" name="Freeform: Shape 127">
              <a:extLst>
                <a:ext uri="{FF2B5EF4-FFF2-40B4-BE49-F238E27FC236}">
                  <a16:creationId xmlns:a16="http://schemas.microsoft.com/office/drawing/2014/main" id="{83613922-64EF-4D72-AB36-C6E261F4FC85}"/>
                </a:ext>
              </a:extLst>
            </p:cNvPr>
            <p:cNvSpPr/>
            <p:nvPr/>
          </p:nvSpPr>
          <p:spPr>
            <a:xfrm>
              <a:off x="8260107" y="4331151"/>
              <a:ext cx="32387" cy="14637"/>
            </a:xfrm>
            <a:custGeom>
              <a:avLst/>
              <a:gdLst>
                <a:gd name="connsiteX0" fmla="*/ 16127 w 32387"/>
                <a:gd name="connsiteY0" fmla="*/ 0 h 14637"/>
                <a:gd name="connsiteX1" fmla="*/ 0 w 32387"/>
                <a:gd name="connsiteY1" fmla="*/ 14637 h 14637"/>
                <a:gd name="connsiteX2" fmla="*/ 32388 w 32387"/>
                <a:gd name="connsiteY2" fmla="*/ 14637 h 14637"/>
                <a:gd name="connsiteX3" fmla="*/ 16127 w 32387"/>
                <a:gd name="connsiteY3" fmla="*/ 0 h 14637"/>
              </a:gdLst>
              <a:ahLst/>
              <a:cxnLst>
                <a:cxn ang="0">
                  <a:pos x="connsiteX0" y="connsiteY0"/>
                </a:cxn>
                <a:cxn ang="0">
                  <a:pos x="connsiteX1" y="connsiteY1"/>
                </a:cxn>
                <a:cxn ang="0">
                  <a:pos x="connsiteX2" y="connsiteY2"/>
                </a:cxn>
                <a:cxn ang="0">
                  <a:pos x="connsiteX3" y="connsiteY3"/>
                </a:cxn>
              </a:cxnLst>
              <a:rect l="l" t="t" r="r" b="b"/>
              <a:pathLst>
                <a:path w="32387" h="14637">
                  <a:moveTo>
                    <a:pt x="16127" y="0"/>
                  </a:moveTo>
                  <a:cubicBezTo>
                    <a:pt x="6237" y="0"/>
                    <a:pt x="545" y="7588"/>
                    <a:pt x="0" y="14637"/>
                  </a:cubicBezTo>
                  <a:lnTo>
                    <a:pt x="32388" y="14637"/>
                  </a:lnTo>
                  <a:cubicBezTo>
                    <a:pt x="32121" y="6905"/>
                    <a:pt x="26973" y="0"/>
                    <a:pt x="16127" y="0"/>
                  </a:cubicBezTo>
                  <a:close/>
                </a:path>
              </a:pathLst>
            </a:custGeom>
            <a:solidFill>
              <a:srgbClr val="000000"/>
            </a:solidFill>
            <a:ln w="493" cap="flat">
              <a:noFill/>
              <a:prstDash val="solid"/>
              <a:miter/>
            </a:ln>
          </p:spPr>
          <p:txBody>
            <a:bodyPr rtlCol="0" anchor="ctr"/>
            <a:lstStyle/>
            <a:p>
              <a:endParaRPr lang="en-US"/>
            </a:p>
          </p:txBody>
        </p:sp>
        <p:sp>
          <p:nvSpPr>
            <p:cNvPr id="255" name="Freeform: Shape 129">
              <a:extLst>
                <a:ext uri="{FF2B5EF4-FFF2-40B4-BE49-F238E27FC236}">
                  <a16:creationId xmlns:a16="http://schemas.microsoft.com/office/drawing/2014/main" id="{8DF98A40-4CBE-45B4-BB0B-6BFD38DB7208}"/>
                </a:ext>
              </a:extLst>
            </p:cNvPr>
            <p:cNvSpPr/>
            <p:nvPr/>
          </p:nvSpPr>
          <p:spPr>
            <a:xfrm>
              <a:off x="8503548" y="4355684"/>
              <a:ext cx="26022" cy="20057"/>
            </a:xfrm>
            <a:custGeom>
              <a:avLst/>
              <a:gdLst>
                <a:gd name="connsiteX0" fmla="*/ 0 w 26022"/>
                <a:gd name="connsiteY0" fmla="*/ 1151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1" y="20057"/>
                    <a:pt x="9623" y="20057"/>
                  </a:cubicBezTo>
                  <a:cubicBezTo>
                    <a:pt x="18434" y="20057"/>
                    <a:pt x="26022" y="15850"/>
                    <a:pt x="26022" y="2980"/>
                  </a:cubicBezTo>
                  <a:lnTo>
                    <a:pt x="26022" y="0"/>
                  </a:lnTo>
                  <a:lnTo>
                    <a:pt x="8806" y="2579"/>
                  </a:lnTo>
                  <a:cubicBezTo>
                    <a:pt x="3930" y="3381"/>
                    <a:pt x="0" y="6089"/>
                    <a:pt x="0" y="11514"/>
                  </a:cubicBezTo>
                  <a:close/>
                </a:path>
              </a:pathLst>
            </a:custGeom>
            <a:solidFill>
              <a:srgbClr val="000000"/>
            </a:solidFill>
            <a:ln w="493" cap="flat">
              <a:noFill/>
              <a:prstDash val="solid"/>
              <a:miter/>
            </a:ln>
          </p:spPr>
          <p:txBody>
            <a:bodyPr rtlCol="0" anchor="ctr"/>
            <a:lstStyle/>
            <a:p>
              <a:endParaRPr lang="en-US"/>
            </a:p>
          </p:txBody>
        </p:sp>
        <p:sp>
          <p:nvSpPr>
            <p:cNvPr id="256" name="Freeform: Shape 131">
              <a:extLst>
                <a:ext uri="{FF2B5EF4-FFF2-40B4-BE49-F238E27FC236}">
                  <a16:creationId xmlns:a16="http://schemas.microsoft.com/office/drawing/2014/main" id="{83252B17-FAC5-4B7A-9B87-B4D50BD709DC}"/>
                </a:ext>
              </a:extLst>
            </p:cNvPr>
            <p:cNvSpPr/>
            <p:nvPr/>
          </p:nvSpPr>
          <p:spPr>
            <a:xfrm>
              <a:off x="8073497" y="4242235"/>
              <a:ext cx="564819" cy="198000"/>
            </a:xfrm>
            <a:custGeom>
              <a:avLst/>
              <a:gdLst>
                <a:gd name="connsiteX0" fmla="*/ 465820 w 564819"/>
                <a:gd name="connsiteY0" fmla="*/ 0 h 198000"/>
                <a:gd name="connsiteX1" fmla="*/ 99000 w 564819"/>
                <a:gd name="connsiteY1" fmla="*/ 0 h 198000"/>
                <a:gd name="connsiteX2" fmla="*/ 0 w 564819"/>
                <a:gd name="connsiteY2" fmla="*/ 99000 h 198000"/>
                <a:gd name="connsiteX3" fmla="*/ 99000 w 564819"/>
                <a:gd name="connsiteY3" fmla="*/ 198000 h 198000"/>
                <a:gd name="connsiteX4" fmla="*/ 465820 w 564819"/>
                <a:gd name="connsiteY4" fmla="*/ 198000 h 198000"/>
                <a:gd name="connsiteX5" fmla="*/ 564820 w 564819"/>
                <a:gd name="connsiteY5" fmla="*/ 99000 h 198000"/>
                <a:gd name="connsiteX6" fmla="*/ 465820 w 564819"/>
                <a:gd name="connsiteY6" fmla="*/ 0 h 198000"/>
                <a:gd name="connsiteX7" fmla="*/ 125121 w 564819"/>
                <a:gd name="connsiteY7" fmla="*/ 145842 h 198000"/>
                <a:gd name="connsiteX8" fmla="*/ 87981 w 564819"/>
                <a:gd name="connsiteY8" fmla="*/ 116285 h 198000"/>
                <a:gd name="connsiteX9" fmla="*/ 103163 w 564819"/>
                <a:gd name="connsiteY9" fmla="*/ 111949 h 198000"/>
                <a:gd name="connsiteX10" fmla="*/ 125121 w 564819"/>
                <a:gd name="connsiteY10" fmla="*/ 131205 h 198000"/>
                <a:gd name="connsiteX11" fmla="*/ 142605 w 564819"/>
                <a:gd name="connsiteY11" fmla="*/ 117914 h 198000"/>
                <a:gd name="connsiteX12" fmla="*/ 129730 w 564819"/>
                <a:gd name="connsiteY12" fmla="*/ 104900 h 198000"/>
                <a:gd name="connsiteX13" fmla="*/ 116177 w 564819"/>
                <a:gd name="connsiteY13" fmla="*/ 102059 h 198000"/>
                <a:gd name="connsiteX14" fmla="*/ 91778 w 564819"/>
                <a:gd name="connsiteY14" fmla="*/ 75082 h 198000"/>
                <a:gd name="connsiteX15" fmla="*/ 124443 w 564819"/>
                <a:gd name="connsiteY15" fmla="*/ 45674 h 198000"/>
                <a:gd name="connsiteX16" fmla="*/ 158058 w 564819"/>
                <a:gd name="connsiteY16" fmla="*/ 70201 h 198000"/>
                <a:gd name="connsiteX17" fmla="*/ 143421 w 564819"/>
                <a:gd name="connsiteY17" fmla="*/ 74819 h 198000"/>
                <a:gd name="connsiteX18" fmla="*/ 124582 w 564819"/>
                <a:gd name="connsiteY18" fmla="*/ 60039 h 198000"/>
                <a:gd name="connsiteX19" fmla="*/ 108044 w 564819"/>
                <a:gd name="connsiteY19" fmla="*/ 73864 h 198000"/>
                <a:gd name="connsiteX20" fmla="*/ 119295 w 564819"/>
                <a:gd name="connsiteY20" fmla="*/ 86204 h 198000"/>
                <a:gd name="connsiteX21" fmla="*/ 133120 w 564819"/>
                <a:gd name="connsiteY21" fmla="*/ 89046 h 198000"/>
                <a:gd name="connsiteX22" fmla="*/ 159143 w 564819"/>
                <a:gd name="connsiteY22" fmla="*/ 116696 h 198000"/>
                <a:gd name="connsiteX23" fmla="*/ 125121 w 564819"/>
                <a:gd name="connsiteY23" fmla="*/ 145842 h 198000"/>
                <a:gd name="connsiteX24" fmla="*/ 234457 w 564819"/>
                <a:gd name="connsiteY24" fmla="*/ 115073 h 198000"/>
                <a:gd name="connsiteX25" fmla="*/ 186204 w 564819"/>
                <a:gd name="connsiteY25" fmla="*/ 115073 h 198000"/>
                <a:gd name="connsiteX26" fmla="*/ 204237 w 564819"/>
                <a:gd name="connsiteY26" fmla="*/ 132294 h 198000"/>
                <a:gd name="connsiteX27" fmla="*/ 220775 w 564819"/>
                <a:gd name="connsiteY27" fmla="*/ 120770 h 198000"/>
                <a:gd name="connsiteX28" fmla="*/ 234056 w 564819"/>
                <a:gd name="connsiteY28" fmla="*/ 124968 h 198000"/>
                <a:gd name="connsiteX29" fmla="*/ 204237 w 564819"/>
                <a:gd name="connsiteY29" fmla="*/ 145852 h 198000"/>
                <a:gd name="connsiteX30" fmla="*/ 170483 w 564819"/>
                <a:gd name="connsiteY30" fmla="*/ 110469 h 198000"/>
                <a:gd name="connsiteX31" fmla="*/ 202613 w 564819"/>
                <a:gd name="connsiteY31" fmla="*/ 75770 h 198000"/>
                <a:gd name="connsiteX32" fmla="*/ 234873 w 564819"/>
                <a:gd name="connsiteY32" fmla="*/ 110068 h 198000"/>
                <a:gd name="connsiteX33" fmla="*/ 234457 w 564819"/>
                <a:gd name="connsiteY33" fmla="*/ 115073 h 198000"/>
                <a:gd name="connsiteX34" fmla="*/ 288768 w 564819"/>
                <a:gd name="connsiteY34" fmla="*/ 93387 h 198000"/>
                <a:gd name="connsiteX35" fmla="*/ 283615 w 564819"/>
                <a:gd name="connsiteY35" fmla="*/ 92976 h 198000"/>
                <a:gd name="connsiteX36" fmla="*/ 265860 w 564819"/>
                <a:gd name="connsiteY36" fmla="*/ 112365 h 198000"/>
                <a:gd name="connsiteX37" fmla="*/ 265860 w 564819"/>
                <a:gd name="connsiteY37" fmla="*/ 143812 h 198000"/>
                <a:gd name="connsiteX38" fmla="*/ 250138 w 564819"/>
                <a:gd name="connsiteY38" fmla="*/ 143812 h 198000"/>
                <a:gd name="connsiteX39" fmla="*/ 250138 w 564819"/>
                <a:gd name="connsiteY39" fmla="*/ 77794 h 198000"/>
                <a:gd name="connsiteX40" fmla="*/ 265454 w 564819"/>
                <a:gd name="connsiteY40" fmla="*/ 77794 h 198000"/>
                <a:gd name="connsiteX41" fmla="*/ 265454 w 564819"/>
                <a:gd name="connsiteY41" fmla="*/ 88377 h 198000"/>
                <a:gd name="connsiteX42" fmla="*/ 284566 w 564819"/>
                <a:gd name="connsiteY42" fmla="*/ 76992 h 198000"/>
                <a:gd name="connsiteX43" fmla="*/ 288768 w 564819"/>
                <a:gd name="connsiteY43" fmla="*/ 77393 h 198000"/>
                <a:gd name="connsiteX44" fmla="*/ 288768 w 564819"/>
                <a:gd name="connsiteY44" fmla="*/ 93387 h 198000"/>
                <a:gd name="connsiteX45" fmla="*/ 336862 w 564819"/>
                <a:gd name="connsiteY45" fmla="*/ 145431 h 198000"/>
                <a:gd name="connsiteX46" fmla="*/ 316533 w 564819"/>
                <a:gd name="connsiteY46" fmla="*/ 134996 h 198000"/>
                <a:gd name="connsiteX47" fmla="*/ 316533 w 564819"/>
                <a:gd name="connsiteY47" fmla="*/ 143802 h 198000"/>
                <a:gd name="connsiteX48" fmla="*/ 301222 w 564819"/>
                <a:gd name="connsiteY48" fmla="*/ 143802 h 198000"/>
                <a:gd name="connsiteX49" fmla="*/ 301222 w 564819"/>
                <a:gd name="connsiteY49" fmla="*/ 45674 h 198000"/>
                <a:gd name="connsiteX50" fmla="*/ 316676 w 564819"/>
                <a:gd name="connsiteY50" fmla="*/ 45674 h 198000"/>
                <a:gd name="connsiteX51" fmla="*/ 316676 w 564819"/>
                <a:gd name="connsiteY51" fmla="*/ 85927 h 198000"/>
                <a:gd name="connsiteX52" fmla="*/ 337412 w 564819"/>
                <a:gd name="connsiteY52" fmla="*/ 76037 h 198000"/>
                <a:gd name="connsiteX53" fmla="*/ 367914 w 564819"/>
                <a:gd name="connsiteY53" fmla="*/ 110464 h 198000"/>
                <a:gd name="connsiteX54" fmla="*/ 336862 w 564819"/>
                <a:gd name="connsiteY54" fmla="*/ 145431 h 198000"/>
                <a:gd name="connsiteX55" fmla="*/ 398896 w 564819"/>
                <a:gd name="connsiteY55" fmla="*/ 143807 h 198000"/>
                <a:gd name="connsiteX56" fmla="*/ 383308 w 564819"/>
                <a:gd name="connsiteY56" fmla="*/ 143807 h 198000"/>
                <a:gd name="connsiteX57" fmla="*/ 383308 w 564819"/>
                <a:gd name="connsiteY57" fmla="*/ 77794 h 198000"/>
                <a:gd name="connsiteX58" fmla="*/ 398896 w 564819"/>
                <a:gd name="connsiteY58" fmla="*/ 77794 h 198000"/>
                <a:gd name="connsiteX59" fmla="*/ 398896 w 564819"/>
                <a:gd name="connsiteY59" fmla="*/ 143807 h 198000"/>
                <a:gd name="connsiteX60" fmla="*/ 391035 w 564819"/>
                <a:gd name="connsiteY60" fmla="*/ 64781 h 198000"/>
                <a:gd name="connsiteX61" fmla="*/ 380868 w 564819"/>
                <a:gd name="connsiteY61" fmla="*/ 54618 h 198000"/>
                <a:gd name="connsiteX62" fmla="*/ 391035 w 564819"/>
                <a:gd name="connsiteY62" fmla="*/ 44317 h 198000"/>
                <a:gd name="connsiteX63" fmla="*/ 401336 w 564819"/>
                <a:gd name="connsiteY63" fmla="*/ 54618 h 198000"/>
                <a:gd name="connsiteX64" fmla="*/ 391035 w 564819"/>
                <a:gd name="connsiteY64" fmla="*/ 64781 h 198000"/>
                <a:gd name="connsiteX65" fmla="*/ 457702 w 564819"/>
                <a:gd name="connsiteY65" fmla="*/ 143807 h 198000"/>
                <a:gd name="connsiteX66" fmla="*/ 457024 w 564819"/>
                <a:gd name="connsiteY66" fmla="*/ 135402 h 198000"/>
                <a:gd name="connsiteX67" fmla="*/ 436694 w 564819"/>
                <a:gd name="connsiteY67" fmla="*/ 145842 h 198000"/>
                <a:gd name="connsiteX68" fmla="*/ 414330 w 564819"/>
                <a:gd name="connsiteY68" fmla="*/ 125913 h 198000"/>
                <a:gd name="connsiteX69" fmla="*/ 434254 w 564819"/>
                <a:gd name="connsiteY69" fmla="*/ 105984 h 198000"/>
                <a:gd name="connsiteX70" fmla="*/ 451197 w 564819"/>
                <a:gd name="connsiteY70" fmla="*/ 103415 h 198000"/>
                <a:gd name="connsiteX71" fmla="*/ 456078 w 564819"/>
                <a:gd name="connsiteY71" fmla="*/ 98678 h 198000"/>
                <a:gd name="connsiteX72" fmla="*/ 443609 w 564819"/>
                <a:gd name="connsiteY72" fmla="*/ 88640 h 198000"/>
                <a:gd name="connsiteX73" fmla="*/ 430056 w 564819"/>
                <a:gd name="connsiteY73" fmla="*/ 100569 h 198000"/>
                <a:gd name="connsiteX74" fmla="*/ 415686 w 564819"/>
                <a:gd name="connsiteY74" fmla="*/ 97317 h 198000"/>
                <a:gd name="connsiteX75" fmla="*/ 443471 w 564819"/>
                <a:gd name="connsiteY75" fmla="*/ 75770 h 198000"/>
                <a:gd name="connsiteX76" fmla="*/ 471527 w 564819"/>
                <a:gd name="connsiteY76" fmla="*/ 100440 h 198000"/>
                <a:gd name="connsiteX77" fmla="*/ 471527 w 564819"/>
                <a:gd name="connsiteY77" fmla="*/ 133244 h 198000"/>
                <a:gd name="connsiteX78" fmla="*/ 472339 w 564819"/>
                <a:gd name="connsiteY78" fmla="*/ 143817 h 198000"/>
                <a:gd name="connsiteX79" fmla="*/ 457702 w 564819"/>
                <a:gd name="connsiteY79" fmla="*/ 143817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819" h="198000">
                  <a:moveTo>
                    <a:pt x="465820" y="0"/>
                  </a:moveTo>
                  <a:lnTo>
                    <a:pt x="99000" y="0"/>
                  </a:lnTo>
                  <a:cubicBezTo>
                    <a:pt x="44322" y="0"/>
                    <a:pt x="0" y="44327"/>
                    <a:pt x="0" y="99000"/>
                  </a:cubicBezTo>
                  <a:cubicBezTo>
                    <a:pt x="0" y="153678"/>
                    <a:pt x="44322" y="198000"/>
                    <a:pt x="99000" y="198000"/>
                  </a:cubicBezTo>
                  <a:lnTo>
                    <a:pt x="465820" y="198000"/>
                  </a:lnTo>
                  <a:cubicBezTo>
                    <a:pt x="520497" y="198000"/>
                    <a:pt x="564820" y="153678"/>
                    <a:pt x="564820" y="99000"/>
                  </a:cubicBezTo>
                  <a:cubicBezTo>
                    <a:pt x="564820" y="44327"/>
                    <a:pt x="520497" y="0"/>
                    <a:pt x="465820" y="0"/>
                  </a:cubicBezTo>
                  <a:close/>
                  <a:moveTo>
                    <a:pt x="125121" y="145842"/>
                  </a:moveTo>
                  <a:cubicBezTo>
                    <a:pt x="100723" y="145842"/>
                    <a:pt x="89471" y="130121"/>
                    <a:pt x="87981" y="116285"/>
                  </a:cubicBezTo>
                  <a:lnTo>
                    <a:pt x="103163" y="111949"/>
                  </a:lnTo>
                  <a:cubicBezTo>
                    <a:pt x="104113" y="121988"/>
                    <a:pt x="111296" y="131205"/>
                    <a:pt x="125121" y="131205"/>
                  </a:cubicBezTo>
                  <a:cubicBezTo>
                    <a:pt x="136645" y="131205"/>
                    <a:pt x="142605" y="125374"/>
                    <a:pt x="142605" y="117914"/>
                  </a:cubicBezTo>
                  <a:cubicBezTo>
                    <a:pt x="142605" y="111687"/>
                    <a:pt x="137996" y="106668"/>
                    <a:pt x="129730" y="104900"/>
                  </a:cubicBezTo>
                  <a:lnTo>
                    <a:pt x="116177" y="102059"/>
                  </a:lnTo>
                  <a:cubicBezTo>
                    <a:pt x="101539" y="99079"/>
                    <a:pt x="91778" y="89456"/>
                    <a:pt x="91778" y="75082"/>
                  </a:cubicBezTo>
                  <a:cubicBezTo>
                    <a:pt x="91778" y="58955"/>
                    <a:pt x="106554" y="45674"/>
                    <a:pt x="124443" y="45674"/>
                  </a:cubicBezTo>
                  <a:cubicBezTo>
                    <a:pt x="147079" y="45674"/>
                    <a:pt x="155890" y="59499"/>
                    <a:pt x="158058" y="70201"/>
                  </a:cubicBezTo>
                  <a:lnTo>
                    <a:pt x="143421" y="74819"/>
                  </a:lnTo>
                  <a:cubicBezTo>
                    <a:pt x="142471" y="68855"/>
                    <a:pt x="137457" y="60039"/>
                    <a:pt x="124582" y="60039"/>
                  </a:cubicBezTo>
                  <a:cubicBezTo>
                    <a:pt x="114820" y="60039"/>
                    <a:pt x="108044" y="66543"/>
                    <a:pt x="108044" y="73864"/>
                  </a:cubicBezTo>
                  <a:cubicBezTo>
                    <a:pt x="108044" y="79957"/>
                    <a:pt x="111840" y="84576"/>
                    <a:pt x="119295" y="86204"/>
                  </a:cubicBezTo>
                  <a:lnTo>
                    <a:pt x="133120" y="89046"/>
                  </a:lnTo>
                  <a:cubicBezTo>
                    <a:pt x="150064" y="92431"/>
                    <a:pt x="159143" y="103143"/>
                    <a:pt x="159143" y="116696"/>
                  </a:cubicBezTo>
                  <a:cubicBezTo>
                    <a:pt x="159143" y="131606"/>
                    <a:pt x="147074" y="145842"/>
                    <a:pt x="125121" y="145842"/>
                  </a:cubicBezTo>
                  <a:close/>
                  <a:moveTo>
                    <a:pt x="234457" y="115073"/>
                  </a:moveTo>
                  <a:lnTo>
                    <a:pt x="186204" y="115073"/>
                  </a:lnTo>
                  <a:cubicBezTo>
                    <a:pt x="186615" y="125101"/>
                    <a:pt x="194476" y="132294"/>
                    <a:pt x="204237" y="132294"/>
                  </a:cubicBezTo>
                  <a:cubicBezTo>
                    <a:pt x="213726" y="132294"/>
                    <a:pt x="218607" y="127274"/>
                    <a:pt x="220775" y="120770"/>
                  </a:cubicBezTo>
                  <a:lnTo>
                    <a:pt x="234056" y="124968"/>
                  </a:lnTo>
                  <a:cubicBezTo>
                    <a:pt x="230531" y="136491"/>
                    <a:pt x="220092" y="145852"/>
                    <a:pt x="204237" y="145852"/>
                  </a:cubicBezTo>
                  <a:cubicBezTo>
                    <a:pt x="186348" y="145852"/>
                    <a:pt x="170483" y="132838"/>
                    <a:pt x="170483" y="110469"/>
                  </a:cubicBezTo>
                  <a:cubicBezTo>
                    <a:pt x="170483" y="89595"/>
                    <a:pt x="185937" y="75770"/>
                    <a:pt x="202613" y="75770"/>
                  </a:cubicBezTo>
                  <a:cubicBezTo>
                    <a:pt x="222943" y="75770"/>
                    <a:pt x="234873" y="89184"/>
                    <a:pt x="234873" y="110068"/>
                  </a:cubicBezTo>
                  <a:cubicBezTo>
                    <a:pt x="234868" y="112632"/>
                    <a:pt x="234595" y="114800"/>
                    <a:pt x="234457" y="115073"/>
                  </a:cubicBezTo>
                  <a:close/>
                  <a:moveTo>
                    <a:pt x="288768" y="93387"/>
                  </a:moveTo>
                  <a:cubicBezTo>
                    <a:pt x="287006" y="93114"/>
                    <a:pt x="285244" y="92976"/>
                    <a:pt x="283615" y="92976"/>
                  </a:cubicBezTo>
                  <a:cubicBezTo>
                    <a:pt x="271418" y="92976"/>
                    <a:pt x="265860" y="100025"/>
                    <a:pt x="265860" y="112365"/>
                  </a:cubicBezTo>
                  <a:lnTo>
                    <a:pt x="265860" y="143812"/>
                  </a:lnTo>
                  <a:lnTo>
                    <a:pt x="250138" y="143812"/>
                  </a:lnTo>
                  <a:lnTo>
                    <a:pt x="250138" y="77794"/>
                  </a:lnTo>
                  <a:lnTo>
                    <a:pt x="265454" y="77794"/>
                  </a:lnTo>
                  <a:lnTo>
                    <a:pt x="265454" y="88377"/>
                  </a:lnTo>
                  <a:cubicBezTo>
                    <a:pt x="268572" y="81190"/>
                    <a:pt x="275888" y="76992"/>
                    <a:pt x="284566" y="76992"/>
                  </a:cubicBezTo>
                  <a:cubicBezTo>
                    <a:pt x="286461" y="76992"/>
                    <a:pt x="288090" y="77255"/>
                    <a:pt x="288768" y="77393"/>
                  </a:cubicBezTo>
                  <a:lnTo>
                    <a:pt x="288768" y="93387"/>
                  </a:lnTo>
                  <a:close/>
                  <a:moveTo>
                    <a:pt x="336862" y="145431"/>
                  </a:moveTo>
                  <a:cubicBezTo>
                    <a:pt x="327517" y="145431"/>
                    <a:pt x="320324" y="141367"/>
                    <a:pt x="316533" y="134996"/>
                  </a:cubicBezTo>
                  <a:lnTo>
                    <a:pt x="316533" y="143802"/>
                  </a:lnTo>
                  <a:lnTo>
                    <a:pt x="301222" y="143802"/>
                  </a:lnTo>
                  <a:lnTo>
                    <a:pt x="301222" y="45674"/>
                  </a:lnTo>
                  <a:lnTo>
                    <a:pt x="316676" y="45674"/>
                  </a:lnTo>
                  <a:lnTo>
                    <a:pt x="316676" y="85927"/>
                  </a:lnTo>
                  <a:cubicBezTo>
                    <a:pt x="319656" y="80784"/>
                    <a:pt x="327249" y="76037"/>
                    <a:pt x="337412" y="76037"/>
                  </a:cubicBezTo>
                  <a:cubicBezTo>
                    <a:pt x="357202" y="76037"/>
                    <a:pt x="367914" y="91085"/>
                    <a:pt x="367914" y="110464"/>
                  </a:cubicBezTo>
                  <a:cubicBezTo>
                    <a:pt x="367904" y="130383"/>
                    <a:pt x="356108" y="145431"/>
                    <a:pt x="336862" y="145431"/>
                  </a:cubicBezTo>
                  <a:close/>
                  <a:moveTo>
                    <a:pt x="398896" y="143807"/>
                  </a:moveTo>
                  <a:lnTo>
                    <a:pt x="383308" y="143807"/>
                  </a:lnTo>
                  <a:lnTo>
                    <a:pt x="383308" y="77794"/>
                  </a:lnTo>
                  <a:lnTo>
                    <a:pt x="398896" y="77794"/>
                  </a:lnTo>
                  <a:lnTo>
                    <a:pt x="398896" y="143807"/>
                  </a:lnTo>
                  <a:close/>
                  <a:moveTo>
                    <a:pt x="391035" y="64781"/>
                  </a:moveTo>
                  <a:cubicBezTo>
                    <a:pt x="385476" y="64781"/>
                    <a:pt x="380868" y="60311"/>
                    <a:pt x="380868" y="54618"/>
                  </a:cubicBezTo>
                  <a:cubicBezTo>
                    <a:pt x="380868" y="48926"/>
                    <a:pt x="385476" y="44317"/>
                    <a:pt x="391035" y="44317"/>
                  </a:cubicBezTo>
                  <a:cubicBezTo>
                    <a:pt x="396728" y="44317"/>
                    <a:pt x="401336" y="48926"/>
                    <a:pt x="401336" y="54618"/>
                  </a:cubicBezTo>
                  <a:cubicBezTo>
                    <a:pt x="401336" y="60311"/>
                    <a:pt x="396728" y="64781"/>
                    <a:pt x="391035" y="64781"/>
                  </a:cubicBezTo>
                  <a:close/>
                  <a:moveTo>
                    <a:pt x="457702" y="143807"/>
                  </a:moveTo>
                  <a:cubicBezTo>
                    <a:pt x="457568" y="143397"/>
                    <a:pt x="457024" y="140684"/>
                    <a:pt x="457024" y="135402"/>
                  </a:cubicBezTo>
                  <a:cubicBezTo>
                    <a:pt x="453905" y="140422"/>
                    <a:pt x="447401" y="145842"/>
                    <a:pt x="436694" y="145842"/>
                  </a:cubicBezTo>
                  <a:cubicBezTo>
                    <a:pt x="422869" y="145842"/>
                    <a:pt x="414330" y="136343"/>
                    <a:pt x="414330" y="125913"/>
                  </a:cubicBezTo>
                  <a:cubicBezTo>
                    <a:pt x="414330" y="114117"/>
                    <a:pt x="423002" y="107608"/>
                    <a:pt x="434254" y="105984"/>
                  </a:cubicBezTo>
                  <a:lnTo>
                    <a:pt x="451197" y="103415"/>
                  </a:lnTo>
                  <a:cubicBezTo>
                    <a:pt x="454994" y="102871"/>
                    <a:pt x="456078" y="100975"/>
                    <a:pt x="456078" y="98678"/>
                  </a:cubicBezTo>
                  <a:cubicBezTo>
                    <a:pt x="456078" y="93114"/>
                    <a:pt x="452282" y="88640"/>
                    <a:pt x="443609" y="88640"/>
                  </a:cubicBezTo>
                  <a:cubicBezTo>
                    <a:pt x="435343" y="88640"/>
                    <a:pt x="430734" y="93931"/>
                    <a:pt x="430056" y="100569"/>
                  </a:cubicBezTo>
                  <a:lnTo>
                    <a:pt x="415686" y="97317"/>
                  </a:lnTo>
                  <a:cubicBezTo>
                    <a:pt x="416904" y="85932"/>
                    <a:pt x="427210" y="75770"/>
                    <a:pt x="443471" y="75770"/>
                  </a:cubicBezTo>
                  <a:cubicBezTo>
                    <a:pt x="463800" y="75770"/>
                    <a:pt x="471527" y="87293"/>
                    <a:pt x="471527" y="100440"/>
                  </a:cubicBezTo>
                  <a:lnTo>
                    <a:pt x="471527" y="133244"/>
                  </a:lnTo>
                  <a:cubicBezTo>
                    <a:pt x="471527" y="139209"/>
                    <a:pt x="472205" y="143144"/>
                    <a:pt x="472339" y="143817"/>
                  </a:cubicBezTo>
                  <a:lnTo>
                    <a:pt x="457702" y="143817"/>
                  </a:lnTo>
                  <a:close/>
                </a:path>
              </a:pathLst>
            </a:custGeom>
            <a:solidFill>
              <a:srgbClr val="000000"/>
            </a:solidFill>
            <a:ln w="493" cap="flat">
              <a:noFill/>
              <a:prstDash val="solid"/>
              <a:miter/>
            </a:ln>
          </p:spPr>
          <p:txBody>
            <a:bodyPr rtlCol="0" anchor="ctr"/>
            <a:lstStyle/>
            <a:p>
              <a:endParaRPr lang="en-US"/>
            </a:p>
          </p:txBody>
        </p:sp>
      </p:grpSp>
      <p:grpSp>
        <p:nvGrpSpPr>
          <p:cNvPr id="257" name="Graphic 128">
            <a:extLst>
              <a:ext uri="{FF2B5EF4-FFF2-40B4-BE49-F238E27FC236}">
                <a16:creationId xmlns:a16="http://schemas.microsoft.com/office/drawing/2014/main" id="{044C75C1-5265-42E4-885B-F5D66060AA6A}"/>
              </a:ext>
            </a:extLst>
          </p:cNvPr>
          <p:cNvGrpSpPr/>
          <p:nvPr userDrawn="1">
            <p:custDataLst>
              <p:tags r:id="rId16"/>
            </p:custDataLst>
          </p:nvPr>
        </p:nvGrpSpPr>
        <p:grpSpPr>
          <a:xfrm>
            <a:off x="9033961" y="4741077"/>
            <a:ext cx="673200" cy="198000"/>
            <a:chOff x="8683081" y="4560323"/>
            <a:chExt cx="673200" cy="198000"/>
          </a:xfrm>
          <a:solidFill>
            <a:srgbClr val="000000"/>
          </a:solidFill>
        </p:grpSpPr>
        <p:sp>
          <p:nvSpPr>
            <p:cNvPr id="258" name="Freeform: Shape 154">
              <a:extLst>
                <a:ext uri="{FF2B5EF4-FFF2-40B4-BE49-F238E27FC236}">
                  <a16:creationId xmlns:a16="http://schemas.microsoft.com/office/drawing/2014/main" id="{A77E4A37-FD20-46F0-9C46-EA159B43E881}"/>
                </a:ext>
              </a:extLst>
            </p:cNvPr>
            <p:cNvSpPr/>
            <p:nvPr/>
          </p:nvSpPr>
          <p:spPr>
            <a:xfrm>
              <a:off x="8982541" y="4650457"/>
              <a:ext cx="34159" cy="37278"/>
            </a:xfrm>
            <a:custGeom>
              <a:avLst/>
              <a:gdLst>
                <a:gd name="connsiteX0" fmla="*/ 17216 w 34159"/>
                <a:gd name="connsiteY0" fmla="*/ 0 h 37278"/>
                <a:gd name="connsiteX1" fmla="*/ 0 w 34159"/>
                <a:gd name="connsiteY1" fmla="*/ 18563 h 37278"/>
                <a:gd name="connsiteX2" fmla="*/ 17216 w 34159"/>
                <a:gd name="connsiteY2" fmla="*/ 37278 h 37278"/>
                <a:gd name="connsiteX3" fmla="*/ 34160 w 34159"/>
                <a:gd name="connsiteY3" fmla="*/ 18563 h 37278"/>
                <a:gd name="connsiteX4" fmla="*/ 17216 w 34159"/>
                <a:gd name="connsiteY4" fmla="*/ 0 h 37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59" h="37278">
                  <a:moveTo>
                    <a:pt x="17216" y="0"/>
                  </a:moveTo>
                  <a:cubicBezTo>
                    <a:pt x="7187" y="0"/>
                    <a:pt x="0" y="7321"/>
                    <a:pt x="0" y="18563"/>
                  </a:cubicBezTo>
                  <a:cubicBezTo>
                    <a:pt x="0" y="30086"/>
                    <a:pt x="6915" y="37278"/>
                    <a:pt x="17216" y="37278"/>
                  </a:cubicBezTo>
                  <a:cubicBezTo>
                    <a:pt x="27245" y="37278"/>
                    <a:pt x="34160" y="29948"/>
                    <a:pt x="34160" y="18563"/>
                  </a:cubicBezTo>
                  <a:cubicBezTo>
                    <a:pt x="34160" y="7316"/>
                    <a:pt x="26978" y="0"/>
                    <a:pt x="17216" y="0"/>
                  </a:cubicBezTo>
                  <a:close/>
                </a:path>
              </a:pathLst>
            </a:custGeom>
            <a:solidFill>
              <a:srgbClr val="000000"/>
            </a:solidFill>
            <a:ln w="490" cap="flat">
              <a:noFill/>
              <a:prstDash val="solid"/>
              <a:miter/>
            </a:ln>
          </p:spPr>
          <p:txBody>
            <a:bodyPr rtlCol="0" anchor="ctr"/>
            <a:lstStyle/>
            <a:p>
              <a:endParaRPr lang="en-US"/>
            </a:p>
          </p:txBody>
        </p:sp>
        <p:sp>
          <p:nvSpPr>
            <p:cNvPr id="259" name="Freeform: Shape 155">
              <a:extLst>
                <a:ext uri="{FF2B5EF4-FFF2-40B4-BE49-F238E27FC236}">
                  <a16:creationId xmlns:a16="http://schemas.microsoft.com/office/drawing/2014/main" id="{5AE77653-4E85-48CB-A398-FA6E68258138}"/>
                </a:ext>
              </a:extLst>
            </p:cNvPr>
            <p:cNvSpPr/>
            <p:nvPr/>
          </p:nvSpPr>
          <p:spPr>
            <a:xfrm>
              <a:off x="8794104" y="4662382"/>
              <a:ext cx="32670" cy="27922"/>
            </a:xfrm>
            <a:custGeom>
              <a:avLst/>
              <a:gdLst>
                <a:gd name="connsiteX0" fmla="*/ 17078 w 32670"/>
                <a:gd name="connsiteY0" fmla="*/ 0 h 27922"/>
                <a:gd name="connsiteX1" fmla="*/ 0 w 32670"/>
                <a:gd name="connsiteY1" fmla="*/ 0 h 27922"/>
                <a:gd name="connsiteX2" fmla="*/ 0 w 32670"/>
                <a:gd name="connsiteY2" fmla="*/ 27923 h 27922"/>
                <a:gd name="connsiteX3" fmla="*/ 16538 w 32670"/>
                <a:gd name="connsiteY3" fmla="*/ 27923 h 27922"/>
                <a:gd name="connsiteX4" fmla="*/ 32670 w 32670"/>
                <a:gd name="connsiteY4" fmla="*/ 14098 h 27922"/>
                <a:gd name="connsiteX5" fmla="*/ 17078 w 32670"/>
                <a:gd name="connsiteY5" fmla="*/ 0 h 2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70" h="27922">
                  <a:moveTo>
                    <a:pt x="17078" y="0"/>
                  </a:moveTo>
                  <a:lnTo>
                    <a:pt x="0" y="0"/>
                  </a:lnTo>
                  <a:lnTo>
                    <a:pt x="0" y="27923"/>
                  </a:lnTo>
                  <a:lnTo>
                    <a:pt x="16538" y="27923"/>
                  </a:lnTo>
                  <a:cubicBezTo>
                    <a:pt x="26299" y="27923"/>
                    <a:pt x="32670" y="22641"/>
                    <a:pt x="32670" y="14098"/>
                  </a:cubicBezTo>
                  <a:cubicBezTo>
                    <a:pt x="32665" y="5836"/>
                    <a:pt x="27106" y="0"/>
                    <a:pt x="17078" y="0"/>
                  </a:cubicBezTo>
                  <a:close/>
                </a:path>
              </a:pathLst>
            </a:custGeom>
            <a:solidFill>
              <a:srgbClr val="000000"/>
            </a:solidFill>
            <a:ln w="490" cap="flat">
              <a:noFill/>
              <a:prstDash val="solid"/>
              <a:miter/>
            </a:ln>
          </p:spPr>
          <p:txBody>
            <a:bodyPr rtlCol="0" anchor="ctr"/>
            <a:lstStyle/>
            <a:p>
              <a:endParaRPr lang="en-US"/>
            </a:p>
          </p:txBody>
        </p:sp>
        <p:sp>
          <p:nvSpPr>
            <p:cNvPr id="260" name="Freeform: Shape 156">
              <a:extLst>
                <a:ext uri="{FF2B5EF4-FFF2-40B4-BE49-F238E27FC236}">
                  <a16:creationId xmlns:a16="http://schemas.microsoft.com/office/drawing/2014/main" id="{AA6FB093-A0EE-4E8F-B03E-06A49DC3BE92}"/>
                </a:ext>
              </a:extLst>
            </p:cNvPr>
            <p:cNvSpPr/>
            <p:nvPr/>
          </p:nvSpPr>
          <p:spPr>
            <a:xfrm>
              <a:off x="9062067" y="4673772"/>
              <a:ext cx="26022" cy="20057"/>
            </a:xfrm>
            <a:custGeom>
              <a:avLst/>
              <a:gdLst>
                <a:gd name="connsiteX0" fmla="*/ 0 w 26022"/>
                <a:gd name="connsiteY0" fmla="*/ 11514 h 20057"/>
                <a:gd name="connsiteX1" fmla="*/ 9618 w 26022"/>
                <a:gd name="connsiteY1" fmla="*/ 20057 h 20057"/>
                <a:gd name="connsiteX2" fmla="*/ 26022 w 26022"/>
                <a:gd name="connsiteY2" fmla="*/ 2980 h 20057"/>
                <a:gd name="connsiteX3" fmla="*/ 26022 w 26022"/>
                <a:gd name="connsiteY3" fmla="*/ 0 h 20057"/>
                <a:gd name="connsiteX4" fmla="*/ 8801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86" y="20057"/>
                    <a:pt x="9618" y="20057"/>
                  </a:cubicBezTo>
                  <a:cubicBezTo>
                    <a:pt x="18434" y="20057"/>
                    <a:pt x="26022" y="15850"/>
                    <a:pt x="26022" y="2980"/>
                  </a:cubicBezTo>
                  <a:lnTo>
                    <a:pt x="26022" y="0"/>
                  </a:lnTo>
                  <a:lnTo>
                    <a:pt x="8801" y="2579"/>
                  </a:lnTo>
                  <a:cubicBezTo>
                    <a:pt x="3930" y="3381"/>
                    <a:pt x="0" y="6093"/>
                    <a:pt x="0" y="11514"/>
                  </a:cubicBezTo>
                  <a:close/>
                </a:path>
              </a:pathLst>
            </a:custGeom>
            <a:solidFill>
              <a:srgbClr val="000000"/>
            </a:solidFill>
            <a:ln w="490" cap="flat">
              <a:noFill/>
              <a:prstDash val="solid"/>
              <a:miter/>
            </a:ln>
          </p:spPr>
          <p:txBody>
            <a:bodyPr rtlCol="0" anchor="ctr"/>
            <a:lstStyle/>
            <a:p>
              <a:endParaRPr lang="en-US"/>
            </a:p>
          </p:txBody>
        </p:sp>
        <p:sp>
          <p:nvSpPr>
            <p:cNvPr id="261" name="Freeform: Shape 157">
              <a:extLst>
                <a:ext uri="{FF2B5EF4-FFF2-40B4-BE49-F238E27FC236}">
                  <a16:creationId xmlns:a16="http://schemas.microsoft.com/office/drawing/2014/main" id="{08424852-B48B-4E01-B96E-7EC6CB055A7C}"/>
                </a:ext>
              </a:extLst>
            </p:cNvPr>
            <p:cNvSpPr/>
            <p:nvPr/>
          </p:nvSpPr>
          <p:spPr>
            <a:xfrm>
              <a:off x="9221784" y="4673772"/>
              <a:ext cx="26022" cy="20057"/>
            </a:xfrm>
            <a:custGeom>
              <a:avLst/>
              <a:gdLst>
                <a:gd name="connsiteX0" fmla="*/ 0 w 26022"/>
                <a:gd name="connsiteY0" fmla="*/ 11514 h 20057"/>
                <a:gd name="connsiteX1" fmla="*/ 9628 w 26022"/>
                <a:gd name="connsiteY1" fmla="*/ 20057 h 20057"/>
                <a:gd name="connsiteX2" fmla="*/ 26022 w 26022"/>
                <a:gd name="connsiteY2" fmla="*/ 2980 h 20057"/>
                <a:gd name="connsiteX3" fmla="*/ 26022 w 26022"/>
                <a:gd name="connsiteY3" fmla="*/ 0 h 20057"/>
                <a:gd name="connsiteX4" fmla="*/ 8811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6" y="20057"/>
                    <a:pt x="9628" y="20057"/>
                  </a:cubicBezTo>
                  <a:cubicBezTo>
                    <a:pt x="18434" y="20057"/>
                    <a:pt x="26022" y="15850"/>
                    <a:pt x="26022" y="2980"/>
                  </a:cubicBezTo>
                  <a:lnTo>
                    <a:pt x="26022" y="0"/>
                  </a:lnTo>
                  <a:lnTo>
                    <a:pt x="8811" y="2579"/>
                  </a:lnTo>
                  <a:cubicBezTo>
                    <a:pt x="3935" y="3381"/>
                    <a:pt x="0" y="6093"/>
                    <a:pt x="0" y="11514"/>
                  </a:cubicBezTo>
                  <a:close/>
                </a:path>
              </a:pathLst>
            </a:custGeom>
            <a:solidFill>
              <a:srgbClr val="000000"/>
            </a:solidFill>
            <a:ln w="490" cap="flat">
              <a:noFill/>
              <a:prstDash val="solid"/>
              <a:miter/>
            </a:ln>
          </p:spPr>
          <p:txBody>
            <a:bodyPr rtlCol="0" anchor="ctr"/>
            <a:lstStyle/>
            <a:p>
              <a:endParaRPr lang="en-US"/>
            </a:p>
          </p:txBody>
        </p:sp>
        <p:sp>
          <p:nvSpPr>
            <p:cNvPr id="262" name="Freeform: Shape 158">
              <a:extLst>
                <a:ext uri="{FF2B5EF4-FFF2-40B4-BE49-F238E27FC236}">
                  <a16:creationId xmlns:a16="http://schemas.microsoft.com/office/drawing/2014/main" id="{701A7D13-5C73-4B05-983A-760ACCB96D98}"/>
                </a:ext>
              </a:extLst>
            </p:cNvPr>
            <p:cNvSpPr/>
            <p:nvPr/>
          </p:nvSpPr>
          <p:spPr>
            <a:xfrm>
              <a:off x="8683081" y="4560323"/>
              <a:ext cx="673200" cy="198000"/>
            </a:xfrm>
            <a:custGeom>
              <a:avLst/>
              <a:gdLst>
                <a:gd name="connsiteX0" fmla="*/ 574200 w 673200"/>
                <a:gd name="connsiteY0" fmla="*/ 0 h 198000"/>
                <a:gd name="connsiteX1" fmla="*/ 99000 w 673200"/>
                <a:gd name="connsiteY1" fmla="*/ 0 h 198000"/>
                <a:gd name="connsiteX2" fmla="*/ 0 w 673200"/>
                <a:gd name="connsiteY2" fmla="*/ 99000 h 198000"/>
                <a:gd name="connsiteX3" fmla="*/ 99000 w 673200"/>
                <a:gd name="connsiteY3" fmla="*/ 198000 h 198000"/>
                <a:gd name="connsiteX4" fmla="*/ 574200 w 673200"/>
                <a:gd name="connsiteY4" fmla="*/ 198000 h 198000"/>
                <a:gd name="connsiteX5" fmla="*/ 673200 w 673200"/>
                <a:gd name="connsiteY5" fmla="*/ 99000 h 198000"/>
                <a:gd name="connsiteX6" fmla="*/ 574200 w 673200"/>
                <a:gd name="connsiteY6" fmla="*/ 0 h 198000"/>
                <a:gd name="connsiteX7" fmla="*/ 130403 w 673200"/>
                <a:gd name="connsiteY7" fmla="*/ 143807 h 198000"/>
                <a:gd name="connsiteX8" fmla="*/ 94892 w 673200"/>
                <a:gd name="connsiteY8" fmla="*/ 143807 h 198000"/>
                <a:gd name="connsiteX9" fmla="*/ 94892 w 673200"/>
                <a:gd name="connsiteY9" fmla="*/ 47713 h 198000"/>
                <a:gd name="connsiteX10" fmla="*/ 127962 w 673200"/>
                <a:gd name="connsiteY10" fmla="*/ 47713 h 198000"/>
                <a:gd name="connsiteX11" fmla="*/ 157242 w 673200"/>
                <a:gd name="connsiteY11" fmla="*/ 73597 h 198000"/>
                <a:gd name="connsiteX12" fmla="*/ 143010 w 673200"/>
                <a:gd name="connsiteY12" fmla="*/ 94337 h 198000"/>
                <a:gd name="connsiteX13" fmla="*/ 160227 w 673200"/>
                <a:gd name="connsiteY13" fmla="*/ 117241 h 198000"/>
                <a:gd name="connsiteX14" fmla="*/ 130403 w 673200"/>
                <a:gd name="connsiteY14" fmla="*/ 143807 h 198000"/>
                <a:gd name="connsiteX15" fmla="*/ 217513 w 673200"/>
                <a:gd name="connsiteY15" fmla="*/ 143807 h 198000"/>
                <a:gd name="connsiteX16" fmla="*/ 216968 w 673200"/>
                <a:gd name="connsiteY16" fmla="*/ 136486 h 198000"/>
                <a:gd name="connsiteX17" fmla="*/ 198262 w 673200"/>
                <a:gd name="connsiteY17" fmla="*/ 145703 h 198000"/>
                <a:gd name="connsiteX18" fmla="*/ 173324 w 673200"/>
                <a:gd name="connsiteY18" fmla="*/ 119409 h 198000"/>
                <a:gd name="connsiteX19" fmla="*/ 173324 w 673200"/>
                <a:gd name="connsiteY19" fmla="*/ 77794 h 198000"/>
                <a:gd name="connsiteX20" fmla="*/ 189045 w 673200"/>
                <a:gd name="connsiteY20" fmla="*/ 77794 h 198000"/>
                <a:gd name="connsiteX21" fmla="*/ 189045 w 673200"/>
                <a:gd name="connsiteY21" fmla="*/ 116568 h 198000"/>
                <a:gd name="connsiteX22" fmla="*/ 202326 w 673200"/>
                <a:gd name="connsiteY22" fmla="*/ 131606 h 198000"/>
                <a:gd name="connsiteX23" fmla="*/ 216152 w 673200"/>
                <a:gd name="connsiteY23" fmla="*/ 116825 h 198000"/>
                <a:gd name="connsiteX24" fmla="*/ 216152 w 673200"/>
                <a:gd name="connsiteY24" fmla="*/ 77789 h 198000"/>
                <a:gd name="connsiteX25" fmla="*/ 231873 w 673200"/>
                <a:gd name="connsiteY25" fmla="*/ 77789 h 198000"/>
                <a:gd name="connsiteX26" fmla="*/ 231873 w 673200"/>
                <a:gd name="connsiteY26" fmla="*/ 131744 h 198000"/>
                <a:gd name="connsiteX27" fmla="*/ 232556 w 673200"/>
                <a:gd name="connsiteY27" fmla="*/ 143802 h 198000"/>
                <a:gd name="connsiteX28" fmla="*/ 217513 w 673200"/>
                <a:gd name="connsiteY28" fmla="*/ 143802 h 198000"/>
                <a:gd name="connsiteX29" fmla="*/ 267899 w 673200"/>
                <a:gd name="connsiteY29" fmla="*/ 143807 h 198000"/>
                <a:gd name="connsiteX30" fmla="*/ 252178 w 673200"/>
                <a:gd name="connsiteY30" fmla="*/ 143807 h 198000"/>
                <a:gd name="connsiteX31" fmla="*/ 252178 w 673200"/>
                <a:gd name="connsiteY31" fmla="*/ 45674 h 198000"/>
                <a:gd name="connsiteX32" fmla="*/ 267899 w 673200"/>
                <a:gd name="connsiteY32" fmla="*/ 45674 h 198000"/>
                <a:gd name="connsiteX33" fmla="*/ 267899 w 673200"/>
                <a:gd name="connsiteY33" fmla="*/ 143807 h 198000"/>
                <a:gd name="connsiteX34" fmla="*/ 348802 w 673200"/>
                <a:gd name="connsiteY34" fmla="*/ 137575 h 198000"/>
                <a:gd name="connsiteX35" fmla="*/ 314914 w 673200"/>
                <a:gd name="connsiteY35" fmla="*/ 171592 h 198000"/>
                <a:gd name="connsiteX36" fmla="*/ 283467 w 673200"/>
                <a:gd name="connsiteY36" fmla="*/ 147475 h 198000"/>
                <a:gd name="connsiteX37" fmla="*/ 297970 w 673200"/>
                <a:gd name="connsiteY37" fmla="*/ 143679 h 198000"/>
                <a:gd name="connsiteX38" fmla="*/ 314508 w 673200"/>
                <a:gd name="connsiteY38" fmla="*/ 157905 h 198000"/>
                <a:gd name="connsiteX39" fmla="*/ 333214 w 673200"/>
                <a:gd name="connsiteY39" fmla="*/ 138115 h 198000"/>
                <a:gd name="connsiteX40" fmla="*/ 333214 w 673200"/>
                <a:gd name="connsiteY40" fmla="*/ 131205 h 198000"/>
                <a:gd name="connsiteX41" fmla="*/ 314102 w 673200"/>
                <a:gd name="connsiteY41" fmla="*/ 140823 h 198000"/>
                <a:gd name="connsiteX42" fmla="*/ 283605 w 673200"/>
                <a:gd name="connsiteY42" fmla="*/ 108692 h 198000"/>
                <a:gd name="connsiteX43" fmla="*/ 314102 w 673200"/>
                <a:gd name="connsiteY43" fmla="*/ 76572 h 198000"/>
                <a:gd name="connsiteX44" fmla="*/ 333620 w 673200"/>
                <a:gd name="connsiteY44" fmla="*/ 86199 h 198000"/>
                <a:gd name="connsiteX45" fmla="*/ 333620 w 673200"/>
                <a:gd name="connsiteY45" fmla="*/ 77784 h 198000"/>
                <a:gd name="connsiteX46" fmla="*/ 348802 w 673200"/>
                <a:gd name="connsiteY46" fmla="*/ 77784 h 198000"/>
                <a:gd name="connsiteX47" fmla="*/ 348802 w 673200"/>
                <a:gd name="connsiteY47" fmla="*/ 137575 h 198000"/>
                <a:gd name="connsiteX48" fmla="*/ 406638 w 673200"/>
                <a:gd name="connsiteY48" fmla="*/ 143807 h 198000"/>
                <a:gd name="connsiteX49" fmla="*/ 405954 w 673200"/>
                <a:gd name="connsiteY49" fmla="*/ 135402 h 198000"/>
                <a:gd name="connsiteX50" fmla="*/ 385625 w 673200"/>
                <a:gd name="connsiteY50" fmla="*/ 145842 h 198000"/>
                <a:gd name="connsiteX51" fmla="*/ 363266 w 673200"/>
                <a:gd name="connsiteY51" fmla="*/ 125913 h 198000"/>
                <a:gd name="connsiteX52" fmla="*/ 383184 w 673200"/>
                <a:gd name="connsiteY52" fmla="*/ 105984 h 198000"/>
                <a:gd name="connsiteX53" fmla="*/ 400133 w 673200"/>
                <a:gd name="connsiteY53" fmla="*/ 103415 h 198000"/>
                <a:gd name="connsiteX54" fmla="*/ 405014 w 673200"/>
                <a:gd name="connsiteY54" fmla="*/ 98678 h 198000"/>
                <a:gd name="connsiteX55" fmla="*/ 392545 w 673200"/>
                <a:gd name="connsiteY55" fmla="*/ 88640 h 198000"/>
                <a:gd name="connsiteX56" fmla="*/ 378992 w 673200"/>
                <a:gd name="connsiteY56" fmla="*/ 100569 h 198000"/>
                <a:gd name="connsiteX57" fmla="*/ 364622 w 673200"/>
                <a:gd name="connsiteY57" fmla="*/ 97317 h 198000"/>
                <a:gd name="connsiteX58" fmla="*/ 392401 w 673200"/>
                <a:gd name="connsiteY58" fmla="*/ 75770 h 198000"/>
                <a:gd name="connsiteX59" fmla="*/ 420463 w 673200"/>
                <a:gd name="connsiteY59" fmla="*/ 100440 h 198000"/>
                <a:gd name="connsiteX60" fmla="*/ 420463 w 673200"/>
                <a:gd name="connsiteY60" fmla="*/ 133244 h 198000"/>
                <a:gd name="connsiteX61" fmla="*/ 421275 w 673200"/>
                <a:gd name="connsiteY61" fmla="*/ 143817 h 198000"/>
                <a:gd name="connsiteX62" fmla="*/ 406638 w 673200"/>
                <a:gd name="connsiteY62" fmla="*/ 143817 h 198000"/>
                <a:gd name="connsiteX63" fmla="*/ 478026 w 673200"/>
                <a:gd name="connsiteY63" fmla="*/ 93387 h 198000"/>
                <a:gd name="connsiteX64" fmla="*/ 472874 w 673200"/>
                <a:gd name="connsiteY64" fmla="*/ 92976 h 198000"/>
                <a:gd name="connsiteX65" fmla="*/ 455123 w 673200"/>
                <a:gd name="connsiteY65" fmla="*/ 112365 h 198000"/>
                <a:gd name="connsiteX66" fmla="*/ 455123 w 673200"/>
                <a:gd name="connsiteY66" fmla="*/ 143812 h 198000"/>
                <a:gd name="connsiteX67" fmla="*/ 439402 w 673200"/>
                <a:gd name="connsiteY67" fmla="*/ 143812 h 198000"/>
                <a:gd name="connsiteX68" fmla="*/ 439402 w 673200"/>
                <a:gd name="connsiteY68" fmla="*/ 77794 h 198000"/>
                <a:gd name="connsiteX69" fmla="*/ 454712 w 673200"/>
                <a:gd name="connsiteY69" fmla="*/ 77794 h 198000"/>
                <a:gd name="connsiteX70" fmla="*/ 454712 w 673200"/>
                <a:gd name="connsiteY70" fmla="*/ 88377 h 198000"/>
                <a:gd name="connsiteX71" fmla="*/ 473829 w 673200"/>
                <a:gd name="connsiteY71" fmla="*/ 76992 h 198000"/>
                <a:gd name="connsiteX72" fmla="*/ 478026 w 673200"/>
                <a:gd name="connsiteY72" fmla="*/ 77393 h 198000"/>
                <a:gd name="connsiteX73" fmla="*/ 478026 w 673200"/>
                <a:gd name="connsiteY73" fmla="*/ 93387 h 198000"/>
                <a:gd name="connsiteX74" fmla="*/ 506736 w 673200"/>
                <a:gd name="connsiteY74" fmla="*/ 143807 h 198000"/>
                <a:gd name="connsiteX75" fmla="*/ 491154 w 673200"/>
                <a:gd name="connsiteY75" fmla="*/ 143807 h 198000"/>
                <a:gd name="connsiteX76" fmla="*/ 491154 w 673200"/>
                <a:gd name="connsiteY76" fmla="*/ 77794 h 198000"/>
                <a:gd name="connsiteX77" fmla="*/ 506736 w 673200"/>
                <a:gd name="connsiteY77" fmla="*/ 77794 h 198000"/>
                <a:gd name="connsiteX78" fmla="*/ 506736 w 673200"/>
                <a:gd name="connsiteY78" fmla="*/ 143807 h 198000"/>
                <a:gd name="connsiteX79" fmla="*/ 498876 w 673200"/>
                <a:gd name="connsiteY79" fmla="*/ 64781 h 198000"/>
                <a:gd name="connsiteX80" fmla="*/ 488714 w 673200"/>
                <a:gd name="connsiteY80" fmla="*/ 54618 h 198000"/>
                <a:gd name="connsiteX81" fmla="*/ 498876 w 673200"/>
                <a:gd name="connsiteY81" fmla="*/ 44317 h 198000"/>
                <a:gd name="connsiteX82" fmla="*/ 509177 w 673200"/>
                <a:gd name="connsiteY82" fmla="*/ 54618 h 198000"/>
                <a:gd name="connsiteX83" fmla="*/ 498876 w 673200"/>
                <a:gd name="connsiteY83" fmla="*/ 64781 h 198000"/>
                <a:gd name="connsiteX84" fmla="*/ 566354 w 673200"/>
                <a:gd name="connsiteY84" fmla="*/ 143807 h 198000"/>
                <a:gd name="connsiteX85" fmla="*/ 565681 w 673200"/>
                <a:gd name="connsiteY85" fmla="*/ 135402 h 198000"/>
                <a:gd name="connsiteX86" fmla="*/ 545351 w 673200"/>
                <a:gd name="connsiteY86" fmla="*/ 145842 h 198000"/>
                <a:gd name="connsiteX87" fmla="*/ 522982 w 673200"/>
                <a:gd name="connsiteY87" fmla="*/ 125913 h 198000"/>
                <a:gd name="connsiteX88" fmla="*/ 542911 w 673200"/>
                <a:gd name="connsiteY88" fmla="*/ 105984 h 198000"/>
                <a:gd name="connsiteX89" fmla="*/ 559850 w 673200"/>
                <a:gd name="connsiteY89" fmla="*/ 103415 h 198000"/>
                <a:gd name="connsiteX90" fmla="*/ 564731 w 673200"/>
                <a:gd name="connsiteY90" fmla="*/ 98678 h 198000"/>
                <a:gd name="connsiteX91" fmla="*/ 552262 w 673200"/>
                <a:gd name="connsiteY91" fmla="*/ 88640 h 198000"/>
                <a:gd name="connsiteX92" fmla="*/ 538709 w 673200"/>
                <a:gd name="connsiteY92" fmla="*/ 100569 h 198000"/>
                <a:gd name="connsiteX93" fmla="*/ 524339 w 673200"/>
                <a:gd name="connsiteY93" fmla="*/ 97317 h 198000"/>
                <a:gd name="connsiteX94" fmla="*/ 552128 w 673200"/>
                <a:gd name="connsiteY94" fmla="*/ 75770 h 198000"/>
                <a:gd name="connsiteX95" fmla="*/ 580180 w 673200"/>
                <a:gd name="connsiteY95" fmla="*/ 100440 h 198000"/>
                <a:gd name="connsiteX96" fmla="*/ 580180 w 673200"/>
                <a:gd name="connsiteY96" fmla="*/ 133244 h 198000"/>
                <a:gd name="connsiteX97" fmla="*/ 580991 w 673200"/>
                <a:gd name="connsiteY97" fmla="*/ 143817 h 198000"/>
                <a:gd name="connsiteX98" fmla="*/ 566354 w 673200"/>
                <a:gd name="connsiteY98" fmla="*/ 143817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73200" h="198000">
                  <a:moveTo>
                    <a:pt x="574200" y="0"/>
                  </a:moveTo>
                  <a:lnTo>
                    <a:pt x="99000" y="0"/>
                  </a:lnTo>
                  <a:cubicBezTo>
                    <a:pt x="44322" y="0"/>
                    <a:pt x="0" y="44327"/>
                    <a:pt x="0" y="99000"/>
                  </a:cubicBezTo>
                  <a:cubicBezTo>
                    <a:pt x="0" y="153673"/>
                    <a:pt x="44322" y="198000"/>
                    <a:pt x="99000" y="198000"/>
                  </a:cubicBezTo>
                  <a:lnTo>
                    <a:pt x="574200" y="198000"/>
                  </a:lnTo>
                  <a:cubicBezTo>
                    <a:pt x="628878" y="198000"/>
                    <a:pt x="673200" y="153673"/>
                    <a:pt x="673200" y="99000"/>
                  </a:cubicBezTo>
                  <a:cubicBezTo>
                    <a:pt x="673200" y="44327"/>
                    <a:pt x="628873" y="0"/>
                    <a:pt x="574200" y="0"/>
                  </a:cubicBezTo>
                  <a:close/>
                  <a:moveTo>
                    <a:pt x="130403" y="143807"/>
                  </a:moveTo>
                  <a:lnTo>
                    <a:pt x="94892" y="143807"/>
                  </a:lnTo>
                  <a:lnTo>
                    <a:pt x="94892" y="47713"/>
                  </a:lnTo>
                  <a:lnTo>
                    <a:pt x="127962" y="47713"/>
                  </a:lnTo>
                  <a:cubicBezTo>
                    <a:pt x="146396" y="47713"/>
                    <a:pt x="157242" y="58559"/>
                    <a:pt x="157242" y="73597"/>
                  </a:cubicBezTo>
                  <a:cubicBezTo>
                    <a:pt x="157242" y="83759"/>
                    <a:pt x="151277" y="91347"/>
                    <a:pt x="143010" y="94337"/>
                  </a:cubicBezTo>
                  <a:cubicBezTo>
                    <a:pt x="153178" y="97050"/>
                    <a:pt x="160227" y="105856"/>
                    <a:pt x="160227" y="117241"/>
                  </a:cubicBezTo>
                  <a:cubicBezTo>
                    <a:pt x="160222" y="132695"/>
                    <a:pt x="148297" y="143807"/>
                    <a:pt x="130403" y="143807"/>
                  </a:cubicBezTo>
                  <a:close/>
                  <a:moveTo>
                    <a:pt x="217513" y="143807"/>
                  </a:moveTo>
                  <a:cubicBezTo>
                    <a:pt x="217241" y="142313"/>
                    <a:pt x="216968" y="139199"/>
                    <a:pt x="216968" y="136486"/>
                  </a:cubicBezTo>
                  <a:cubicBezTo>
                    <a:pt x="213716" y="142451"/>
                    <a:pt x="205994" y="145703"/>
                    <a:pt x="198262" y="145703"/>
                  </a:cubicBezTo>
                  <a:cubicBezTo>
                    <a:pt x="182541" y="145703"/>
                    <a:pt x="173324" y="134046"/>
                    <a:pt x="173324" y="119409"/>
                  </a:cubicBezTo>
                  <a:lnTo>
                    <a:pt x="173324" y="77794"/>
                  </a:lnTo>
                  <a:lnTo>
                    <a:pt x="189045" y="77794"/>
                  </a:lnTo>
                  <a:lnTo>
                    <a:pt x="189045" y="116568"/>
                  </a:lnTo>
                  <a:cubicBezTo>
                    <a:pt x="189045" y="124700"/>
                    <a:pt x="192842" y="131606"/>
                    <a:pt x="202326" y="131606"/>
                  </a:cubicBezTo>
                  <a:cubicBezTo>
                    <a:pt x="211415" y="131606"/>
                    <a:pt x="216152" y="125502"/>
                    <a:pt x="216152" y="116825"/>
                  </a:cubicBezTo>
                  <a:lnTo>
                    <a:pt x="216152" y="77789"/>
                  </a:lnTo>
                  <a:lnTo>
                    <a:pt x="231873" y="77789"/>
                  </a:lnTo>
                  <a:lnTo>
                    <a:pt x="231873" y="131744"/>
                  </a:lnTo>
                  <a:cubicBezTo>
                    <a:pt x="231873" y="137165"/>
                    <a:pt x="232284" y="141362"/>
                    <a:pt x="232556" y="143802"/>
                  </a:cubicBezTo>
                  <a:lnTo>
                    <a:pt x="217513" y="143802"/>
                  </a:lnTo>
                  <a:close/>
                  <a:moveTo>
                    <a:pt x="267899" y="143807"/>
                  </a:moveTo>
                  <a:lnTo>
                    <a:pt x="252178" y="143807"/>
                  </a:lnTo>
                  <a:lnTo>
                    <a:pt x="252178" y="45674"/>
                  </a:lnTo>
                  <a:lnTo>
                    <a:pt x="267899" y="45674"/>
                  </a:lnTo>
                  <a:lnTo>
                    <a:pt x="267899" y="143807"/>
                  </a:lnTo>
                  <a:close/>
                  <a:moveTo>
                    <a:pt x="348802" y="137575"/>
                  </a:moveTo>
                  <a:cubicBezTo>
                    <a:pt x="348802" y="155197"/>
                    <a:pt x="339719" y="171592"/>
                    <a:pt x="314914" y="171592"/>
                  </a:cubicBezTo>
                  <a:cubicBezTo>
                    <a:pt x="297431" y="171592"/>
                    <a:pt x="285229" y="160746"/>
                    <a:pt x="283467" y="147475"/>
                  </a:cubicBezTo>
                  <a:lnTo>
                    <a:pt x="297970" y="143679"/>
                  </a:lnTo>
                  <a:cubicBezTo>
                    <a:pt x="299054" y="151812"/>
                    <a:pt x="305425" y="157905"/>
                    <a:pt x="314508" y="157905"/>
                  </a:cubicBezTo>
                  <a:cubicBezTo>
                    <a:pt x="326977" y="157905"/>
                    <a:pt x="333214" y="151529"/>
                    <a:pt x="333214" y="138115"/>
                  </a:cubicBezTo>
                  <a:lnTo>
                    <a:pt x="333214" y="131205"/>
                  </a:lnTo>
                  <a:cubicBezTo>
                    <a:pt x="330368" y="136348"/>
                    <a:pt x="323725" y="140823"/>
                    <a:pt x="314102" y="140823"/>
                  </a:cubicBezTo>
                  <a:cubicBezTo>
                    <a:pt x="296480" y="140823"/>
                    <a:pt x="283605" y="127269"/>
                    <a:pt x="283605" y="108692"/>
                  </a:cubicBezTo>
                  <a:cubicBezTo>
                    <a:pt x="283605" y="91080"/>
                    <a:pt x="295941" y="76572"/>
                    <a:pt x="314102" y="76572"/>
                  </a:cubicBezTo>
                  <a:cubicBezTo>
                    <a:pt x="324403" y="76572"/>
                    <a:pt x="330774" y="80779"/>
                    <a:pt x="333620" y="86199"/>
                  </a:cubicBezTo>
                  <a:lnTo>
                    <a:pt x="333620" y="77784"/>
                  </a:lnTo>
                  <a:lnTo>
                    <a:pt x="348802" y="77784"/>
                  </a:lnTo>
                  <a:lnTo>
                    <a:pt x="348802" y="137575"/>
                  </a:lnTo>
                  <a:close/>
                  <a:moveTo>
                    <a:pt x="406638" y="143807"/>
                  </a:moveTo>
                  <a:cubicBezTo>
                    <a:pt x="406499" y="143397"/>
                    <a:pt x="405954" y="140684"/>
                    <a:pt x="405954" y="135402"/>
                  </a:cubicBezTo>
                  <a:cubicBezTo>
                    <a:pt x="402841" y="140422"/>
                    <a:pt x="396337" y="145842"/>
                    <a:pt x="385625" y="145842"/>
                  </a:cubicBezTo>
                  <a:cubicBezTo>
                    <a:pt x="371799" y="145842"/>
                    <a:pt x="363266" y="136343"/>
                    <a:pt x="363266" y="125913"/>
                  </a:cubicBezTo>
                  <a:cubicBezTo>
                    <a:pt x="363266" y="114117"/>
                    <a:pt x="371938" y="107608"/>
                    <a:pt x="383184" y="105984"/>
                  </a:cubicBezTo>
                  <a:lnTo>
                    <a:pt x="400133" y="103415"/>
                  </a:lnTo>
                  <a:cubicBezTo>
                    <a:pt x="403930" y="102871"/>
                    <a:pt x="405014" y="100975"/>
                    <a:pt x="405014" y="98678"/>
                  </a:cubicBezTo>
                  <a:cubicBezTo>
                    <a:pt x="405014" y="93114"/>
                    <a:pt x="401217" y="88640"/>
                    <a:pt x="392545" y="88640"/>
                  </a:cubicBezTo>
                  <a:cubicBezTo>
                    <a:pt x="384273" y="88640"/>
                    <a:pt x="379665" y="93931"/>
                    <a:pt x="378992" y="100569"/>
                  </a:cubicBezTo>
                  <a:lnTo>
                    <a:pt x="364622" y="97317"/>
                  </a:lnTo>
                  <a:cubicBezTo>
                    <a:pt x="365840" y="85932"/>
                    <a:pt x="376141" y="75770"/>
                    <a:pt x="392401" y="75770"/>
                  </a:cubicBezTo>
                  <a:cubicBezTo>
                    <a:pt x="412731" y="75770"/>
                    <a:pt x="420463" y="87293"/>
                    <a:pt x="420463" y="100440"/>
                  </a:cubicBezTo>
                  <a:lnTo>
                    <a:pt x="420463" y="133244"/>
                  </a:lnTo>
                  <a:cubicBezTo>
                    <a:pt x="420463" y="139209"/>
                    <a:pt x="421136" y="143144"/>
                    <a:pt x="421275" y="143817"/>
                  </a:cubicBezTo>
                  <a:lnTo>
                    <a:pt x="406638" y="143817"/>
                  </a:lnTo>
                  <a:close/>
                  <a:moveTo>
                    <a:pt x="478026" y="93387"/>
                  </a:moveTo>
                  <a:cubicBezTo>
                    <a:pt x="476269" y="93114"/>
                    <a:pt x="474502" y="92976"/>
                    <a:pt x="472874" y="92976"/>
                  </a:cubicBezTo>
                  <a:cubicBezTo>
                    <a:pt x="460677" y="92976"/>
                    <a:pt x="455123" y="100025"/>
                    <a:pt x="455123" y="112365"/>
                  </a:cubicBezTo>
                  <a:lnTo>
                    <a:pt x="455123" y="143812"/>
                  </a:lnTo>
                  <a:lnTo>
                    <a:pt x="439402" y="143812"/>
                  </a:lnTo>
                  <a:lnTo>
                    <a:pt x="439402" y="77794"/>
                  </a:lnTo>
                  <a:lnTo>
                    <a:pt x="454712" y="77794"/>
                  </a:lnTo>
                  <a:lnTo>
                    <a:pt x="454712" y="88377"/>
                  </a:lnTo>
                  <a:cubicBezTo>
                    <a:pt x="457835" y="81190"/>
                    <a:pt x="465152" y="76992"/>
                    <a:pt x="473829" y="76992"/>
                  </a:cubicBezTo>
                  <a:cubicBezTo>
                    <a:pt x="475725" y="76992"/>
                    <a:pt x="477353" y="77255"/>
                    <a:pt x="478026" y="77393"/>
                  </a:cubicBezTo>
                  <a:lnTo>
                    <a:pt x="478026" y="93387"/>
                  </a:lnTo>
                  <a:close/>
                  <a:moveTo>
                    <a:pt x="506736" y="143807"/>
                  </a:moveTo>
                  <a:lnTo>
                    <a:pt x="491154" y="143807"/>
                  </a:lnTo>
                  <a:lnTo>
                    <a:pt x="491154" y="77794"/>
                  </a:lnTo>
                  <a:lnTo>
                    <a:pt x="506736" y="77794"/>
                  </a:lnTo>
                  <a:lnTo>
                    <a:pt x="506736" y="143807"/>
                  </a:lnTo>
                  <a:close/>
                  <a:moveTo>
                    <a:pt x="498876" y="64781"/>
                  </a:moveTo>
                  <a:cubicBezTo>
                    <a:pt x="493322" y="64781"/>
                    <a:pt x="488714" y="60311"/>
                    <a:pt x="488714" y="54618"/>
                  </a:cubicBezTo>
                  <a:cubicBezTo>
                    <a:pt x="488714" y="48926"/>
                    <a:pt x="493322" y="44317"/>
                    <a:pt x="498876" y="44317"/>
                  </a:cubicBezTo>
                  <a:cubicBezTo>
                    <a:pt x="504568" y="44317"/>
                    <a:pt x="509177" y="48926"/>
                    <a:pt x="509177" y="54618"/>
                  </a:cubicBezTo>
                  <a:cubicBezTo>
                    <a:pt x="509177" y="60311"/>
                    <a:pt x="504568" y="64781"/>
                    <a:pt x="498876" y="64781"/>
                  </a:cubicBezTo>
                  <a:close/>
                  <a:moveTo>
                    <a:pt x="566354" y="143807"/>
                  </a:moveTo>
                  <a:cubicBezTo>
                    <a:pt x="566226" y="143397"/>
                    <a:pt x="565681" y="140684"/>
                    <a:pt x="565681" y="135402"/>
                  </a:cubicBezTo>
                  <a:cubicBezTo>
                    <a:pt x="562558" y="140422"/>
                    <a:pt x="556053" y="145842"/>
                    <a:pt x="545351" y="145842"/>
                  </a:cubicBezTo>
                  <a:cubicBezTo>
                    <a:pt x="531526" y="145842"/>
                    <a:pt x="522982" y="136343"/>
                    <a:pt x="522982" y="125913"/>
                  </a:cubicBezTo>
                  <a:cubicBezTo>
                    <a:pt x="522982" y="114117"/>
                    <a:pt x="531655" y="107608"/>
                    <a:pt x="542911" y="105984"/>
                  </a:cubicBezTo>
                  <a:lnTo>
                    <a:pt x="559850" y="103415"/>
                  </a:lnTo>
                  <a:cubicBezTo>
                    <a:pt x="563647" y="102871"/>
                    <a:pt x="564731" y="100975"/>
                    <a:pt x="564731" y="98678"/>
                  </a:cubicBezTo>
                  <a:cubicBezTo>
                    <a:pt x="564731" y="93114"/>
                    <a:pt x="560934" y="88640"/>
                    <a:pt x="552262" y="88640"/>
                  </a:cubicBezTo>
                  <a:cubicBezTo>
                    <a:pt x="544000" y="88640"/>
                    <a:pt x="539392" y="93931"/>
                    <a:pt x="538709" y="100569"/>
                  </a:cubicBezTo>
                  <a:lnTo>
                    <a:pt x="524339" y="97317"/>
                  </a:lnTo>
                  <a:cubicBezTo>
                    <a:pt x="525561" y="85932"/>
                    <a:pt x="535862" y="75770"/>
                    <a:pt x="552128" y="75770"/>
                  </a:cubicBezTo>
                  <a:cubicBezTo>
                    <a:pt x="572458" y="75770"/>
                    <a:pt x="580180" y="87293"/>
                    <a:pt x="580180" y="100440"/>
                  </a:cubicBezTo>
                  <a:lnTo>
                    <a:pt x="580180" y="133244"/>
                  </a:lnTo>
                  <a:cubicBezTo>
                    <a:pt x="580180" y="139209"/>
                    <a:pt x="580863" y="143144"/>
                    <a:pt x="580991" y="143817"/>
                  </a:cubicBezTo>
                  <a:lnTo>
                    <a:pt x="566354" y="143817"/>
                  </a:lnTo>
                  <a:close/>
                </a:path>
              </a:pathLst>
            </a:custGeom>
            <a:solidFill>
              <a:srgbClr val="000000"/>
            </a:solidFill>
            <a:ln w="490" cap="flat">
              <a:noFill/>
              <a:prstDash val="solid"/>
              <a:miter/>
            </a:ln>
          </p:spPr>
          <p:txBody>
            <a:bodyPr rtlCol="0" anchor="ctr"/>
            <a:lstStyle/>
            <a:p>
              <a:endParaRPr lang="en-US"/>
            </a:p>
          </p:txBody>
        </p:sp>
        <p:sp>
          <p:nvSpPr>
            <p:cNvPr id="263" name="Freeform: Shape 159">
              <a:extLst>
                <a:ext uri="{FF2B5EF4-FFF2-40B4-BE49-F238E27FC236}">
                  <a16:creationId xmlns:a16="http://schemas.microsoft.com/office/drawing/2014/main" id="{2687FE5D-E23F-472B-9824-80B7093394B6}"/>
                </a:ext>
              </a:extLst>
            </p:cNvPr>
            <p:cNvSpPr/>
            <p:nvPr/>
          </p:nvSpPr>
          <p:spPr>
            <a:xfrm>
              <a:off x="8794099" y="4621851"/>
              <a:ext cx="29957" cy="26848"/>
            </a:xfrm>
            <a:custGeom>
              <a:avLst/>
              <a:gdLst>
                <a:gd name="connsiteX0" fmla="*/ 29957 w 29957"/>
                <a:gd name="connsiteY0" fmla="*/ 13424 h 26848"/>
                <a:gd name="connsiteX1" fmla="*/ 14370 w 29957"/>
                <a:gd name="connsiteY1" fmla="*/ 0 h 26848"/>
                <a:gd name="connsiteX2" fmla="*/ 0 w 29957"/>
                <a:gd name="connsiteY2" fmla="*/ 0 h 26848"/>
                <a:gd name="connsiteX3" fmla="*/ 0 w 29957"/>
                <a:gd name="connsiteY3" fmla="*/ 26849 h 26848"/>
                <a:gd name="connsiteX4" fmla="*/ 14776 w 29957"/>
                <a:gd name="connsiteY4" fmla="*/ 26849 h 26848"/>
                <a:gd name="connsiteX5" fmla="*/ 29957 w 29957"/>
                <a:gd name="connsiteY5" fmla="*/ 13424 h 2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7" h="26848">
                  <a:moveTo>
                    <a:pt x="29957" y="13424"/>
                  </a:moveTo>
                  <a:cubicBezTo>
                    <a:pt x="29957" y="5292"/>
                    <a:pt x="24265" y="0"/>
                    <a:pt x="14370" y="0"/>
                  </a:cubicBezTo>
                  <a:lnTo>
                    <a:pt x="0" y="0"/>
                  </a:lnTo>
                  <a:lnTo>
                    <a:pt x="0" y="26849"/>
                  </a:lnTo>
                  <a:lnTo>
                    <a:pt x="14776" y="26849"/>
                  </a:lnTo>
                  <a:cubicBezTo>
                    <a:pt x="24265" y="26849"/>
                    <a:pt x="29957" y="21424"/>
                    <a:pt x="29957" y="13424"/>
                  </a:cubicBezTo>
                  <a:close/>
                </a:path>
              </a:pathLst>
            </a:custGeom>
            <a:solidFill>
              <a:srgbClr val="000000"/>
            </a:solidFill>
            <a:ln w="490" cap="flat">
              <a:noFill/>
              <a:prstDash val="solid"/>
              <a:miter/>
            </a:ln>
          </p:spPr>
          <p:txBody>
            <a:bodyPr rtlCol="0" anchor="ctr"/>
            <a:lstStyle/>
            <a:p>
              <a:endParaRPr lang="en-US"/>
            </a:p>
          </p:txBody>
        </p:sp>
      </p:grpSp>
      <p:grpSp>
        <p:nvGrpSpPr>
          <p:cNvPr id="264" name="Graphic 126">
            <a:extLst>
              <a:ext uri="{FF2B5EF4-FFF2-40B4-BE49-F238E27FC236}">
                <a16:creationId xmlns:a16="http://schemas.microsoft.com/office/drawing/2014/main" id="{0D9B2392-52B3-4687-8764-84F4FCDD6E67}"/>
              </a:ext>
            </a:extLst>
          </p:cNvPr>
          <p:cNvGrpSpPr/>
          <p:nvPr userDrawn="1">
            <p:custDataLst>
              <p:tags r:id="rId17"/>
            </p:custDataLst>
          </p:nvPr>
        </p:nvGrpSpPr>
        <p:grpSpPr>
          <a:xfrm>
            <a:off x="7312217" y="4679382"/>
            <a:ext cx="1521472" cy="198000"/>
            <a:chOff x="6961337" y="4498628"/>
            <a:chExt cx="1521472" cy="198000"/>
          </a:xfrm>
          <a:solidFill>
            <a:srgbClr val="000000"/>
          </a:solidFill>
        </p:grpSpPr>
        <p:sp>
          <p:nvSpPr>
            <p:cNvPr id="265" name="Freeform: Shape 135">
              <a:extLst>
                <a:ext uri="{FF2B5EF4-FFF2-40B4-BE49-F238E27FC236}">
                  <a16:creationId xmlns:a16="http://schemas.microsoft.com/office/drawing/2014/main" id="{A76B26BC-FD5F-4E58-B0D7-4A75C799647D}"/>
                </a:ext>
              </a:extLst>
            </p:cNvPr>
            <p:cNvSpPr/>
            <p:nvPr/>
          </p:nvSpPr>
          <p:spPr>
            <a:xfrm>
              <a:off x="7510737" y="4601904"/>
              <a:ext cx="28868" cy="28061"/>
            </a:xfrm>
            <a:custGeom>
              <a:avLst/>
              <a:gdLst>
                <a:gd name="connsiteX0" fmla="*/ 7861 w 28868"/>
                <a:gd name="connsiteY0" fmla="*/ 2450 h 28061"/>
                <a:gd name="connsiteX1" fmla="*/ 0 w 28868"/>
                <a:gd name="connsiteY1" fmla="*/ 16003 h 28061"/>
                <a:gd name="connsiteX2" fmla="*/ 12741 w 28868"/>
                <a:gd name="connsiteY2" fmla="*/ 28062 h 28061"/>
                <a:gd name="connsiteX3" fmla="*/ 28735 w 28868"/>
                <a:gd name="connsiteY3" fmla="*/ 18973 h 28061"/>
                <a:gd name="connsiteX4" fmla="*/ 28868 w 28868"/>
                <a:gd name="connsiteY4" fmla="*/ 18845 h 28061"/>
                <a:gd name="connsiteX5" fmla="*/ 11113 w 28868"/>
                <a:gd name="connsiteY5" fmla="*/ 0 h 28061"/>
                <a:gd name="connsiteX6" fmla="*/ 7861 w 28868"/>
                <a:gd name="connsiteY6" fmla="*/ 2450 h 2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68" h="28061">
                  <a:moveTo>
                    <a:pt x="7861" y="2450"/>
                  </a:moveTo>
                  <a:cubicBezTo>
                    <a:pt x="3252" y="5836"/>
                    <a:pt x="0" y="9761"/>
                    <a:pt x="0" y="16003"/>
                  </a:cubicBezTo>
                  <a:cubicBezTo>
                    <a:pt x="0" y="21968"/>
                    <a:pt x="4881" y="28062"/>
                    <a:pt x="12741" y="28062"/>
                  </a:cubicBezTo>
                  <a:cubicBezTo>
                    <a:pt x="19112" y="28062"/>
                    <a:pt x="23854" y="24265"/>
                    <a:pt x="28735" y="18973"/>
                  </a:cubicBezTo>
                  <a:lnTo>
                    <a:pt x="28868" y="18845"/>
                  </a:lnTo>
                  <a:lnTo>
                    <a:pt x="11113" y="0"/>
                  </a:lnTo>
                  <a:lnTo>
                    <a:pt x="7861" y="2450"/>
                  </a:lnTo>
                  <a:close/>
                </a:path>
              </a:pathLst>
            </a:custGeom>
            <a:solidFill>
              <a:srgbClr val="000000"/>
            </a:solidFill>
            <a:ln w="493" cap="flat">
              <a:noFill/>
              <a:prstDash val="solid"/>
              <a:miter/>
            </a:ln>
          </p:spPr>
          <p:txBody>
            <a:bodyPr rtlCol="0" anchor="ctr"/>
            <a:lstStyle/>
            <a:p>
              <a:endParaRPr lang="en-US"/>
            </a:p>
          </p:txBody>
        </p:sp>
        <p:sp>
          <p:nvSpPr>
            <p:cNvPr id="266" name="Freeform: Shape 137">
              <a:extLst>
                <a:ext uri="{FF2B5EF4-FFF2-40B4-BE49-F238E27FC236}">
                  <a16:creationId xmlns:a16="http://schemas.microsoft.com/office/drawing/2014/main" id="{D8F6626D-380C-429D-A442-9D401A3FDF24}"/>
                </a:ext>
              </a:extLst>
            </p:cNvPr>
            <p:cNvSpPr/>
            <p:nvPr/>
          </p:nvSpPr>
          <p:spPr>
            <a:xfrm>
              <a:off x="8084997" y="4588628"/>
              <a:ext cx="36867" cy="41748"/>
            </a:xfrm>
            <a:custGeom>
              <a:avLst/>
              <a:gdLst>
                <a:gd name="connsiteX0" fmla="*/ 18434 w 36867"/>
                <a:gd name="connsiteY0" fmla="*/ 0 h 41748"/>
                <a:gd name="connsiteX1" fmla="*/ 0 w 36867"/>
                <a:gd name="connsiteY1" fmla="*/ 20736 h 41748"/>
                <a:gd name="connsiteX2" fmla="*/ 18434 w 36867"/>
                <a:gd name="connsiteY2" fmla="*/ 41748 h 41748"/>
                <a:gd name="connsiteX3" fmla="*/ 36868 w 36867"/>
                <a:gd name="connsiteY3" fmla="*/ 20736 h 41748"/>
                <a:gd name="connsiteX4" fmla="*/ 18434 w 36867"/>
                <a:gd name="connsiteY4" fmla="*/ 0 h 41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7" h="41748">
                  <a:moveTo>
                    <a:pt x="18434" y="0"/>
                  </a:moveTo>
                  <a:cubicBezTo>
                    <a:pt x="8811" y="0"/>
                    <a:pt x="0" y="7049"/>
                    <a:pt x="0" y="20736"/>
                  </a:cubicBezTo>
                  <a:cubicBezTo>
                    <a:pt x="0" y="34422"/>
                    <a:pt x="8811" y="41748"/>
                    <a:pt x="18434" y="41748"/>
                  </a:cubicBezTo>
                  <a:cubicBezTo>
                    <a:pt x="28195" y="41748"/>
                    <a:pt x="36868" y="34561"/>
                    <a:pt x="36868" y="20736"/>
                  </a:cubicBezTo>
                  <a:cubicBezTo>
                    <a:pt x="36868" y="7049"/>
                    <a:pt x="28195" y="0"/>
                    <a:pt x="18434" y="0"/>
                  </a:cubicBezTo>
                  <a:close/>
                </a:path>
              </a:pathLst>
            </a:custGeom>
            <a:solidFill>
              <a:srgbClr val="000000"/>
            </a:solidFill>
            <a:ln w="493" cap="flat">
              <a:noFill/>
              <a:prstDash val="solid"/>
              <a:miter/>
            </a:ln>
          </p:spPr>
          <p:txBody>
            <a:bodyPr rtlCol="0" anchor="ctr"/>
            <a:lstStyle/>
            <a:p>
              <a:endParaRPr lang="en-US"/>
            </a:p>
          </p:txBody>
        </p:sp>
        <p:sp>
          <p:nvSpPr>
            <p:cNvPr id="267" name="Freeform: Shape 139">
              <a:extLst>
                <a:ext uri="{FF2B5EF4-FFF2-40B4-BE49-F238E27FC236}">
                  <a16:creationId xmlns:a16="http://schemas.microsoft.com/office/drawing/2014/main" id="{82AA19B6-4438-431B-AFE9-2A179241C67F}"/>
                </a:ext>
              </a:extLst>
            </p:cNvPr>
            <p:cNvSpPr/>
            <p:nvPr/>
          </p:nvSpPr>
          <p:spPr>
            <a:xfrm>
              <a:off x="7405070" y="4612077"/>
              <a:ext cx="26022" cy="20057"/>
            </a:xfrm>
            <a:custGeom>
              <a:avLst/>
              <a:gdLst>
                <a:gd name="connsiteX0" fmla="*/ 0 w 26022"/>
                <a:gd name="connsiteY0" fmla="*/ 1151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1" y="20057"/>
                    <a:pt x="9623" y="20057"/>
                  </a:cubicBezTo>
                  <a:cubicBezTo>
                    <a:pt x="18434" y="20057"/>
                    <a:pt x="26022" y="15850"/>
                    <a:pt x="26022" y="2980"/>
                  </a:cubicBezTo>
                  <a:lnTo>
                    <a:pt x="26022" y="0"/>
                  </a:lnTo>
                  <a:lnTo>
                    <a:pt x="8806" y="2579"/>
                  </a:lnTo>
                  <a:cubicBezTo>
                    <a:pt x="3930" y="3381"/>
                    <a:pt x="0" y="6093"/>
                    <a:pt x="0" y="11514"/>
                  </a:cubicBezTo>
                  <a:close/>
                </a:path>
              </a:pathLst>
            </a:custGeom>
            <a:solidFill>
              <a:srgbClr val="000000"/>
            </a:solidFill>
            <a:ln w="493" cap="flat">
              <a:noFill/>
              <a:prstDash val="solid"/>
              <a:miter/>
            </a:ln>
          </p:spPr>
          <p:txBody>
            <a:bodyPr rtlCol="0" anchor="ctr"/>
            <a:lstStyle/>
            <a:p>
              <a:endParaRPr lang="en-US"/>
            </a:p>
          </p:txBody>
        </p:sp>
        <p:sp>
          <p:nvSpPr>
            <p:cNvPr id="268" name="Freeform: Shape 141">
              <a:extLst>
                <a:ext uri="{FF2B5EF4-FFF2-40B4-BE49-F238E27FC236}">
                  <a16:creationId xmlns:a16="http://schemas.microsoft.com/office/drawing/2014/main" id="{EB40FDD6-B5F6-4EA1-9380-FB32066B2CDB}"/>
                </a:ext>
              </a:extLst>
            </p:cNvPr>
            <p:cNvSpPr/>
            <p:nvPr/>
          </p:nvSpPr>
          <p:spPr>
            <a:xfrm>
              <a:off x="7515074" y="4557582"/>
              <a:ext cx="21141" cy="25344"/>
            </a:xfrm>
            <a:custGeom>
              <a:avLst/>
              <a:gdLst>
                <a:gd name="connsiteX0" fmla="*/ 9078 w 21141"/>
                <a:gd name="connsiteY0" fmla="*/ 25344 h 25344"/>
                <a:gd name="connsiteX1" fmla="*/ 14637 w 21141"/>
                <a:gd name="connsiteY1" fmla="*/ 21285 h 25344"/>
                <a:gd name="connsiteX2" fmla="*/ 21141 w 21141"/>
                <a:gd name="connsiteY2" fmla="*/ 10301 h 25344"/>
                <a:gd name="connsiteX3" fmla="*/ 10435 w 21141"/>
                <a:gd name="connsiteY3" fmla="*/ 0 h 25344"/>
                <a:gd name="connsiteX4" fmla="*/ 0 w 21141"/>
                <a:gd name="connsiteY4" fmla="*/ 10301 h 25344"/>
                <a:gd name="connsiteX5" fmla="*/ 6371 w 21141"/>
                <a:gd name="connsiteY5" fmla="*/ 22369 h 25344"/>
                <a:gd name="connsiteX6" fmla="*/ 9078 w 21141"/>
                <a:gd name="connsiteY6" fmla="*/ 25344 h 25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41" h="25344">
                  <a:moveTo>
                    <a:pt x="9078" y="25344"/>
                  </a:moveTo>
                  <a:lnTo>
                    <a:pt x="14637" y="21285"/>
                  </a:lnTo>
                  <a:cubicBezTo>
                    <a:pt x="19651" y="17488"/>
                    <a:pt x="21141" y="13954"/>
                    <a:pt x="21141" y="10301"/>
                  </a:cubicBezTo>
                  <a:cubicBezTo>
                    <a:pt x="21141" y="4608"/>
                    <a:pt x="16667" y="0"/>
                    <a:pt x="10435" y="0"/>
                  </a:cubicBezTo>
                  <a:cubicBezTo>
                    <a:pt x="5420" y="0"/>
                    <a:pt x="0" y="3396"/>
                    <a:pt x="0" y="10301"/>
                  </a:cubicBezTo>
                  <a:cubicBezTo>
                    <a:pt x="0" y="14909"/>
                    <a:pt x="2980" y="18706"/>
                    <a:pt x="6371" y="22369"/>
                  </a:cubicBezTo>
                  <a:lnTo>
                    <a:pt x="9078" y="25344"/>
                  </a:lnTo>
                  <a:close/>
                </a:path>
              </a:pathLst>
            </a:custGeom>
            <a:solidFill>
              <a:srgbClr val="000000"/>
            </a:solidFill>
            <a:ln w="493" cap="flat">
              <a:noFill/>
              <a:prstDash val="solid"/>
              <a:miter/>
            </a:ln>
          </p:spPr>
          <p:txBody>
            <a:bodyPr rtlCol="0" anchor="ctr"/>
            <a:lstStyle/>
            <a:p>
              <a:endParaRPr lang="en-US"/>
            </a:p>
          </p:txBody>
        </p:sp>
        <p:sp>
          <p:nvSpPr>
            <p:cNvPr id="269" name="Freeform: Shape 143">
              <a:extLst>
                <a:ext uri="{FF2B5EF4-FFF2-40B4-BE49-F238E27FC236}">
                  <a16:creationId xmlns:a16="http://schemas.microsoft.com/office/drawing/2014/main" id="{F7FAA9DE-636B-4D1D-BCF6-C42921A299A5}"/>
                </a:ext>
              </a:extLst>
            </p:cNvPr>
            <p:cNvSpPr/>
            <p:nvPr/>
          </p:nvSpPr>
          <p:spPr>
            <a:xfrm>
              <a:off x="6961337" y="4498628"/>
              <a:ext cx="1521472" cy="198000"/>
            </a:xfrm>
            <a:custGeom>
              <a:avLst/>
              <a:gdLst>
                <a:gd name="connsiteX0" fmla="*/ 1422473 w 1521472"/>
                <a:gd name="connsiteY0" fmla="*/ 0 h 198000"/>
                <a:gd name="connsiteX1" fmla="*/ 99000 w 1521472"/>
                <a:gd name="connsiteY1" fmla="*/ 0 h 198000"/>
                <a:gd name="connsiteX2" fmla="*/ 0 w 1521472"/>
                <a:gd name="connsiteY2" fmla="*/ 99000 h 198000"/>
                <a:gd name="connsiteX3" fmla="*/ 99000 w 1521472"/>
                <a:gd name="connsiteY3" fmla="*/ 198000 h 198000"/>
                <a:gd name="connsiteX4" fmla="*/ 1422473 w 1521472"/>
                <a:gd name="connsiteY4" fmla="*/ 198000 h 198000"/>
                <a:gd name="connsiteX5" fmla="*/ 1521473 w 1521472"/>
                <a:gd name="connsiteY5" fmla="*/ 99000 h 198000"/>
                <a:gd name="connsiteX6" fmla="*/ 1422473 w 1521472"/>
                <a:gd name="connsiteY6" fmla="*/ 0 h 198000"/>
                <a:gd name="connsiteX7" fmla="*/ 130942 w 1521472"/>
                <a:gd name="connsiteY7" fmla="*/ 143807 h 198000"/>
                <a:gd name="connsiteX8" fmla="*/ 95431 w 1521472"/>
                <a:gd name="connsiteY8" fmla="*/ 143807 h 198000"/>
                <a:gd name="connsiteX9" fmla="*/ 95431 w 1521472"/>
                <a:gd name="connsiteY9" fmla="*/ 47713 h 198000"/>
                <a:gd name="connsiteX10" fmla="*/ 128502 w 1521472"/>
                <a:gd name="connsiteY10" fmla="*/ 47713 h 198000"/>
                <a:gd name="connsiteX11" fmla="*/ 157781 w 1521472"/>
                <a:gd name="connsiteY11" fmla="*/ 73597 h 198000"/>
                <a:gd name="connsiteX12" fmla="*/ 143555 w 1521472"/>
                <a:gd name="connsiteY12" fmla="*/ 94337 h 198000"/>
                <a:gd name="connsiteX13" fmla="*/ 160766 w 1521472"/>
                <a:gd name="connsiteY13" fmla="*/ 117241 h 198000"/>
                <a:gd name="connsiteX14" fmla="*/ 130942 w 1521472"/>
                <a:gd name="connsiteY14" fmla="*/ 143807 h 198000"/>
                <a:gd name="connsiteX15" fmla="*/ 206940 w 1521472"/>
                <a:gd name="connsiteY15" fmla="*/ 145847 h 198000"/>
                <a:gd name="connsiteX16" fmla="*/ 172785 w 1521472"/>
                <a:gd name="connsiteY16" fmla="*/ 110736 h 198000"/>
                <a:gd name="connsiteX17" fmla="*/ 206940 w 1521472"/>
                <a:gd name="connsiteY17" fmla="*/ 75765 h 198000"/>
                <a:gd name="connsiteX18" fmla="*/ 241233 w 1521472"/>
                <a:gd name="connsiteY18" fmla="*/ 110736 h 198000"/>
                <a:gd name="connsiteX19" fmla="*/ 206940 w 1521472"/>
                <a:gd name="connsiteY19" fmla="*/ 145847 h 198000"/>
                <a:gd name="connsiteX20" fmla="*/ 279141 w 1521472"/>
                <a:gd name="connsiteY20" fmla="*/ 145847 h 198000"/>
                <a:gd name="connsiteX21" fmla="*/ 251896 w 1521472"/>
                <a:gd name="connsiteY21" fmla="*/ 125918 h 198000"/>
                <a:gd name="connsiteX22" fmla="*/ 265587 w 1521472"/>
                <a:gd name="connsiteY22" fmla="*/ 122121 h 198000"/>
                <a:gd name="connsiteX23" fmla="*/ 279007 w 1521472"/>
                <a:gd name="connsiteY23" fmla="*/ 133378 h 198000"/>
                <a:gd name="connsiteX24" fmla="*/ 288902 w 1521472"/>
                <a:gd name="connsiteY24" fmla="*/ 125789 h 198000"/>
                <a:gd name="connsiteX25" fmla="*/ 281175 w 1521472"/>
                <a:gd name="connsiteY25" fmla="*/ 118458 h 198000"/>
                <a:gd name="connsiteX26" fmla="*/ 271414 w 1521472"/>
                <a:gd name="connsiteY26" fmla="*/ 116290 h 198000"/>
                <a:gd name="connsiteX27" fmla="*/ 253658 w 1521472"/>
                <a:gd name="connsiteY27" fmla="*/ 97055 h 198000"/>
                <a:gd name="connsiteX28" fmla="*/ 277918 w 1521472"/>
                <a:gd name="connsiteY28" fmla="*/ 75770 h 198000"/>
                <a:gd name="connsiteX29" fmla="*/ 303401 w 1521472"/>
                <a:gd name="connsiteY29" fmla="*/ 94203 h 198000"/>
                <a:gd name="connsiteX30" fmla="*/ 290120 w 1521472"/>
                <a:gd name="connsiteY30" fmla="*/ 98000 h 198000"/>
                <a:gd name="connsiteX31" fmla="*/ 277923 w 1521472"/>
                <a:gd name="connsiteY31" fmla="*/ 88100 h 198000"/>
                <a:gd name="connsiteX32" fmla="*/ 268434 w 1521472"/>
                <a:gd name="connsiteY32" fmla="*/ 95688 h 198000"/>
                <a:gd name="connsiteX33" fmla="*/ 275077 w 1521472"/>
                <a:gd name="connsiteY33" fmla="*/ 102604 h 198000"/>
                <a:gd name="connsiteX34" fmla="*/ 285105 w 1521472"/>
                <a:gd name="connsiteY34" fmla="*/ 104643 h 198000"/>
                <a:gd name="connsiteX35" fmla="*/ 304084 w 1521472"/>
                <a:gd name="connsiteY35" fmla="*/ 124705 h 198000"/>
                <a:gd name="connsiteX36" fmla="*/ 279141 w 1521472"/>
                <a:gd name="connsiteY36" fmla="*/ 145847 h 198000"/>
                <a:gd name="connsiteX37" fmla="*/ 378190 w 1521472"/>
                <a:gd name="connsiteY37" fmla="*/ 143807 h 198000"/>
                <a:gd name="connsiteX38" fmla="*/ 362469 w 1521472"/>
                <a:gd name="connsiteY38" fmla="*/ 143807 h 198000"/>
                <a:gd name="connsiteX39" fmla="*/ 362469 w 1521472"/>
                <a:gd name="connsiteY39" fmla="*/ 104772 h 198000"/>
                <a:gd name="connsiteX40" fmla="*/ 348916 w 1521472"/>
                <a:gd name="connsiteY40" fmla="*/ 90135 h 198000"/>
                <a:gd name="connsiteX41" fmla="*/ 335224 w 1521472"/>
                <a:gd name="connsiteY41" fmla="*/ 105727 h 198000"/>
                <a:gd name="connsiteX42" fmla="*/ 335224 w 1521472"/>
                <a:gd name="connsiteY42" fmla="*/ 143812 h 198000"/>
                <a:gd name="connsiteX43" fmla="*/ 319503 w 1521472"/>
                <a:gd name="connsiteY43" fmla="*/ 143812 h 198000"/>
                <a:gd name="connsiteX44" fmla="*/ 319503 w 1521472"/>
                <a:gd name="connsiteY44" fmla="*/ 77794 h 198000"/>
                <a:gd name="connsiteX45" fmla="*/ 334818 w 1521472"/>
                <a:gd name="connsiteY45" fmla="*/ 77794 h 198000"/>
                <a:gd name="connsiteX46" fmla="*/ 334818 w 1521472"/>
                <a:gd name="connsiteY46" fmla="*/ 86610 h 198000"/>
                <a:gd name="connsiteX47" fmla="*/ 354336 w 1521472"/>
                <a:gd name="connsiteY47" fmla="*/ 75908 h 198000"/>
                <a:gd name="connsiteX48" fmla="*/ 378190 w 1521472"/>
                <a:gd name="connsiteY48" fmla="*/ 102064 h 198000"/>
                <a:gd name="connsiteX49" fmla="*/ 378190 w 1521472"/>
                <a:gd name="connsiteY49" fmla="*/ 143807 h 198000"/>
                <a:gd name="connsiteX50" fmla="*/ 412573 w 1521472"/>
                <a:gd name="connsiteY50" fmla="*/ 143807 h 198000"/>
                <a:gd name="connsiteX51" fmla="*/ 396985 w 1521472"/>
                <a:gd name="connsiteY51" fmla="*/ 143807 h 198000"/>
                <a:gd name="connsiteX52" fmla="*/ 396985 w 1521472"/>
                <a:gd name="connsiteY52" fmla="*/ 77794 h 198000"/>
                <a:gd name="connsiteX53" fmla="*/ 412573 w 1521472"/>
                <a:gd name="connsiteY53" fmla="*/ 77794 h 198000"/>
                <a:gd name="connsiteX54" fmla="*/ 412573 w 1521472"/>
                <a:gd name="connsiteY54" fmla="*/ 143807 h 198000"/>
                <a:gd name="connsiteX55" fmla="*/ 404712 w 1521472"/>
                <a:gd name="connsiteY55" fmla="*/ 64781 h 198000"/>
                <a:gd name="connsiteX56" fmla="*/ 394545 w 1521472"/>
                <a:gd name="connsiteY56" fmla="*/ 54618 h 198000"/>
                <a:gd name="connsiteX57" fmla="*/ 404712 w 1521472"/>
                <a:gd name="connsiteY57" fmla="*/ 44317 h 198000"/>
                <a:gd name="connsiteX58" fmla="*/ 415013 w 1521472"/>
                <a:gd name="connsiteY58" fmla="*/ 54618 h 198000"/>
                <a:gd name="connsiteX59" fmla="*/ 404712 w 1521472"/>
                <a:gd name="connsiteY59" fmla="*/ 64781 h 198000"/>
                <a:gd name="connsiteX60" fmla="*/ 471384 w 1521472"/>
                <a:gd name="connsiteY60" fmla="*/ 143807 h 198000"/>
                <a:gd name="connsiteX61" fmla="*/ 470706 w 1521472"/>
                <a:gd name="connsiteY61" fmla="*/ 135402 h 198000"/>
                <a:gd name="connsiteX62" fmla="*/ 450376 w 1521472"/>
                <a:gd name="connsiteY62" fmla="*/ 145842 h 198000"/>
                <a:gd name="connsiteX63" fmla="*/ 428012 w 1521472"/>
                <a:gd name="connsiteY63" fmla="*/ 125913 h 198000"/>
                <a:gd name="connsiteX64" fmla="*/ 447936 w 1521472"/>
                <a:gd name="connsiteY64" fmla="*/ 105984 h 198000"/>
                <a:gd name="connsiteX65" fmla="*/ 464880 w 1521472"/>
                <a:gd name="connsiteY65" fmla="*/ 103415 h 198000"/>
                <a:gd name="connsiteX66" fmla="*/ 469760 w 1521472"/>
                <a:gd name="connsiteY66" fmla="*/ 98678 h 198000"/>
                <a:gd name="connsiteX67" fmla="*/ 457291 w 1521472"/>
                <a:gd name="connsiteY67" fmla="*/ 88640 h 198000"/>
                <a:gd name="connsiteX68" fmla="*/ 443738 w 1521472"/>
                <a:gd name="connsiteY68" fmla="*/ 100569 h 198000"/>
                <a:gd name="connsiteX69" fmla="*/ 429368 w 1521472"/>
                <a:gd name="connsiteY69" fmla="*/ 97317 h 198000"/>
                <a:gd name="connsiteX70" fmla="*/ 457153 w 1521472"/>
                <a:gd name="connsiteY70" fmla="*/ 75770 h 198000"/>
                <a:gd name="connsiteX71" fmla="*/ 485209 w 1521472"/>
                <a:gd name="connsiteY71" fmla="*/ 100440 h 198000"/>
                <a:gd name="connsiteX72" fmla="*/ 485209 w 1521472"/>
                <a:gd name="connsiteY72" fmla="*/ 133244 h 198000"/>
                <a:gd name="connsiteX73" fmla="*/ 486021 w 1521472"/>
                <a:gd name="connsiteY73" fmla="*/ 143817 h 198000"/>
                <a:gd name="connsiteX74" fmla="*/ 471384 w 1521472"/>
                <a:gd name="connsiteY74" fmla="*/ 143817 h 198000"/>
                <a:gd name="connsiteX75" fmla="*/ 599005 w 1521472"/>
                <a:gd name="connsiteY75" fmla="*/ 143807 h 198000"/>
                <a:gd name="connsiteX76" fmla="*/ 588159 w 1521472"/>
                <a:gd name="connsiteY76" fmla="*/ 132422 h 198000"/>
                <a:gd name="connsiteX77" fmla="*/ 561865 w 1521472"/>
                <a:gd name="connsiteY77" fmla="*/ 145565 h 198000"/>
                <a:gd name="connsiteX78" fmla="*/ 533264 w 1521472"/>
                <a:gd name="connsiteY78" fmla="*/ 120364 h 198000"/>
                <a:gd name="connsiteX79" fmla="*/ 549935 w 1521472"/>
                <a:gd name="connsiteY79" fmla="*/ 93798 h 198000"/>
                <a:gd name="connsiteX80" fmla="*/ 550886 w 1521472"/>
                <a:gd name="connsiteY80" fmla="*/ 93114 h 198000"/>
                <a:gd name="connsiteX81" fmla="*/ 549257 w 1521472"/>
                <a:gd name="connsiteY81" fmla="*/ 91347 h 198000"/>
                <a:gd name="connsiteX82" fmla="*/ 538278 w 1521472"/>
                <a:gd name="connsiteY82" fmla="*/ 70201 h 198000"/>
                <a:gd name="connsiteX83" fmla="*/ 564033 w 1521472"/>
                <a:gd name="connsiteY83" fmla="*/ 45674 h 198000"/>
                <a:gd name="connsiteX84" fmla="*/ 590327 w 1521472"/>
                <a:gd name="connsiteY84" fmla="*/ 69528 h 198000"/>
                <a:gd name="connsiteX85" fmla="*/ 576774 w 1521472"/>
                <a:gd name="connsiteY85" fmla="*/ 91214 h 198000"/>
                <a:gd name="connsiteX86" fmla="*/ 572572 w 1521472"/>
                <a:gd name="connsiteY86" fmla="*/ 94337 h 198000"/>
                <a:gd name="connsiteX87" fmla="*/ 588565 w 1521472"/>
                <a:gd name="connsiteY87" fmla="*/ 111004 h 198000"/>
                <a:gd name="connsiteX88" fmla="*/ 611474 w 1521472"/>
                <a:gd name="connsiteY88" fmla="*/ 86333 h 198000"/>
                <a:gd name="connsiteX89" fmla="*/ 611474 w 1521472"/>
                <a:gd name="connsiteY89" fmla="*/ 106663 h 198000"/>
                <a:gd name="connsiteX90" fmla="*/ 598327 w 1521472"/>
                <a:gd name="connsiteY90" fmla="*/ 121161 h 198000"/>
                <a:gd name="connsiteX91" fmla="*/ 620013 w 1521472"/>
                <a:gd name="connsiteY91" fmla="*/ 143802 h 198000"/>
                <a:gd name="connsiteX92" fmla="*/ 599005 w 1521472"/>
                <a:gd name="connsiteY92" fmla="*/ 143802 h 198000"/>
                <a:gd name="connsiteX93" fmla="*/ 743832 w 1521472"/>
                <a:gd name="connsiteY93" fmla="*/ 143807 h 198000"/>
                <a:gd name="connsiteX94" fmla="*/ 727433 w 1521472"/>
                <a:gd name="connsiteY94" fmla="*/ 143807 h 198000"/>
                <a:gd name="connsiteX95" fmla="*/ 727433 w 1521472"/>
                <a:gd name="connsiteY95" fmla="*/ 102732 h 198000"/>
                <a:gd name="connsiteX96" fmla="*/ 682299 w 1521472"/>
                <a:gd name="connsiteY96" fmla="*/ 102732 h 198000"/>
                <a:gd name="connsiteX97" fmla="*/ 682299 w 1521472"/>
                <a:gd name="connsiteY97" fmla="*/ 143807 h 198000"/>
                <a:gd name="connsiteX98" fmla="*/ 666033 w 1521472"/>
                <a:gd name="connsiteY98" fmla="*/ 143807 h 198000"/>
                <a:gd name="connsiteX99" fmla="*/ 666033 w 1521472"/>
                <a:gd name="connsiteY99" fmla="*/ 47713 h 198000"/>
                <a:gd name="connsiteX100" fmla="*/ 682299 w 1521472"/>
                <a:gd name="connsiteY100" fmla="*/ 47713 h 198000"/>
                <a:gd name="connsiteX101" fmla="*/ 682299 w 1521472"/>
                <a:gd name="connsiteY101" fmla="*/ 87422 h 198000"/>
                <a:gd name="connsiteX102" fmla="*/ 727433 w 1521472"/>
                <a:gd name="connsiteY102" fmla="*/ 87422 h 198000"/>
                <a:gd name="connsiteX103" fmla="*/ 727433 w 1521472"/>
                <a:gd name="connsiteY103" fmla="*/ 47713 h 198000"/>
                <a:gd name="connsiteX104" fmla="*/ 743832 w 1521472"/>
                <a:gd name="connsiteY104" fmla="*/ 47713 h 198000"/>
                <a:gd name="connsiteX105" fmla="*/ 743832 w 1521472"/>
                <a:gd name="connsiteY105" fmla="*/ 143807 h 198000"/>
                <a:gd name="connsiteX106" fmla="*/ 824022 w 1521472"/>
                <a:gd name="connsiteY106" fmla="*/ 115073 h 198000"/>
                <a:gd name="connsiteX107" fmla="*/ 775769 w 1521472"/>
                <a:gd name="connsiteY107" fmla="*/ 115073 h 198000"/>
                <a:gd name="connsiteX108" fmla="*/ 793802 w 1521472"/>
                <a:gd name="connsiteY108" fmla="*/ 132294 h 198000"/>
                <a:gd name="connsiteX109" fmla="*/ 810340 w 1521472"/>
                <a:gd name="connsiteY109" fmla="*/ 120770 h 198000"/>
                <a:gd name="connsiteX110" fmla="*/ 823621 w 1521472"/>
                <a:gd name="connsiteY110" fmla="*/ 124968 h 198000"/>
                <a:gd name="connsiteX111" fmla="*/ 793802 w 1521472"/>
                <a:gd name="connsiteY111" fmla="*/ 145852 h 198000"/>
                <a:gd name="connsiteX112" fmla="*/ 760048 w 1521472"/>
                <a:gd name="connsiteY112" fmla="*/ 110469 h 198000"/>
                <a:gd name="connsiteX113" fmla="*/ 792179 w 1521472"/>
                <a:gd name="connsiteY113" fmla="*/ 75770 h 198000"/>
                <a:gd name="connsiteX114" fmla="*/ 824438 w 1521472"/>
                <a:gd name="connsiteY114" fmla="*/ 110068 h 198000"/>
                <a:gd name="connsiteX115" fmla="*/ 824022 w 1521472"/>
                <a:gd name="connsiteY115" fmla="*/ 115073 h 198000"/>
                <a:gd name="connsiteX116" fmla="*/ 878339 w 1521472"/>
                <a:gd name="connsiteY116" fmla="*/ 93387 h 198000"/>
                <a:gd name="connsiteX117" fmla="*/ 873186 w 1521472"/>
                <a:gd name="connsiteY117" fmla="*/ 92976 h 198000"/>
                <a:gd name="connsiteX118" fmla="*/ 855430 w 1521472"/>
                <a:gd name="connsiteY118" fmla="*/ 112365 h 198000"/>
                <a:gd name="connsiteX119" fmla="*/ 855430 w 1521472"/>
                <a:gd name="connsiteY119" fmla="*/ 143812 h 198000"/>
                <a:gd name="connsiteX120" fmla="*/ 839709 w 1521472"/>
                <a:gd name="connsiteY120" fmla="*/ 143812 h 198000"/>
                <a:gd name="connsiteX121" fmla="*/ 839709 w 1521472"/>
                <a:gd name="connsiteY121" fmla="*/ 77794 h 198000"/>
                <a:gd name="connsiteX122" fmla="*/ 855024 w 1521472"/>
                <a:gd name="connsiteY122" fmla="*/ 77794 h 198000"/>
                <a:gd name="connsiteX123" fmla="*/ 855024 w 1521472"/>
                <a:gd name="connsiteY123" fmla="*/ 88377 h 198000"/>
                <a:gd name="connsiteX124" fmla="*/ 874136 w 1521472"/>
                <a:gd name="connsiteY124" fmla="*/ 76992 h 198000"/>
                <a:gd name="connsiteX125" fmla="*/ 878339 w 1521472"/>
                <a:gd name="connsiteY125" fmla="*/ 77393 h 198000"/>
                <a:gd name="connsiteX126" fmla="*/ 878339 w 1521472"/>
                <a:gd name="connsiteY126" fmla="*/ 93387 h 198000"/>
                <a:gd name="connsiteX127" fmla="*/ 941065 w 1521472"/>
                <a:gd name="connsiteY127" fmla="*/ 143807 h 198000"/>
                <a:gd name="connsiteX128" fmla="*/ 887120 w 1521472"/>
                <a:gd name="connsiteY128" fmla="*/ 143807 h 198000"/>
                <a:gd name="connsiteX129" fmla="*/ 887120 w 1521472"/>
                <a:gd name="connsiteY129" fmla="*/ 130121 h 198000"/>
                <a:gd name="connsiteX130" fmla="*/ 920602 w 1521472"/>
                <a:gd name="connsiteY130" fmla="*/ 91625 h 198000"/>
                <a:gd name="connsiteX131" fmla="*/ 887798 w 1521472"/>
                <a:gd name="connsiteY131" fmla="*/ 91625 h 198000"/>
                <a:gd name="connsiteX132" fmla="*/ 887798 w 1521472"/>
                <a:gd name="connsiteY132" fmla="*/ 77789 h 198000"/>
                <a:gd name="connsiteX133" fmla="*/ 940387 w 1521472"/>
                <a:gd name="connsiteY133" fmla="*/ 77789 h 198000"/>
                <a:gd name="connsiteX134" fmla="*/ 940387 w 1521472"/>
                <a:gd name="connsiteY134" fmla="*/ 91080 h 198000"/>
                <a:gd name="connsiteX135" fmla="*/ 906499 w 1521472"/>
                <a:gd name="connsiteY135" fmla="*/ 129977 h 198000"/>
                <a:gd name="connsiteX136" fmla="*/ 941060 w 1521472"/>
                <a:gd name="connsiteY136" fmla="*/ 129977 h 198000"/>
                <a:gd name="connsiteX137" fmla="*/ 941060 w 1521472"/>
                <a:gd name="connsiteY137" fmla="*/ 143807 h 198000"/>
                <a:gd name="connsiteX138" fmla="*/ 1015855 w 1521472"/>
                <a:gd name="connsiteY138" fmla="*/ 115073 h 198000"/>
                <a:gd name="connsiteX139" fmla="*/ 967602 w 1521472"/>
                <a:gd name="connsiteY139" fmla="*/ 115073 h 198000"/>
                <a:gd name="connsiteX140" fmla="*/ 985630 w 1521472"/>
                <a:gd name="connsiteY140" fmla="*/ 132294 h 198000"/>
                <a:gd name="connsiteX141" fmla="*/ 1002168 w 1521472"/>
                <a:gd name="connsiteY141" fmla="*/ 120770 h 198000"/>
                <a:gd name="connsiteX142" fmla="*/ 1015449 w 1521472"/>
                <a:gd name="connsiteY142" fmla="*/ 124968 h 198000"/>
                <a:gd name="connsiteX143" fmla="*/ 985630 w 1521472"/>
                <a:gd name="connsiteY143" fmla="*/ 145852 h 198000"/>
                <a:gd name="connsiteX144" fmla="*/ 951881 w 1521472"/>
                <a:gd name="connsiteY144" fmla="*/ 110469 h 198000"/>
                <a:gd name="connsiteX145" fmla="*/ 984006 w 1521472"/>
                <a:gd name="connsiteY145" fmla="*/ 75770 h 198000"/>
                <a:gd name="connsiteX146" fmla="*/ 1016265 w 1521472"/>
                <a:gd name="connsiteY146" fmla="*/ 110068 h 198000"/>
                <a:gd name="connsiteX147" fmla="*/ 1015855 w 1521472"/>
                <a:gd name="connsiteY147" fmla="*/ 115073 h 198000"/>
                <a:gd name="connsiteX148" fmla="*/ 1092669 w 1521472"/>
                <a:gd name="connsiteY148" fmla="*/ 137575 h 198000"/>
                <a:gd name="connsiteX149" fmla="*/ 1058781 w 1521472"/>
                <a:gd name="connsiteY149" fmla="*/ 171592 h 198000"/>
                <a:gd name="connsiteX150" fmla="*/ 1027334 w 1521472"/>
                <a:gd name="connsiteY150" fmla="*/ 147475 h 198000"/>
                <a:gd name="connsiteX151" fmla="*/ 1041832 w 1521472"/>
                <a:gd name="connsiteY151" fmla="*/ 143679 h 198000"/>
                <a:gd name="connsiteX152" fmla="*/ 1058370 w 1521472"/>
                <a:gd name="connsiteY152" fmla="*/ 157905 h 198000"/>
                <a:gd name="connsiteX153" fmla="*/ 1077076 w 1521472"/>
                <a:gd name="connsiteY153" fmla="*/ 138115 h 198000"/>
                <a:gd name="connsiteX154" fmla="*/ 1077076 w 1521472"/>
                <a:gd name="connsiteY154" fmla="*/ 131205 h 198000"/>
                <a:gd name="connsiteX155" fmla="*/ 1057969 w 1521472"/>
                <a:gd name="connsiteY155" fmla="*/ 140823 h 198000"/>
                <a:gd name="connsiteX156" fmla="*/ 1027467 w 1521472"/>
                <a:gd name="connsiteY156" fmla="*/ 108692 h 198000"/>
                <a:gd name="connsiteX157" fmla="*/ 1057969 w 1521472"/>
                <a:gd name="connsiteY157" fmla="*/ 76572 h 198000"/>
                <a:gd name="connsiteX158" fmla="*/ 1077487 w 1521472"/>
                <a:gd name="connsiteY158" fmla="*/ 86199 h 198000"/>
                <a:gd name="connsiteX159" fmla="*/ 1077487 w 1521472"/>
                <a:gd name="connsiteY159" fmla="*/ 77784 h 198000"/>
                <a:gd name="connsiteX160" fmla="*/ 1092669 w 1521472"/>
                <a:gd name="connsiteY160" fmla="*/ 77784 h 198000"/>
                <a:gd name="connsiteX161" fmla="*/ 1092669 w 1521472"/>
                <a:gd name="connsiteY161" fmla="*/ 137575 h 198000"/>
                <a:gd name="connsiteX162" fmla="*/ 1142095 w 1521472"/>
                <a:gd name="connsiteY162" fmla="*/ 145847 h 198000"/>
                <a:gd name="connsiteX163" fmla="*/ 1107939 w 1521472"/>
                <a:gd name="connsiteY163" fmla="*/ 110736 h 198000"/>
                <a:gd name="connsiteX164" fmla="*/ 1142095 w 1521472"/>
                <a:gd name="connsiteY164" fmla="*/ 75765 h 198000"/>
                <a:gd name="connsiteX165" fmla="*/ 1176388 w 1521472"/>
                <a:gd name="connsiteY165" fmla="*/ 110736 h 198000"/>
                <a:gd name="connsiteX166" fmla="*/ 1142095 w 1521472"/>
                <a:gd name="connsiteY166" fmla="*/ 145847 h 198000"/>
                <a:gd name="connsiteX167" fmla="*/ 1224334 w 1521472"/>
                <a:gd name="connsiteY167" fmla="*/ 143807 h 198000"/>
                <a:gd name="connsiteX168" fmla="*/ 1208613 w 1521472"/>
                <a:gd name="connsiteY168" fmla="*/ 143807 h 198000"/>
                <a:gd name="connsiteX169" fmla="*/ 1181774 w 1521472"/>
                <a:gd name="connsiteY169" fmla="*/ 77794 h 198000"/>
                <a:gd name="connsiteX170" fmla="*/ 1199123 w 1521472"/>
                <a:gd name="connsiteY170" fmla="*/ 77794 h 198000"/>
                <a:gd name="connsiteX171" fmla="*/ 1216602 w 1521472"/>
                <a:gd name="connsiteY171" fmla="*/ 124963 h 198000"/>
                <a:gd name="connsiteX172" fmla="*/ 1233679 w 1521472"/>
                <a:gd name="connsiteY172" fmla="*/ 77794 h 198000"/>
                <a:gd name="connsiteX173" fmla="*/ 1250217 w 1521472"/>
                <a:gd name="connsiteY173" fmla="*/ 77794 h 198000"/>
                <a:gd name="connsiteX174" fmla="*/ 1224334 w 1521472"/>
                <a:gd name="connsiteY174" fmla="*/ 143807 h 198000"/>
                <a:gd name="connsiteX175" fmla="*/ 1278234 w 1521472"/>
                <a:gd name="connsiteY175" fmla="*/ 143807 h 198000"/>
                <a:gd name="connsiteX176" fmla="*/ 1262647 w 1521472"/>
                <a:gd name="connsiteY176" fmla="*/ 143807 h 198000"/>
                <a:gd name="connsiteX177" fmla="*/ 1262647 w 1521472"/>
                <a:gd name="connsiteY177" fmla="*/ 77794 h 198000"/>
                <a:gd name="connsiteX178" fmla="*/ 1278234 w 1521472"/>
                <a:gd name="connsiteY178" fmla="*/ 77794 h 198000"/>
                <a:gd name="connsiteX179" fmla="*/ 1278234 w 1521472"/>
                <a:gd name="connsiteY179" fmla="*/ 143807 h 198000"/>
                <a:gd name="connsiteX180" fmla="*/ 1270374 w 1521472"/>
                <a:gd name="connsiteY180" fmla="*/ 64781 h 198000"/>
                <a:gd name="connsiteX181" fmla="*/ 1260207 w 1521472"/>
                <a:gd name="connsiteY181" fmla="*/ 54618 h 198000"/>
                <a:gd name="connsiteX182" fmla="*/ 1270374 w 1521472"/>
                <a:gd name="connsiteY182" fmla="*/ 44317 h 198000"/>
                <a:gd name="connsiteX183" fmla="*/ 1280675 w 1521472"/>
                <a:gd name="connsiteY183" fmla="*/ 54618 h 198000"/>
                <a:gd name="connsiteX184" fmla="*/ 1270374 w 1521472"/>
                <a:gd name="connsiteY184" fmla="*/ 64781 h 198000"/>
                <a:gd name="connsiteX185" fmla="*/ 1356425 w 1521472"/>
                <a:gd name="connsiteY185" fmla="*/ 143807 h 198000"/>
                <a:gd name="connsiteX186" fmla="*/ 1340703 w 1521472"/>
                <a:gd name="connsiteY186" fmla="*/ 143807 h 198000"/>
                <a:gd name="connsiteX187" fmla="*/ 1340703 w 1521472"/>
                <a:gd name="connsiteY187" fmla="*/ 104772 h 198000"/>
                <a:gd name="connsiteX188" fmla="*/ 1327150 w 1521472"/>
                <a:gd name="connsiteY188" fmla="*/ 90135 h 198000"/>
                <a:gd name="connsiteX189" fmla="*/ 1313459 w 1521472"/>
                <a:gd name="connsiteY189" fmla="*/ 105727 h 198000"/>
                <a:gd name="connsiteX190" fmla="*/ 1313459 w 1521472"/>
                <a:gd name="connsiteY190" fmla="*/ 143812 h 198000"/>
                <a:gd name="connsiteX191" fmla="*/ 1297737 w 1521472"/>
                <a:gd name="connsiteY191" fmla="*/ 143812 h 198000"/>
                <a:gd name="connsiteX192" fmla="*/ 1297737 w 1521472"/>
                <a:gd name="connsiteY192" fmla="*/ 77794 h 198000"/>
                <a:gd name="connsiteX193" fmla="*/ 1313053 w 1521472"/>
                <a:gd name="connsiteY193" fmla="*/ 77794 h 198000"/>
                <a:gd name="connsiteX194" fmla="*/ 1313053 w 1521472"/>
                <a:gd name="connsiteY194" fmla="*/ 86610 h 198000"/>
                <a:gd name="connsiteX195" fmla="*/ 1332571 w 1521472"/>
                <a:gd name="connsiteY195" fmla="*/ 75908 h 198000"/>
                <a:gd name="connsiteX196" fmla="*/ 1356425 w 1521472"/>
                <a:gd name="connsiteY196" fmla="*/ 102064 h 198000"/>
                <a:gd name="connsiteX197" fmla="*/ 1356425 w 1521472"/>
                <a:gd name="connsiteY197" fmla="*/ 143807 h 198000"/>
                <a:gd name="connsiteX198" fmla="*/ 1414533 w 1521472"/>
                <a:gd name="connsiteY198" fmla="*/ 143807 h 198000"/>
                <a:gd name="connsiteX199" fmla="*/ 1413855 w 1521472"/>
                <a:gd name="connsiteY199" fmla="*/ 135402 h 198000"/>
                <a:gd name="connsiteX200" fmla="*/ 1393525 w 1521472"/>
                <a:gd name="connsiteY200" fmla="*/ 145842 h 198000"/>
                <a:gd name="connsiteX201" fmla="*/ 1371161 w 1521472"/>
                <a:gd name="connsiteY201" fmla="*/ 125913 h 198000"/>
                <a:gd name="connsiteX202" fmla="*/ 1391085 w 1521472"/>
                <a:gd name="connsiteY202" fmla="*/ 105984 h 198000"/>
                <a:gd name="connsiteX203" fmla="*/ 1408028 w 1521472"/>
                <a:gd name="connsiteY203" fmla="*/ 103415 h 198000"/>
                <a:gd name="connsiteX204" fmla="*/ 1412909 w 1521472"/>
                <a:gd name="connsiteY204" fmla="*/ 98678 h 198000"/>
                <a:gd name="connsiteX205" fmla="*/ 1400440 w 1521472"/>
                <a:gd name="connsiteY205" fmla="*/ 88640 h 198000"/>
                <a:gd name="connsiteX206" fmla="*/ 1386887 w 1521472"/>
                <a:gd name="connsiteY206" fmla="*/ 100569 h 198000"/>
                <a:gd name="connsiteX207" fmla="*/ 1372517 w 1521472"/>
                <a:gd name="connsiteY207" fmla="*/ 97317 h 198000"/>
                <a:gd name="connsiteX208" fmla="*/ 1400301 w 1521472"/>
                <a:gd name="connsiteY208" fmla="*/ 75770 h 198000"/>
                <a:gd name="connsiteX209" fmla="*/ 1428358 w 1521472"/>
                <a:gd name="connsiteY209" fmla="*/ 100440 h 198000"/>
                <a:gd name="connsiteX210" fmla="*/ 1428358 w 1521472"/>
                <a:gd name="connsiteY210" fmla="*/ 133244 h 198000"/>
                <a:gd name="connsiteX211" fmla="*/ 1429170 w 1521472"/>
                <a:gd name="connsiteY211" fmla="*/ 143817 h 198000"/>
                <a:gd name="connsiteX212" fmla="*/ 1414533 w 1521472"/>
                <a:gd name="connsiteY212" fmla="*/ 143817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1521472" h="198000">
                  <a:moveTo>
                    <a:pt x="1422473" y="0"/>
                  </a:moveTo>
                  <a:lnTo>
                    <a:pt x="99000" y="0"/>
                  </a:lnTo>
                  <a:cubicBezTo>
                    <a:pt x="44322" y="0"/>
                    <a:pt x="0" y="44327"/>
                    <a:pt x="0" y="99000"/>
                  </a:cubicBezTo>
                  <a:cubicBezTo>
                    <a:pt x="0" y="153673"/>
                    <a:pt x="44322" y="198000"/>
                    <a:pt x="99000" y="198000"/>
                  </a:cubicBezTo>
                  <a:lnTo>
                    <a:pt x="1422473" y="198000"/>
                  </a:lnTo>
                  <a:cubicBezTo>
                    <a:pt x="1477150" y="198000"/>
                    <a:pt x="1521473" y="153673"/>
                    <a:pt x="1521473" y="99000"/>
                  </a:cubicBezTo>
                  <a:cubicBezTo>
                    <a:pt x="1521473" y="44327"/>
                    <a:pt x="1477145" y="0"/>
                    <a:pt x="1422473" y="0"/>
                  </a:cubicBezTo>
                  <a:close/>
                  <a:moveTo>
                    <a:pt x="130942" y="143807"/>
                  </a:moveTo>
                  <a:lnTo>
                    <a:pt x="95431" y="143807"/>
                  </a:lnTo>
                  <a:lnTo>
                    <a:pt x="95431" y="47713"/>
                  </a:lnTo>
                  <a:lnTo>
                    <a:pt x="128502" y="47713"/>
                  </a:lnTo>
                  <a:cubicBezTo>
                    <a:pt x="146936" y="47713"/>
                    <a:pt x="157781" y="58559"/>
                    <a:pt x="157781" y="73597"/>
                  </a:cubicBezTo>
                  <a:cubicBezTo>
                    <a:pt x="157781" y="83759"/>
                    <a:pt x="151817" y="91347"/>
                    <a:pt x="143555" y="94337"/>
                  </a:cubicBezTo>
                  <a:cubicBezTo>
                    <a:pt x="153717" y="97050"/>
                    <a:pt x="160766" y="105856"/>
                    <a:pt x="160766" y="117241"/>
                  </a:cubicBezTo>
                  <a:cubicBezTo>
                    <a:pt x="160761" y="132695"/>
                    <a:pt x="148832" y="143807"/>
                    <a:pt x="130942" y="143807"/>
                  </a:cubicBezTo>
                  <a:close/>
                  <a:moveTo>
                    <a:pt x="206940" y="145847"/>
                  </a:moveTo>
                  <a:cubicBezTo>
                    <a:pt x="187288" y="145847"/>
                    <a:pt x="172785" y="131066"/>
                    <a:pt x="172785" y="110736"/>
                  </a:cubicBezTo>
                  <a:cubicBezTo>
                    <a:pt x="172785" y="90545"/>
                    <a:pt x="187288" y="75765"/>
                    <a:pt x="206940" y="75765"/>
                  </a:cubicBezTo>
                  <a:cubicBezTo>
                    <a:pt x="226730" y="75765"/>
                    <a:pt x="241233" y="90545"/>
                    <a:pt x="241233" y="110736"/>
                  </a:cubicBezTo>
                  <a:cubicBezTo>
                    <a:pt x="241229" y="131066"/>
                    <a:pt x="226725" y="145847"/>
                    <a:pt x="206940" y="145847"/>
                  </a:cubicBezTo>
                  <a:close/>
                  <a:moveTo>
                    <a:pt x="279141" y="145847"/>
                  </a:moveTo>
                  <a:cubicBezTo>
                    <a:pt x="260029" y="145847"/>
                    <a:pt x="252708" y="133378"/>
                    <a:pt x="251896" y="125918"/>
                  </a:cubicBezTo>
                  <a:lnTo>
                    <a:pt x="265587" y="122121"/>
                  </a:lnTo>
                  <a:cubicBezTo>
                    <a:pt x="266132" y="128086"/>
                    <a:pt x="270602" y="133378"/>
                    <a:pt x="279007" y="133378"/>
                  </a:cubicBezTo>
                  <a:cubicBezTo>
                    <a:pt x="285511" y="133378"/>
                    <a:pt x="288902" y="129843"/>
                    <a:pt x="288902" y="125789"/>
                  </a:cubicBezTo>
                  <a:cubicBezTo>
                    <a:pt x="288902" y="122255"/>
                    <a:pt x="286462" y="119547"/>
                    <a:pt x="281175" y="118458"/>
                  </a:cubicBezTo>
                  <a:lnTo>
                    <a:pt x="271414" y="116290"/>
                  </a:lnTo>
                  <a:cubicBezTo>
                    <a:pt x="259756" y="113721"/>
                    <a:pt x="253658" y="106128"/>
                    <a:pt x="253658" y="97055"/>
                  </a:cubicBezTo>
                  <a:cubicBezTo>
                    <a:pt x="253658" y="85531"/>
                    <a:pt x="264231" y="75770"/>
                    <a:pt x="277918" y="75770"/>
                  </a:cubicBezTo>
                  <a:cubicBezTo>
                    <a:pt x="296352" y="75770"/>
                    <a:pt x="302317" y="87699"/>
                    <a:pt x="303401" y="94203"/>
                  </a:cubicBezTo>
                  <a:lnTo>
                    <a:pt x="290120" y="98000"/>
                  </a:lnTo>
                  <a:cubicBezTo>
                    <a:pt x="289575" y="94203"/>
                    <a:pt x="286729" y="88100"/>
                    <a:pt x="277923" y="88100"/>
                  </a:cubicBezTo>
                  <a:cubicBezTo>
                    <a:pt x="272364" y="88100"/>
                    <a:pt x="268434" y="91634"/>
                    <a:pt x="268434" y="95688"/>
                  </a:cubicBezTo>
                  <a:cubicBezTo>
                    <a:pt x="268434" y="99223"/>
                    <a:pt x="271008" y="101792"/>
                    <a:pt x="275077" y="102604"/>
                  </a:cubicBezTo>
                  <a:lnTo>
                    <a:pt x="285105" y="104643"/>
                  </a:lnTo>
                  <a:cubicBezTo>
                    <a:pt x="297574" y="107356"/>
                    <a:pt x="304084" y="114944"/>
                    <a:pt x="304084" y="124705"/>
                  </a:cubicBezTo>
                  <a:cubicBezTo>
                    <a:pt x="304079" y="134724"/>
                    <a:pt x="295946" y="145847"/>
                    <a:pt x="279141" y="145847"/>
                  </a:cubicBezTo>
                  <a:close/>
                  <a:moveTo>
                    <a:pt x="378190" y="143807"/>
                  </a:moveTo>
                  <a:lnTo>
                    <a:pt x="362469" y="143807"/>
                  </a:lnTo>
                  <a:lnTo>
                    <a:pt x="362469" y="104772"/>
                  </a:lnTo>
                  <a:cubicBezTo>
                    <a:pt x="362469" y="96639"/>
                    <a:pt x="358811" y="90135"/>
                    <a:pt x="348916" y="90135"/>
                  </a:cubicBezTo>
                  <a:cubicBezTo>
                    <a:pt x="339971" y="90135"/>
                    <a:pt x="335224" y="97050"/>
                    <a:pt x="335224" y="105727"/>
                  </a:cubicBezTo>
                  <a:lnTo>
                    <a:pt x="335224" y="143812"/>
                  </a:lnTo>
                  <a:lnTo>
                    <a:pt x="319503" y="143812"/>
                  </a:lnTo>
                  <a:lnTo>
                    <a:pt x="319503" y="77794"/>
                  </a:lnTo>
                  <a:lnTo>
                    <a:pt x="334818" y="77794"/>
                  </a:lnTo>
                  <a:lnTo>
                    <a:pt x="334818" y="86610"/>
                  </a:lnTo>
                  <a:cubicBezTo>
                    <a:pt x="339154" y="79022"/>
                    <a:pt x="347015" y="75908"/>
                    <a:pt x="354336" y="75908"/>
                  </a:cubicBezTo>
                  <a:cubicBezTo>
                    <a:pt x="370468" y="75908"/>
                    <a:pt x="378190" y="87556"/>
                    <a:pt x="378190" y="102064"/>
                  </a:cubicBezTo>
                  <a:lnTo>
                    <a:pt x="378190" y="143807"/>
                  </a:lnTo>
                  <a:close/>
                  <a:moveTo>
                    <a:pt x="412573" y="143807"/>
                  </a:moveTo>
                  <a:lnTo>
                    <a:pt x="396985" y="143807"/>
                  </a:lnTo>
                  <a:lnTo>
                    <a:pt x="396985" y="77794"/>
                  </a:lnTo>
                  <a:lnTo>
                    <a:pt x="412573" y="77794"/>
                  </a:lnTo>
                  <a:lnTo>
                    <a:pt x="412573" y="143807"/>
                  </a:lnTo>
                  <a:close/>
                  <a:moveTo>
                    <a:pt x="404712" y="64781"/>
                  </a:moveTo>
                  <a:cubicBezTo>
                    <a:pt x="399153" y="64781"/>
                    <a:pt x="394545" y="60311"/>
                    <a:pt x="394545" y="54618"/>
                  </a:cubicBezTo>
                  <a:cubicBezTo>
                    <a:pt x="394545" y="48926"/>
                    <a:pt x="399153" y="44317"/>
                    <a:pt x="404712" y="44317"/>
                  </a:cubicBezTo>
                  <a:cubicBezTo>
                    <a:pt x="410405" y="44317"/>
                    <a:pt x="415013" y="48926"/>
                    <a:pt x="415013" y="54618"/>
                  </a:cubicBezTo>
                  <a:cubicBezTo>
                    <a:pt x="415013" y="60311"/>
                    <a:pt x="410405" y="64781"/>
                    <a:pt x="404712" y="64781"/>
                  </a:cubicBezTo>
                  <a:close/>
                  <a:moveTo>
                    <a:pt x="471384" y="143807"/>
                  </a:moveTo>
                  <a:cubicBezTo>
                    <a:pt x="471250" y="143397"/>
                    <a:pt x="470706" y="140684"/>
                    <a:pt x="470706" y="135402"/>
                  </a:cubicBezTo>
                  <a:cubicBezTo>
                    <a:pt x="467587" y="140422"/>
                    <a:pt x="461083" y="145842"/>
                    <a:pt x="450376" y="145842"/>
                  </a:cubicBezTo>
                  <a:cubicBezTo>
                    <a:pt x="436551" y="145842"/>
                    <a:pt x="428012" y="136343"/>
                    <a:pt x="428012" y="125913"/>
                  </a:cubicBezTo>
                  <a:cubicBezTo>
                    <a:pt x="428012" y="114117"/>
                    <a:pt x="436684" y="107608"/>
                    <a:pt x="447936" y="105984"/>
                  </a:cubicBezTo>
                  <a:lnTo>
                    <a:pt x="464880" y="103415"/>
                  </a:lnTo>
                  <a:cubicBezTo>
                    <a:pt x="468676" y="102871"/>
                    <a:pt x="469760" y="100975"/>
                    <a:pt x="469760" y="98678"/>
                  </a:cubicBezTo>
                  <a:cubicBezTo>
                    <a:pt x="469760" y="93114"/>
                    <a:pt x="465964" y="88640"/>
                    <a:pt x="457291" y="88640"/>
                  </a:cubicBezTo>
                  <a:cubicBezTo>
                    <a:pt x="449025" y="88640"/>
                    <a:pt x="444416" y="93931"/>
                    <a:pt x="443738" y="100569"/>
                  </a:cubicBezTo>
                  <a:lnTo>
                    <a:pt x="429368" y="97317"/>
                  </a:lnTo>
                  <a:cubicBezTo>
                    <a:pt x="430586" y="85932"/>
                    <a:pt x="440892" y="75770"/>
                    <a:pt x="457153" y="75770"/>
                  </a:cubicBezTo>
                  <a:cubicBezTo>
                    <a:pt x="477482" y="75770"/>
                    <a:pt x="485209" y="87293"/>
                    <a:pt x="485209" y="100440"/>
                  </a:cubicBezTo>
                  <a:lnTo>
                    <a:pt x="485209" y="133244"/>
                  </a:lnTo>
                  <a:cubicBezTo>
                    <a:pt x="485209" y="139209"/>
                    <a:pt x="485887" y="143144"/>
                    <a:pt x="486021" y="143817"/>
                  </a:cubicBezTo>
                  <a:lnTo>
                    <a:pt x="471384" y="143817"/>
                  </a:lnTo>
                  <a:close/>
                  <a:moveTo>
                    <a:pt x="599005" y="143807"/>
                  </a:moveTo>
                  <a:lnTo>
                    <a:pt x="588159" y="132422"/>
                  </a:lnTo>
                  <a:cubicBezTo>
                    <a:pt x="580705" y="140427"/>
                    <a:pt x="572300" y="145565"/>
                    <a:pt x="561865" y="145565"/>
                  </a:cubicBezTo>
                  <a:cubicBezTo>
                    <a:pt x="543298" y="145565"/>
                    <a:pt x="533264" y="132962"/>
                    <a:pt x="533264" y="120364"/>
                  </a:cubicBezTo>
                  <a:cubicBezTo>
                    <a:pt x="533264" y="108024"/>
                    <a:pt x="539907" y="101247"/>
                    <a:pt x="549935" y="93798"/>
                  </a:cubicBezTo>
                  <a:lnTo>
                    <a:pt x="550886" y="93114"/>
                  </a:lnTo>
                  <a:lnTo>
                    <a:pt x="549257" y="91347"/>
                  </a:lnTo>
                  <a:cubicBezTo>
                    <a:pt x="544649" y="86610"/>
                    <a:pt x="538278" y="79155"/>
                    <a:pt x="538278" y="70201"/>
                  </a:cubicBezTo>
                  <a:cubicBezTo>
                    <a:pt x="538278" y="54346"/>
                    <a:pt x="551559" y="45674"/>
                    <a:pt x="564033" y="45674"/>
                  </a:cubicBezTo>
                  <a:cubicBezTo>
                    <a:pt x="579076" y="45674"/>
                    <a:pt x="590327" y="55163"/>
                    <a:pt x="590327" y="69528"/>
                  </a:cubicBezTo>
                  <a:cubicBezTo>
                    <a:pt x="590327" y="79017"/>
                    <a:pt x="583551" y="86066"/>
                    <a:pt x="576774" y="91214"/>
                  </a:cubicBezTo>
                  <a:lnTo>
                    <a:pt x="572572" y="94337"/>
                  </a:lnTo>
                  <a:lnTo>
                    <a:pt x="588565" y="111004"/>
                  </a:lnTo>
                  <a:lnTo>
                    <a:pt x="611474" y="86333"/>
                  </a:lnTo>
                  <a:lnTo>
                    <a:pt x="611474" y="106663"/>
                  </a:lnTo>
                  <a:lnTo>
                    <a:pt x="598327" y="121161"/>
                  </a:lnTo>
                  <a:lnTo>
                    <a:pt x="620013" y="143802"/>
                  </a:lnTo>
                  <a:lnTo>
                    <a:pt x="599005" y="143802"/>
                  </a:lnTo>
                  <a:close/>
                  <a:moveTo>
                    <a:pt x="743832" y="143807"/>
                  </a:moveTo>
                  <a:lnTo>
                    <a:pt x="727433" y="143807"/>
                  </a:lnTo>
                  <a:lnTo>
                    <a:pt x="727433" y="102732"/>
                  </a:lnTo>
                  <a:lnTo>
                    <a:pt x="682299" y="102732"/>
                  </a:lnTo>
                  <a:lnTo>
                    <a:pt x="682299" y="143807"/>
                  </a:lnTo>
                  <a:lnTo>
                    <a:pt x="666033" y="143807"/>
                  </a:lnTo>
                  <a:lnTo>
                    <a:pt x="666033" y="47713"/>
                  </a:lnTo>
                  <a:lnTo>
                    <a:pt x="682299" y="47713"/>
                  </a:lnTo>
                  <a:lnTo>
                    <a:pt x="682299" y="87422"/>
                  </a:lnTo>
                  <a:lnTo>
                    <a:pt x="727433" y="87422"/>
                  </a:lnTo>
                  <a:lnTo>
                    <a:pt x="727433" y="47713"/>
                  </a:lnTo>
                  <a:lnTo>
                    <a:pt x="743832" y="47713"/>
                  </a:lnTo>
                  <a:lnTo>
                    <a:pt x="743832" y="143807"/>
                  </a:lnTo>
                  <a:close/>
                  <a:moveTo>
                    <a:pt x="824022" y="115073"/>
                  </a:moveTo>
                  <a:lnTo>
                    <a:pt x="775769" y="115073"/>
                  </a:lnTo>
                  <a:cubicBezTo>
                    <a:pt x="776180" y="125101"/>
                    <a:pt x="784041" y="132294"/>
                    <a:pt x="793802" y="132294"/>
                  </a:cubicBezTo>
                  <a:cubicBezTo>
                    <a:pt x="803292" y="132294"/>
                    <a:pt x="808172" y="127274"/>
                    <a:pt x="810340" y="120770"/>
                  </a:cubicBezTo>
                  <a:lnTo>
                    <a:pt x="823621" y="124968"/>
                  </a:lnTo>
                  <a:cubicBezTo>
                    <a:pt x="820097" y="136491"/>
                    <a:pt x="809657" y="145852"/>
                    <a:pt x="793802" y="145852"/>
                  </a:cubicBezTo>
                  <a:cubicBezTo>
                    <a:pt x="775913" y="145852"/>
                    <a:pt x="760048" y="132838"/>
                    <a:pt x="760048" y="110469"/>
                  </a:cubicBezTo>
                  <a:cubicBezTo>
                    <a:pt x="760048" y="89595"/>
                    <a:pt x="775502" y="75770"/>
                    <a:pt x="792179" y="75770"/>
                  </a:cubicBezTo>
                  <a:cubicBezTo>
                    <a:pt x="812508" y="75770"/>
                    <a:pt x="824438" y="89184"/>
                    <a:pt x="824438" y="110068"/>
                  </a:cubicBezTo>
                  <a:cubicBezTo>
                    <a:pt x="824433" y="112632"/>
                    <a:pt x="824161" y="114800"/>
                    <a:pt x="824022" y="115073"/>
                  </a:cubicBezTo>
                  <a:close/>
                  <a:moveTo>
                    <a:pt x="878339" y="93387"/>
                  </a:moveTo>
                  <a:cubicBezTo>
                    <a:pt x="876576" y="93114"/>
                    <a:pt x="874814" y="92976"/>
                    <a:pt x="873186" y="92976"/>
                  </a:cubicBezTo>
                  <a:cubicBezTo>
                    <a:pt x="860989" y="92976"/>
                    <a:pt x="855430" y="100025"/>
                    <a:pt x="855430" y="112365"/>
                  </a:cubicBezTo>
                  <a:lnTo>
                    <a:pt x="855430" y="143812"/>
                  </a:lnTo>
                  <a:lnTo>
                    <a:pt x="839709" y="143812"/>
                  </a:lnTo>
                  <a:lnTo>
                    <a:pt x="839709" y="77794"/>
                  </a:lnTo>
                  <a:lnTo>
                    <a:pt x="855024" y="77794"/>
                  </a:lnTo>
                  <a:lnTo>
                    <a:pt x="855024" y="88377"/>
                  </a:lnTo>
                  <a:cubicBezTo>
                    <a:pt x="858142" y="81190"/>
                    <a:pt x="865459" y="76992"/>
                    <a:pt x="874136" y="76992"/>
                  </a:cubicBezTo>
                  <a:cubicBezTo>
                    <a:pt x="876032" y="76992"/>
                    <a:pt x="877660" y="77255"/>
                    <a:pt x="878339" y="77393"/>
                  </a:cubicBezTo>
                  <a:lnTo>
                    <a:pt x="878339" y="93387"/>
                  </a:lnTo>
                  <a:close/>
                  <a:moveTo>
                    <a:pt x="941065" y="143807"/>
                  </a:moveTo>
                  <a:lnTo>
                    <a:pt x="887120" y="143807"/>
                  </a:lnTo>
                  <a:lnTo>
                    <a:pt x="887120" y="130121"/>
                  </a:lnTo>
                  <a:lnTo>
                    <a:pt x="920602" y="91625"/>
                  </a:lnTo>
                  <a:lnTo>
                    <a:pt x="887798" y="91625"/>
                  </a:lnTo>
                  <a:lnTo>
                    <a:pt x="887798" y="77789"/>
                  </a:lnTo>
                  <a:lnTo>
                    <a:pt x="940387" y="77789"/>
                  </a:lnTo>
                  <a:lnTo>
                    <a:pt x="940387" y="91080"/>
                  </a:lnTo>
                  <a:lnTo>
                    <a:pt x="906499" y="129977"/>
                  </a:lnTo>
                  <a:lnTo>
                    <a:pt x="941060" y="129977"/>
                  </a:lnTo>
                  <a:lnTo>
                    <a:pt x="941060" y="143807"/>
                  </a:lnTo>
                  <a:close/>
                  <a:moveTo>
                    <a:pt x="1015855" y="115073"/>
                  </a:moveTo>
                  <a:lnTo>
                    <a:pt x="967602" y="115073"/>
                  </a:lnTo>
                  <a:cubicBezTo>
                    <a:pt x="968008" y="125101"/>
                    <a:pt x="975868" y="132294"/>
                    <a:pt x="985630" y="132294"/>
                  </a:cubicBezTo>
                  <a:cubicBezTo>
                    <a:pt x="995119" y="132294"/>
                    <a:pt x="1000000" y="127274"/>
                    <a:pt x="1002168" y="120770"/>
                  </a:cubicBezTo>
                  <a:lnTo>
                    <a:pt x="1015449" y="124968"/>
                  </a:lnTo>
                  <a:cubicBezTo>
                    <a:pt x="1011924" y="136491"/>
                    <a:pt x="1001490" y="145852"/>
                    <a:pt x="985630" y="145852"/>
                  </a:cubicBezTo>
                  <a:cubicBezTo>
                    <a:pt x="967741" y="145852"/>
                    <a:pt x="951881" y="132838"/>
                    <a:pt x="951881" y="110469"/>
                  </a:cubicBezTo>
                  <a:cubicBezTo>
                    <a:pt x="951881" y="89595"/>
                    <a:pt x="967335" y="75770"/>
                    <a:pt x="984006" y="75770"/>
                  </a:cubicBezTo>
                  <a:cubicBezTo>
                    <a:pt x="1004336" y="75770"/>
                    <a:pt x="1016265" y="89184"/>
                    <a:pt x="1016265" y="110068"/>
                  </a:cubicBezTo>
                  <a:cubicBezTo>
                    <a:pt x="1016260" y="112632"/>
                    <a:pt x="1015988" y="114800"/>
                    <a:pt x="1015855" y="115073"/>
                  </a:cubicBezTo>
                  <a:close/>
                  <a:moveTo>
                    <a:pt x="1092669" y="137575"/>
                  </a:moveTo>
                  <a:cubicBezTo>
                    <a:pt x="1092669" y="155197"/>
                    <a:pt x="1083581" y="171592"/>
                    <a:pt x="1058781" y="171592"/>
                  </a:cubicBezTo>
                  <a:cubicBezTo>
                    <a:pt x="1041293" y="171592"/>
                    <a:pt x="1029091" y="160746"/>
                    <a:pt x="1027334" y="147475"/>
                  </a:cubicBezTo>
                  <a:lnTo>
                    <a:pt x="1041832" y="143679"/>
                  </a:lnTo>
                  <a:cubicBezTo>
                    <a:pt x="1042916" y="151812"/>
                    <a:pt x="1049292" y="157905"/>
                    <a:pt x="1058370" y="157905"/>
                  </a:cubicBezTo>
                  <a:cubicBezTo>
                    <a:pt x="1070839" y="157905"/>
                    <a:pt x="1077076" y="151529"/>
                    <a:pt x="1077076" y="138115"/>
                  </a:cubicBezTo>
                  <a:lnTo>
                    <a:pt x="1077076" y="131205"/>
                  </a:lnTo>
                  <a:cubicBezTo>
                    <a:pt x="1074235" y="136348"/>
                    <a:pt x="1067587" y="140823"/>
                    <a:pt x="1057969" y="140823"/>
                  </a:cubicBezTo>
                  <a:cubicBezTo>
                    <a:pt x="1040347" y="140823"/>
                    <a:pt x="1027467" y="127269"/>
                    <a:pt x="1027467" y="108692"/>
                  </a:cubicBezTo>
                  <a:cubicBezTo>
                    <a:pt x="1027467" y="91080"/>
                    <a:pt x="1039808" y="76572"/>
                    <a:pt x="1057969" y="76572"/>
                  </a:cubicBezTo>
                  <a:cubicBezTo>
                    <a:pt x="1068270" y="76572"/>
                    <a:pt x="1074636" y="80779"/>
                    <a:pt x="1077487" y="86199"/>
                  </a:cubicBezTo>
                  <a:lnTo>
                    <a:pt x="1077487" y="77784"/>
                  </a:lnTo>
                  <a:lnTo>
                    <a:pt x="1092669" y="77784"/>
                  </a:lnTo>
                  <a:lnTo>
                    <a:pt x="1092669" y="137575"/>
                  </a:lnTo>
                  <a:close/>
                  <a:moveTo>
                    <a:pt x="1142095" y="145847"/>
                  </a:moveTo>
                  <a:cubicBezTo>
                    <a:pt x="1122443" y="145847"/>
                    <a:pt x="1107939" y="131066"/>
                    <a:pt x="1107939" y="110736"/>
                  </a:cubicBezTo>
                  <a:cubicBezTo>
                    <a:pt x="1107939" y="90545"/>
                    <a:pt x="1122443" y="75765"/>
                    <a:pt x="1142095" y="75765"/>
                  </a:cubicBezTo>
                  <a:cubicBezTo>
                    <a:pt x="1161885" y="75765"/>
                    <a:pt x="1176388" y="90545"/>
                    <a:pt x="1176388" y="110736"/>
                  </a:cubicBezTo>
                  <a:cubicBezTo>
                    <a:pt x="1176388" y="131066"/>
                    <a:pt x="1161885" y="145847"/>
                    <a:pt x="1142095" y="145847"/>
                  </a:cubicBezTo>
                  <a:close/>
                  <a:moveTo>
                    <a:pt x="1224334" y="143807"/>
                  </a:moveTo>
                  <a:lnTo>
                    <a:pt x="1208613" y="143807"/>
                  </a:lnTo>
                  <a:lnTo>
                    <a:pt x="1181774" y="77794"/>
                  </a:lnTo>
                  <a:lnTo>
                    <a:pt x="1199123" y="77794"/>
                  </a:lnTo>
                  <a:lnTo>
                    <a:pt x="1216602" y="124963"/>
                  </a:lnTo>
                  <a:lnTo>
                    <a:pt x="1233679" y="77794"/>
                  </a:lnTo>
                  <a:lnTo>
                    <a:pt x="1250217" y="77794"/>
                  </a:lnTo>
                  <a:lnTo>
                    <a:pt x="1224334" y="143807"/>
                  </a:lnTo>
                  <a:close/>
                  <a:moveTo>
                    <a:pt x="1278234" y="143807"/>
                  </a:moveTo>
                  <a:lnTo>
                    <a:pt x="1262647" y="143807"/>
                  </a:lnTo>
                  <a:lnTo>
                    <a:pt x="1262647" y="77794"/>
                  </a:lnTo>
                  <a:lnTo>
                    <a:pt x="1278234" y="77794"/>
                  </a:lnTo>
                  <a:lnTo>
                    <a:pt x="1278234" y="143807"/>
                  </a:lnTo>
                  <a:close/>
                  <a:moveTo>
                    <a:pt x="1270374" y="64781"/>
                  </a:moveTo>
                  <a:cubicBezTo>
                    <a:pt x="1264815" y="64781"/>
                    <a:pt x="1260207" y="60311"/>
                    <a:pt x="1260207" y="54618"/>
                  </a:cubicBezTo>
                  <a:cubicBezTo>
                    <a:pt x="1260207" y="48926"/>
                    <a:pt x="1264815" y="44317"/>
                    <a:pt x="1270374" y="44317"/>
                  </a:cubicBezTo>
                  <a:cubicBezTo>
                    <a:pt x="1276066" y="44317"/>
                    <a:pt x="1280675" y="48926"/>
                    <a:pt x="1280675" y="54618"/>
                  </a:cubicBezTo>
                  <a:cubicBezTo>
                    <a:pt x="1280675" y="60311"/>
                    <a:pt x="1276066" y="64781"/>
                    <a:pt x="1270374" y="64781"/>
                  </a:cubicBezTo>
                  <a:close/>
                  <a:moveTo>
                    <a:pt x="1356425" y="143807"/>
                  </a:moveTo>
                  <a:lnTo>
                    <a:pt x="1340703" y="143807"/>
                  </a:lnTo>
                  <a:lnTo>
                    <a:pt x="1340703" y="104772"/>
                  </a:lnTo>
                  <a:cubicBezTo>
                    <a:pt x="1340703" y="96639"/>
                    <a:pt x="1337045" y="90135"/>
                    <a:pt x="1327150" y="90135"/>
                  </a:cubicBezTo>
                  <a:cubicBezTo>
                    <a:pt x="1318206" y="90135"/>
                    <a:pt x="1313459" y="97050"/>
                    <a:pt x="1313459" y="105727"/>
                  </a:cubicBezTo>
                  <a:lnTo>
                    <a:pt x="1313459" y="143812"/>
                  </a:lnTo>
                  <a:lnTo>
                    <a:pt x="1297737" y="143812"/>
                  </a:lnTo>
                  <a:lnTo>
                    <a:pt x="1297737" y="77794"/>
                  </a:lnTo>
                  <a:lnTo>
                    <a:pt x="1313053" y="77794"/>
                  </a:lnTo>
                  <a:lnTo>
                    <a:pt x="1313053" y="86610"/>
                  </a:lnTo>
                  <a:cubicBezTo>
                    <a:pt x="1317389" y="79022"/>
                    <a:pt x="1325250" y="75908"/>
                    <a:pt x="1332571" y="75908"/>
                  </a:cubicBezTo>
                  <a:cubicBezTo>
                    <a:pt x="1348698" y="75908"/>
                    <a:pt x="1356425" y="87556"/>
                    <a:pt x="1356425" y="102064"/>
                  </a:cubicBezTo>
                  <a:lnTo>
                    <a:pt x="1356425" y="143807"/>
                  </a:lnTo>
                  <a:close/>
                  <a:moveTo>
                    <a:pt x="1414533" y="143807"/>
                  </a:moveTo>
                  <a:cubicBezTo>
                    <a:pt x="1414399" y="143397"/>
                    <a:pt x="1413855" y="140684"/>
                    <a:pt x="1413855" y="135402"/>
                  </a:cubicBezTo>
                  <a:cubicBezTo>
                    <a:pt x="1410736" y="140422"/>
                    <a:pt x="1404232" y="145842"/>
                    <a:pt x="1393525" y="145842"/>
                  </a:cubicBezTo>
                  <a:cubicBezTo>
                    <a:pt x="1379700" y="145842"/>
                    <a:pt x="1371161" y="136343"/>
                    <a:pt x="1371161" y="125913"/>
                  </a:cubicBezTo>
                  <a:cubicBezTo>
                    <a:pt x="1371161" y="114117"/>
                    <a:pt x="1379833" y="107608"/>
                    <a:pt x="1391085" y="105984"/>
                  </a:cubicBezTo>
                  <a:lnTo>
                    <a:pt x="1408028" y="103415"/>
                  </a:lnTo>
                  <a:cubicBezTo>
                    <a:pt x="1411825" y="102871"/>
                    <a:pt x="1412909" y="100975"/>
                    <a:pt x="1412909" y="98678"/>
                  </a:cubicBezTo>
                  <a:cubicBezTo>
                    <a:pt x="1412909" y="93114"/>
                    <a:pt x="1409113" y="88640"/>
                    <a:pt x="1400440" y="88640"/>
                  </a:cubicBezTo>
                  <a:cubicBezTo>
                    <a:pt x="1392174" y="88640"/>
                    <a:pt x="1387565" y="93931"/>
                    <a:pt x="1386887" y="100569"/>
                  </a:cubicBezTo>
                  <a:lnTo>
                    <a:pt x="1372517" y="97317"/>
                  </a:lnTo>
                  <a:cubicBezTo>
                    <a:pt x="1373735" y="85932"/>
                    <a:pt x="1384036" y="75770"/>
                    <a:pt x="1400301" y="75770"/>
                  </a:cubicBezTo>
                  <a:cubicBezTo>
                    <a:pt x="1420631" y="75770"/>
                    <a:pt x="1428358" y="87293"/>
                    <a:pt x="1428358" y="100440"/>
                  </a:cubicBezTo>
                  <a:lnTo>
                    <a:pt x="1428358" y="133244"/>
                  </a:lnTo>
                  <a:cubicBezTo>
                    <a:pt x="1428358" y="139209"/>
                    <a:pt x="1429036" y="143144"/>
                    <a:pt x="1429170" y="143817"/>
                  </a:cubicBezTo>
                  <a:lnTo>
                    <a:pt x="1414533" y="143817"/>
                  </a:lnTo>
                  <a:close/>
                </a:path>
              </a:pathLst>
            </a:custGeom>
            <a:solidFill>
              <a:srgbClr val="000000"/>
            </a:solidFill>
            <a:ln w="493" cap="flat">
              <a:noFill/>
              <a:prstDash val="solid"/>
              <a:miter/>
            </a:ln>
          </p:spPr>
          <p:txBody>
            <a:bodyPr rtlCol="0" anchor="ctr"/>
            <a:lstStyle/>
            <a:p>
              <a:endParaRPr lang="en-US"/>
            </a:p>
          </p:txBody>
        </p:sp>
        <p:sp>
          <p:nvSpPr>
            <p:cNvPr id="270" name="Freeform: Shape 144">
              <a:extLst>
                <a:ext uri="{FF2B5EF4-FFF2-40B4-BE49-F238E27FC236}">
                  <a16:creationId xmlns:a16="http://schemas.microsoft.com/office/drawing/2014/main" id="{745D772A-35AD-42B0-BED3-68BBB06ADF24}"/>
                </a:ext>
              </a:extLst>
            </p:cNvPr>
            <p:cNvSpPr/>
            <p:nvPr/>
          </p:nvSpPr>
          <p:spPr>
            <a:xfrm>
              <a:off x="7737517" y="4587544"/>
              <a:ext cx="32387" cy="14637"/>
            </a:xfrm>
            <a:custGeom>
              <a:avLst/>
              <a:gdLst>
                <a:gd name="connsiteX0" fmla="*/ 16127 w 32387"/>
                <a:gd name="connsiteY0" fmla="*/ 0 h 14637"/>
                <a:gd name="connsiteX1" fmla="*/ 0 w 32387"/>
                <a:gd name="connsiteY1" fmla="*/ 14637 h 14637"/>
                <a:gd name="connsiteX2" fmla="*/ 32388 w 32387"/>
                <a:gd name="connsiteY2" fmla="*/ 14637 h 14637"/>
                <a:gd name="connsiteX3" fmla="*/ 16127 w 32387"/>
                <a:gd name="connsiteY3" fmla="*/ 0 h 14637"/>
              </a:gdLst>
              <a:ahLst/>
              <a:cxnLst>
                <a:cxn ang="0">
                  <a:pos x="connsiteX0" y="connsiteY0"/>
                </a:cxn>
                <a:cxn ang="0">
                  <a:pos x="connsiteX1" y="connsiteY1"/>
                </a:cxn>
                <a:cxn ang="0">
                  <a:pos x="connsiteX2" y="connsiteY2"/>
                </a:cxn>
                <a:cxn ang="0">
                  <a:pos x="connsiteX3" y="connsiteY3"/>
                </a:cxn>
              </a:cxnLst>
              <a:rect l="l" t="t" r="r" b="b"/>
              <a:pathLst>
                <a:path w="32387" h="14637">
                  <a:moveTo>
                    <a:pt x="16127" y="0"/>
                  </a:moveTo>
                  <a:cubicBezTo>
                    <a:pt x="6237" y="0"/>
                    <a:pt x="544" y="7588"/>
                    <a:pt x="0" y="14637"/>
                  </a:cubicBezTo>
                  <a:lnTo>
                    <a:pt x="32388" y="14637"/>
                  </a:lnTo>
                  <a:cubicBezTo>
                    <a:pt x="32121" y="6910"/>
                    <a:pt x="26968" y="0"/>
                    <a:pt x="16127" y="0"/>
                  </a:cubicBezTo>
                  <a:close/>
                </a:path>
              </a:pathLst>
            </a:custGeom>
            <a:solidFill>
              <a:srgbClr val="000000"/>
            </a:solidFill>
            <a:ln w="493" cap="flat">
              <a:noFill/>
              <a:prstDash val="solid"/>
              <a:miter/>
            </a:ln>
          </p:spPr>
          <p:txBody>
            <a:bodyPr rtlCol="0" anchor="ctr"/>
            <a:lstStyle/>
            <a:p>
              <a:endParaRPr lang="en-US"/>
            </a:p>
          </p:txBody>
        </p:sp>
        <p:sp>
          <p:nvSpPr>
            <p:cNvPr id="271" name="Freeform: Shape 145">
              <a:extLst>
                <a:ext uri="{FF2B5EF4-FFF2-40B4-BE49-F238E27FC236}">
                  <a16:creationId xmlns:a16="http://schemas.microsoft.com/office/drawing/2014/main" id="{BE73C319-BB12-481B-BE46-19EA281790EA}"/>
                </a:ext>
              </a:extLst>
            </p:cNvPr>
            <p:cNvSpPr/>
            <p:nvPr/>
          </p:nvSpPr>
          <p:spPr>
            <a:xfrm>
              <a:off x="8004664" y="4588762"/>
              <a:ext cx="34159" cy="37278"/>
            </a:xfrm>
            <a:custGeom>
              <a:avLst/>
              <a:gdLst>
                <a:gd name="connsiteX0" fmla="*/ 17211 w 34159"/>
                <a:gd name="connsiteY0" fmla="*/ 0 h 37278"/>
                <a:gd name="connsiteX1" fmla="*/ 0 w 34159"/>
                <a:gd name="connsiteY1" fmla="*/ 18563 h 37278"/>
                <a:gd name="connsiteX2" fmla="*/ 17211 w 34159"/>
                <a:gd name="connsiteY2" fmla="*/ 37278 h 37278"/>
                <a:gd name="connsiteX3" fmla="*/ 34160 w 34159"/>
                <a:gd name="connsiteY3" fmla="*/ 18563 h 37278"/>
                <a:gd name="connsiteX4" fmla="*/ 17211 w 34159"/>
                <a:gd name="connsiteY4" fmla="*/ 0 h 37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59" h="37278">
                  <a:moveTo>
                    <a:pt x="17211" y="0"/>
                  </a:moveTo>
                  <a:cubicBezTo>
                    <a:pt x="7182" y="0"/>
                    <a:pt x="0" y="7321"/>
                    <a:pt x="0" y="18563"/>
                  </a:cubicBezTo>
                  <a:cubicBezTo>
                    <a:pt x="0" y="30086"/>
                    <a:pt x="6910" y="37278"/>
                    <a:pt x="17211" y="37278"/>
                  </a:cubicBezTo>
                  <a:cubicBezTo>
                    <a:pt x="27240" y="37278"/>
                    <a:pt x="34160" y="29948"/>
                    <a:pt x="34160" y="18563"/>
                  </a:cubicBezTo>
                  <a:cubicBezTo>
                    <a:pt x="34160" y="7316"/>
                    <a:pt x="26973" y="0"/>
                    <a:pt x="17211" y="0"/>
                  </a:cubicBezTo>
                  <a:close/>
                </a:path>
              </a:pathLst>
            </a:custGeom>
            <a:solidFill>
              <a:srgbClr val="000000"/>
            </a:solidFill>
            <a:ln w="493" cap="flat">
              <a:noFill/>
              <a:prstDash val="solid"/>
              <a:miter/>
            </a:ln>
          </p:spPr>
          <p:txBody>
            <a:bodyPr rtlCol="0" anchor="ctr"/>
            <a:lstStyle/>
            <a:p>
              <a:endParaRPr lang="en-US"/>
            </a:p>
          </p:txBody>
        </p:sp>
        <p:sp>
          <p:nvSpPr>
            <p:cNvPr id="272" name="Freeform: Shape 146">
              <a:extLst>
                <a:ext uri="{FF2B5EF4-FFF2-40B4-BE49-F238E27FC236}">
                  <a16:creationId xmlns:a16="http://schemas.microsoft.com/office/drawing/2014/main" id="{9133FB00-46FE-4C27-B126-EC1631434147}"/>
                </a:ext>
              </a:extLst>
            </p:cNvPr>
            <p:cNvSpPr/>
            <p:nvPr/>
          </p:nvSpPr>
          <p:spPr>
            <a:xfrm>
              <a:off x="7072895" y="4560156"/>
              <a:ext cx="29952" cy="26848"/>
            </a:xfrm>
            <a:custGeom>
              <a:avLst/>
              <a:gdLst>
                <a:gd name="connsiteX0" fmla="*/ 29952 w 29952"/>
                <a:gd name="connsiteY0" fmla="*/ 13424 h 26848"/>
                <a:gd name="connsiteX1" fmla="*/ 14370 w 29952"/>
                <a:gd name="connsiteY1" fmla="*/ 0 h 26848"/>
                <a:gd name="connsiteX2" fmla="*/ 0 w 29952"/>
                <a:gd name="connsiteY2" fmla="*/ 0 h 26848"/>
                <a:gd name="connsiteX3" fmla="*/ 0 w 29952"/>
                <a:gd name="connsiteY3" fmla="*/ 26849 h 26848"/>
                <a:gd name="connsiteX4" fmla="*/ 14771 w 29952"/>
                <a:gd name="connsiteY4" fmla="*/ 26849 h 26848"/>
                <a:gd name="connsiteX5" fmla="*/ 29952 w 29952"/>
                <a:gd name="connsiteY5" fmla="*/ 13424 h 2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2" h="26848">
                  <a:moveTo>
                    <a:pt x="29952" y="13424"/>
                  </a:moveTo>
                  <a:cubicBezTo>
                    <a:pt x="29952" y="5292"/>
                    <a:pt x="24260" y="0"/>
                    <a:pt x="14370" y="0"/>
                  </a:cubicBezTo>
                  <a:lnTo>
                    <a:pt x="0" y="0"/>
                  </a:lnTo>
                  <a:lnTo>
                    <a:pt x="0" y="26849"/>
                  </a:lnTo>
                  <a:lnTo>
                    <a:pt x="14771" y="26849"/>
                  </a:lnTo>
                  <a:cubicBezTo>
                    <a:pt x="24260" y="26849"/>
                    <a:pt x="29952" y="21424"/>
                    <a:pt x="29952" y="13424"/>
                  </a:cubicBezTo>
                  <a:close/>
                </a:path>
              </a:pathLst>
            </a:custGeom>
            <a:solidFill>
              <a:srgbClr val="000000"/>
            </a:solidFill>
            <a:ln w="493" cap="flat">
              <a:noFill/>
              <a:prstDash val="solid"/>
              <a:miter/>
            </a:ln>
          </p:spPr>
          <p:txBody>
            <a:bodyPr rtlCol="0" anchor="ctr"/>
            <a:lstStyle/>
            <a:p>
              <a:endParaRPr lang="en-US"/>
            </a:p>
          </p:txBody>
        </p:sp>
        <p:sp>
          <p:nvSpPr>
            <p:cNvPr id="273" name="Freeform: Shape 149">
              <a:extLst>
                <a:ext uri="{FF2B5EF4-FFF2-40B4-BE49-F238E27FC236}">
                  <a16:creationId xmlns:a16="http://schemas.microsoft.com/office/drawing/2014/main" id="{EC406BC5-930D-4491-8802-AA8538B949DF}"/>
                </a:ext>
              </a:extLst>
            </p:cNvPr>
            <p:cNvSpPr/>
            <p:nvPr/>
          </p:nvSpPr>
          <p:spPr>
            <a:xfrm>
              <a:off x="8348219" y="4612077"/>
              <a:ext cx="26022" cy="20057"/>
            </a:xfrm>
            <a:custGeom>
              <a:avLst/>
              <a:gdLst>
                <a:gd name="connsiteX0" fmla="*/ 0 w 26022"/>
                <a:gd name="connsiteY0" fmla="*/ 1151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1" y="20057"/>
                    <a:pt x="9623" y="20057"/>
                  </a:cubicBezTo>
                  <a:cubicBezTo>
                    <a:pt x="18434" y="20057"/>
                    <a:pt x="26022" y="15850"/>
                    <a:pt x="26022" y="2980"/>
                  </a:cubicBezTo>
                  <a:lnTo>
                    <a:pt x="26022" y="0"/>
                  </a:lnTo>
                  <a:lnTo>
                    <a:pt x="8806" y="2579"/>
                  </a:lnTo>
                  <a:cubicBezTo>
                    <a:pt x="3930" y="3381"/>
                    <a:pt x="0" y="6093"/>
                    <a:pt x="0" y="11514"/>
                  </a:cubicBezTo>
                  <a:close/>
                </a:path>
              </a:pathLst>
            </a:custGeom>
            <a:solidFill>
              <a:srgbClr val="000000"/>
            </a:solidFill>
            <a:ln w="493" cap="flat">
              <a:noFill/>
              <a:prstDash val="solid"/>
              <a:miter/>
            </a:ln>
          </p:spPr>
          <p:txBody>
            <a:bodyPr rtlCol="0" anchor="ctr"/>
            <a:lstStyle/>
            <a:p>
              <a:endParaRPr lang="en-US"/>
            </a:p>
          </p:txBody>
        </p:sp>
        <p:sp>
          <p:nvSpPr>
            <p:cNvPr id="274" name="Freeform: Shape 150">
              <a:extLst>
                <a:ext uri="{FF2B5EF4-FFF2-40B4-BE49-F238E27FC236}">
                  <a16:creationId xmlns:a16="http://schemas.microsoft.com/office/drawing/2014/main" id="{5FE7E63F-C0A9-4698-9ADE-FE75C8F32B52}"/>
                </a:ext>
              </a:extLst>
            </p:cNvPr>
            <p:cNvSpPr/>
            <p:nvPr/>
          </p:nvSpPr>
          <p:spPr>
            <a:xfrm>
              <a:off x="7149843" y="4588628"/>
              <a:ext cx="36867" cy="41748"/>
            </a:xfrm>
            <a:custGeom>
              <a:avLst/>
              <a:gdLst>
                <a:gd name="connsiteX0" fmla="*/ 18434 w 36867"/>
                <a:gd name="connsiteY0" fmla="*/ 0 h 41748"/>
                <a:gd name="connsiteX1" fmla="*/ 0 w 36867"/>
                <a:gd name="connsiteY1" fmla="*/ 20736 h 41748"/>
                <a:gd name="connsiteX2" fmla="*/ 18434 w 36867"/>
                <a:gd name="connsiteY2" fmla="*/ 41748 h 41748"/>
                <a:gd name="connsiteX3" fmla="*/ 36868 w 36867"/>
                <a:gd name="connsiteY3" fmla="*/ 20736 h 41748"/>
                <a:gd name="connsiteX4" fmla="*/ 18434 w 36867"/>
                <a:gd name="connsiteY4" fmla="*/ 0 h 41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67" h="41748">
                  <a:moveTo>
                    <a:pt x="18434" y="0"/>
                  </a:moveTo>
                  <a:cubicBezTo>
                    <a:pt x="8811" y="0"/>
                    <a:pt x="0" y="7049"/>
                    <a:pt x="0" y="20736"/>
                  </a:cubicBezTo>
                  <a:cubicBezTo>
                    <a:pt x="0" y="34422"/>
                    <a:pt x="8811" y="41748"/>
                    <a:pt x="18434" y="41748"/>
                  </a:cubicBezTo>
                  <a:cubicBezTo>
                    <a:pt x="28195" y="41748"/>
                    <a:pt x="36868" y="34561"/>
                    <a:pt x="36868" y="20736"/>
                  </a:cubicBezTo>
                  <a:cubicBezTo>
                    <a:pt x="36868" y="7049"/>
                    <a:pt x="28190" y="0"/>
                    <a:pt x="18434" y="0"/>
                  </a:cubicBezTo>
                  <a:close/>
                </a:path>
              </a:pathLst>
            </a:custGeom>
            <a:solidFill>
              <a:srgbClr val="000000"/>
            </a:solidFill>
            <a:ln w="493" cap="flat">
              <a:noFill/>
              <a:prstDash val="solid"/>
              <a:miter/>
            </a:ln>
          </p:spPr>
          <p:txBody>
            <a:bodyPr rtlCol="0" anchor="ctr"/>
            <a:lstStyle/>
            <a:p>
              <a:endParaRPr lang="en-US"/>
            </a:p>
          </p:txBody>
        </p:sp>
        <p:sp>
          <p:nvSpPr>
            <p:cNvPr id="275" name="Freeform: Shape 151">
              <a:extLst>
                <a:ext uri="{FF2B5EF4-FFF2-40B4-BE49-F238E27FC236}">
                  <a16:creationId xmlns:a16="http://schemas.microsoft.com/office/drawing/2014/main" id="{3EF9C1B0-68FB-4C7C-875D-EB304D8D8FFE}"/>
                </a:ext>
              </a:extLst>
            </p:cNvPr>
            <p:cNvSpPr/>
            <p:nvPr/>
          </p:nvSpPr>
          <p:spPr>
            <a:xfrm>
              <a:off x="7072900" y="4600687"/>
              <a:ext cx="32665" cy="27922"/>
            </a:xfrm>
            <a:custGeom>
              <a:avLst/>
              <a:gdLst>
                <a:gd name="connsiteX0" fmla="*/ 17078 w 32665"/>
                <a:gd name="connsiteY0" fmla="*/ 0 h 27922"/>
                <a:gd name="connsiteX1" fmla="*/ 0 w 32665"/>
                <a:gd name="connsiteY1" fmla="*/ 0 h 27922"/>
                <a:gd name="connsiteX2" fmla="*/ 0 w 32665"/>
                <a:gd name="connsiteY2" fmla="*/ 27923 h 27922"/>
                <a:gd name="connsiteX3" fmla="*/ 16538 w 32665"/>
                <a:gd name="connsiteY3" fmla="*/ 27923 h 27922"/>
                <a:gd name="connsiteX4" fmla="*/ 32665 w 32665"/>
                <a:gd name="connsiteY4" fmla="*/ 14098 h 27922"/>
                <a:gd name="connsiteX5" fmla="*/ 17078 w 32665"/>
                <a:gd name="connsiteY5" fmla="*/ 0 h 27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65" h="27922">
                  <a:moveTo>
                    <a:pt x="17078" y="0"/>
                  </a:moveTo>
                  <a:lnTo>
                    <a:pt x="0" y="0"/>
                  </a:lnTo>
                  <a:lnTo>
                    <a:pt x="0" y="27923"/>
                  </a:lnTo>
                  <a:lnTo>
                    <a:pt x="16538" y="27923"/>
                  </a:lnTo>
                  <a:cubicBezTo>
                    <a:pt x="26299" y="27923"/>
                    <a:pt x="32665" y="22641"/>
                    <a:pt x="32665" y="14098"/>
                  </a:cubicBezTo>
                  <a:cubicBezTo>
                    <a:pt x="32660" y="5836"/>
                    <a:pt x="27106" y="0"/>
                    <a:pt x="17078" y="0"/>
                  </a:cubicBezTo>
                  <a:close/>
                </a:path>
              </a:pathLst>
            </a:custGeom>
            <a:solidFill>
              <a:srgbClr val="000000"/>
            </a:solidFill>
            <a:ln w="493" cap="flat">
              <a:noFill/>
              <a:prstDash val="solid"/>
              <a:miter/>
            </a:ln>
          </p:spPr>
          <p:txBody>
            <a:bodyPr rtlCol="0" anchor="ctr"/>
            <a:lstStyle/>
            <a:p>
              <a:endParaRPr lang="en-US"/>
            </a:p>
          </p:txBody>
        </p:sp>
        <p:sp>
          <p:nvSpPr>
            <p:cNvPr id="276" name="Freeform: Shape 152">
              <a:extLst>
                <a:ext uri="{FF2B5EF4-FFF2-40B4-BE49-F238E27FC236}">
                  <a16:creationId xmlns:a16="http://schemas.microsoft.com/office/drawing/2014/main" id="{A1D11C5A-98D9-48C5-B5BB-DF046F2E651D}"/>
                </a:ext>
              </a:extLst>
            </p:cNvPr>
            <p:cNvSpPr/>
            <p:nvPr/>
          </p:nvSpPr>
          <p:spPr>
            <a:xfrm>
              <a:off x="7929344" y="4587544"/>
              <a:ext cx="32392" cy="14637"/>
            </a:xfrm>
            <a:custGeom>
              <a:avLst/>
              <a:gdLst>
                <a:gd name="connsiteX0" fmla="*/ 16127 w 32392"/>
                <a:gd name="connsiteY0" fmla="*/ 0 h 14637"/>
                <a:gd name="connsiteX1" fmla="*/ 0 w 32392"/>
                <a:gd name="connsiteY1" fmla="*/ 14637 h 14637"/>
                <a:gd name="connsiteX2" fmla="*/ 32393 w 32392"/>
                <a:gd name="connsiteY2" fmla="*/ 14637 h 14637"/>
                <a:gd name="connsiteX3" fmla="*/ 16127 w 32392"/>
                <a:gd name="connsiteY3" fmla="*/ 0 h 14637"/>
              </a:gdLst>
              <a:ahLst/>
              <a:cxnLst>
                <a:cxn ang="0">
                  <a:pos x="connsiteX0" y="connsiteY0"/>
                </a:cxn>
                <a:cxn ang="0">
                  <a:pos x="connsiteX1" y="connsiteY1"/>
                </a:cxn>
                <a:cxn ang="0">
                  <a:pos x="connsiteX2" y="connsiteY2"/>
                </a:cxn>
                <a:cxn ang="0">
                  <a:pos x="connsiteX3" y="connsiteY3"/>
                </a:cxn>
              </a:cxnLst>
              <a:rect l="l" t="t" r="r" b="b"/>
              <a:pathLst>
                <a:path w="32392" h="14637">
                  <a:moveTo>
                    <a:pt x="16127" y="0"/>
                  </a:moveTo>
                  <a:cubicBezTo>
                    <a:pt x="6232" y="0"/>
                    <a:pt x="540" y="7588"/>
                    <a:pt x="0" y="14637"/>
                  </a:cubicBezTo>
                  <a:lnTo>
                    <a:pt x="32393" y="14637"/>
                  </a:lnTo>
                  <a:cubicBezTo>
                    <a:pt x="32121" y="6910"/>
                    <a:pt x="26973" y="0"/>
                    <a:pt x="16127" y="0"/>
                  </a:cubicBezTo>
                  <a:close/>
                </a:path>
              </a:pathLst>
            </a:custGeom>
            <a:solidFill>
              <a:srgbClr val="000000"/>
            </a:solidFill>
            <a:ln w="493" cap="flat">
              <a:noFill/>
              <a:prstDash val="solid"/>
              <a:miter/>
            </a:ln>
          </p:spPr>
          <p:txBody>
            <a:bodyPr rtlCol="0" anchor="ctr"/>
            <a:lstStyle/>
            <a:p>
              <a:endParaRPr lang="en-US"/>
            </a:p>
          </p:txBody>
        </p:sp>
      </p:grpSp>
      <p:grpSp>
        <p:nvGrpSpPr>
          <p:cNvPr id="277" name="Graphic 118">
            <a:extLst>
              <a:ext uri="{FF2B5EF4-FFF2-40B4-BE49-F238E27FC236}">
                <a16:creationId xmlns:a16="http://schemas.microsoft.com/office/drawing/2014/main" id="{B5B45A2E-D341-46F2-91A7-97F179481497}"/>
              </a:ext>
            </a:extLst>
          </p:cNvPr>
          <p:cNvGrpSpPr/>
          <p:nvPr userDrawn="1">
            <p:custDataLst>
              <p:tags r:id="rId18"/>
            </p:custDataLst>
          </p:nvPr>
        </p:nvGrpSpPr>
        <p:grpSpPr>
          <a:xfrm>
            <a:off x="8230121" y="5048792"/>
            <a:ext cx="637772" cy="198000"/>
            <a:chOff x="7879241" y="4868038"/>
            <a:chExt cx="637772" cy="198000"/>
          </a:xfrm>
          <a:solidFill>
            <a:srgbClr val="000000"/>
          </a:solidFill>
        </p:grpSpPr>
        <p:sp>
          <p:nvSpPr>
            <p:cNvPr id="278" name="Freeform: Shape 161">
              <a:extLst>
                <a:ext uri="{FF2B5EF4-FFF2-40B4-BE49-F238E27FC236}">
                  <a16:creationId xmlns:a16="http://schemas.microsoft.com/office/drawing/2014/main" id="{C3B5F0C9-28D8-49BD-BFB2-5FDE08AB7C13}"/>
                </a:ext>
              </a:extLst>
            </p:cNvPr>
            <p:cNvSpPr/>
            <p:nvPr/>
          </p:nvSpPr>
          <p:spPr>
            <a:xfrm>
              <a:off x="7879241" y="4868038"/>
              <a:ext cx="637772" cy="198000"/>
            </a:xfrm>
            <a:custGeom>
              <a:avLst/>
              <a:gdLst>
                <a:gd name="connsiteX0" fmla="*/ 538773 w 637772"/>
                <a:gd name="connsiteY0" fmla="*/ 0 h 198000"/>
                <a:gd name="connsiteX1" fmla="*/ 99000 w 637772"/>
                <a:gd name="connsiteY1" fmla="*/ 0 h 198000"/>
                <a:gd name="connsiteX2" fmla="*/ 0 w 637772"/>
                <a:gd name="connsiteY2" fmla="*/ 99000 h 198000"/>
                <a:gd name="connsiteX3" fmla="*/ 99000 w 637772"/>
                <a:gd name="connsiteY3" fmla="*/ 198000 h 198000"/>
                <a:gd name="connsiteX4" fmla="*/ 538773 w 637772"/>
                <a:gd name="connsiteY4" fmla="*/ 198000 h 198000"/>
                <a:gd name="connsiteX5" fmla="*/ 637773 w 637772"/>
                <a:gd name="connsiteY5" fmla="*/ 99000 h 198000"/>
                <a:gd name="connsiteX6" fmla="*/ 538773 w 637772"/>
                <a:gd name="connsiteY6" fmla="*/ 0 h 198000"/>
                <a:gd name="connsiteX7" fmla="*/ 161033 w 637772"/>
                <a:gd name="connsiteY7" fmla="*/ 143812 h 198000"/>
                <a:gd name="connsiteX8" fmla="*/ 151955 w 637772"/>
                <a:gd name="connsiteY8" fmla="*/ 119686 h 198000"/>
                <a:gd name="connsiteX9" fmla="*/ 111291 w 637772"/>
                <a:gd name="connsiteY9" fmla="*/ 119686 h 198000"/>
                <a:gd name="connsiteX10" fmla="*/ 102346 w 637772"/>
                <a:gd name="connsiteY10" fmla="*/ 143812 h 198000"/>
                <a:gd name="connsiteX11" fmla="*/ 85125 w 637772"/>
                <a:gd name="connsiteY11" fmla="*/ 143812 h 198000"/>
                <a:gd name="connsiteX12" fmla="*/ 122537 w 637772"/>
                <a:gd name="connsiteY12" fmla="*/ 47718 h 198000"/>
                <a:gd name="connsiteX13" fmla="*/ 141382 w 637772"/>
                <a:gd name="connsiteY13" fmla="*/ 47718 h 198000"/>
                <a:gd name="connsiteX14" fmla="*/ 178794 w 637772"/>
                <a:gd name="connsiteY14" fmla="*/ 143812 h 198000"/>
                <a:gd name="connsiteX15" fmla="*/ 161033 w 637772"/>
                <a:gd name="connsiteY15" fmla="*/ 143812 h 198000"/>
                <a:gd name="connsiteX16" fmla="*/ 205989 w 637772"/>
                <a:gd name="connsiteY16" fmla="*/ 143812 h 198000"/>
                <a:gd name="connsiteX17" fmla="*/ 190268 w 637772"/>
                <a:gd name="connsiteY17" fmla="*/ 143812 h 198000"/>
                <a:gd name="connsiteX18" fmla="*/ 190268 w 637772"/>
                <a:gd name="connsiteY18" fmla="*/ 45679 h 198000"/>
                <a:gd name="connsiteX19" fmla="*/ 205989 w 637772"/>
                <a:gd name="connsiteY19" fmla="*/ 45679 h 198000"/>
                <a:gd name="connsiteX20" fmla="*/ 205989 w 637772"/>
                <a:gd name="connsiteY20" fmla="*/ 143812 h 198000"/>
                <a:gd name="connsiteX21" fmla="*/ 261132 w 637772"/>
                <a:gd name="connsiteY21" fmla="*/ 145436 h 198000"/>
                <a:gd name="connsiteX22" fmla="*/ 240803 w 637772"/>
                <a:gd name="connsiteY22" fmla="*/ 135001 h 198000"/>
                <a:gd name="connsiteX23" fmla="*/ 240803 w 637772"/>
                <a:gd name="connsiteY23" fmla="*/ 143807 h 198000"/>
                <a:gd name="connsiteX24" fmla="*/ 225492 w 637772"/>
                <a:gd name="connsiteY24" fmla="*/ 143807 h 198000"/>
                <a:gd name="connsiteX25" fmla="*/ 225492 w 637772"/>
                <a:gd name="connsiteY25" fmla="*/ 45679 h 198000"/>
                <a:gd name="connsiteX26" fmla="*/ 240946 w 637772"/>
                <a:gd name="connsiteY26" fmla="*/ 45679 h 198000"/>
                <a:gd name="connsiteX27" fmla="*/ 240946 w 637772"/>
                <a:gd name="connsiteY27" fmla="*/ 85932 h 198000"/>
                <a:gd name="connsiteX28" fmla="*/ 261682 w 637772"/>
                <a:gd name="connsiteY28" fmla="*/ 76042 h 198000"/>
                <a:gd name="connsiteX29" fmla="*/ 292184 w 637772"/>
                <a:gd name="connsiteY29" fmla="*/ 110469 h 198000"/>
                <a:gd name="connsiteX30" fmla="*/ 261132 w 637772"/>
                <a:gd name="connsiteY30" fmla="*/ 145436 h 198000"/>
                <a:gd name="connsiteX31" fmla="*/ 346891 w 637772"/>
                <a:gd name="connsiteY31" fmla="*/ 143812 h 198000"/>
                <a:gd name="connsiteX32" fmla="*/ 346213 w 637772"/>
                <a:gd name="connsiteY32" fmla="*/ 135407 h 198000"/>
                <a:gd name="connsiteX33" fmla="*/ 325883 w 637772"/>
                <a:gd name="connsiteY33" fmla="*/ 145847 h 198000"/>
                <a:gd name="connsiteX34" fmla="*/ 303519 w 637772"/>
                <a:gd name="connsiteY34" fmla="*/ 125918 h 198000"/>
                <a:gd name="connsiteX35" fmla="*/ 323443 w 637772"/>
                <a:gd name="connsiteY35" fmla="*/ 105989 h 198000"/>
                <a:gd name="connsiteX36" fmla="*/ 340387 w 637772"/>
                <a:gd name="connsiteY36" fmla="*/ 103420 h 198000"/>
                <a:gd name="connsiteX37" fmla="*/ 345267 w 637772"/>
                <a:gd name="connsiteY37" fmla="*/ 98683 h 198000"/>
                <a:gd name="connsiteX38" fmla="*/ 332798 w 637772"/>
                <a:gd name="connsiteY38" fmla="*/ 88645 h 198000"/>
                <a:gd name="connsiteX39" fmla="*/ 319245 w 637772"/>
                <a:gd name="connsiteY39" fmla="*/ 100574 h 198000"/>
                <a:gd name="connsiteX40" fmla="*/ 304875 w 637772"/>
                <a:gd name="connsiteY40" fmla="*/ 97322 h 198000"/>
                <a:gd name="connsiteX41" fmla="*/ 332660 w 637772"/>
                <a:gd name="connsiteY41" fmla="*/ 75775 h 198000"/>
                <a:gd name="connsiteX42" fmla="*/ 360716 w 637772"/>
                <a:gd name="connsiteY42" fmla="*/ 100445 h 198000"/>
                <a:gd name="connsiteX43" fmla="*/ 360716 w 637772"/>
                <a:gd name="connsiteY43" fmla="*/ 133249 h 198000"/>
                <a:gd name="connsiteX44" fmla="*/ 361528 w 637772"/>
                <a:gd name="connsiteY44" fmla="*/ 143822 h 198000"/>
                <a:gd name="connsiteX45" fmla="*/ 346891 w 637772"/>
                <a:gd name="connsiteY45" fmla="*/ 143822 h 198000"/>
                <a:gd name="connsiteX46" fmla="*/ 438342 w 637772"/>
                <a:gd name="connsiteY46" fmla="*/ 143812 h 198000"/>
                <a:gd name="connsiteX47" fmla="*/ 422621 w 637772"/>
                <a:gd name="connsiteY47" fmla="*/ 143812 h 198000"/>
                <a:gd name="connsiteX48" fmla="*/ 422621 w 637772"/>
                <a:gd name="connsiteY48" fmla="*/ 104777 h 198000"/>
                <a:gd name="connsiteX49" fmla="*/ 409068 w 637772"/>
                <a:gd name="connsiteY49" fmla="*/ 90140 h 198000"/>
                <a:gd name="connsiteX50" fmla="*/ 395376 w 637772"/>
                <a:gd name="connsiteY50" fmla="*/ 105732 h 198000"/>
                <a:gd name="connsiteX51" fmla="*/ 395376 w 637772"/>
                <a:gd name="connsiteY51" fmla="*/ 143817 h 198000"/>
                <a:gd name="connsiteX52" fmla="*/ 379655 w 637772"/>
                <a:gd name="connsiteY52" fmla="*/ 143817 h 198000"/>
                <a:gd name="connsiteX53" fmla="*/ 379655 w 637772"/>
                <a:gd name="connsiteY53" fmla="*/ 77794 h 198000"/>
                <a:gd name="connsiteX54" fmla="*/ 394970 w 637772"/>
                <a:gd name="connsiteY54" fmla="*/ 77794 h 198000"/>
                <a:gd name="connsiteX55" fmla="*/ 394970 w 637772"/>
                <a:gd name="connsiteY55" fmla="*/ 86610 h 198000"/>
                <a:gd name="connsiteX56" fmla="*/ 414488 w 637772"/>
                <a:gd name="connsiteY56" fmla="*/ 75908 h 198000"/>
                <a:gd name="connsiteX57" fmla="*/ 438342 w 637772"/>
                <a:gd name="connsiteY57" fmla="*/ 102064 h 198000"/>
                <a:gd name="connsiteX58" fmla="*/ 438342 w 637772"/>
                <a:gd name="connsiteY58" fmla="*/ 143812 h 198000"/>
                <a:gd name="connsiteX59" fmla="*/ 472730 w 637772"/>
                <a:gd name="connsiteY59" fmla="*/ 143812 h 198000"/>
                <a:gd name="connsiteX60" fmla="*/ 457142 w 637772"/>
                <a:gd name="connsiteY60" fmla="*/ 143812 h 198000"/>
                <a:gd name="connsiteX61" fmla="*/ 457142 w 637772"/>
                <a:gd name="connsiteY61" fmla="*/ 77794 h 198000"/>
                <a:gd name="connsiteX62" fmla="*/ 472730 w 637772"/>
                <a:gd name="connsiteY62" fmla="*/ 77794 h 198000"/>
                <a:gd name="connsiteX63" fmla="*/ 472730 w 637772"/>
                <a:gd name="connsiteY63" fmla="*/ 143812 h 198000"/>
                <a:gd name="connsiteX64" fmla="*/ 464869 w 637772"/>
                <a:gd name="connsiteY64" fmla="*/ 64786 h 198000"/>
                <a:gd name="connsiteX65" fmla="*/ 454702 w 637772"/>
                <a:gd name="connsiteY65" fmla="*/ 54623 h 198000"/>
                <a:gd name="connsiteX66" fmla="*/ 464869 w 637772"/>
                <a:gd name="connsiteY66" fmla="*/ 44322 h 198000"/>
                <a:gd name="connsiteX67" fmla="*/ 475170 w 637772"/>
                <a:gd name="connsiteY67" fmla="*/ 54623 h 198000"/>
                <a:gd name="connsiteX68" fmla="*/ 464869 w 637772"/>
                <a:gd name="connsiteY68" fmla="*/ 64786 h 198000"/>
                <a:gd name="connsiteX69" fmla="*/ 531541 w 637772"/>
                <a:gd name="connsiteY69" fmla="*/ 143812 h 198000"/>
                <a:gd name="connsiteX70" fmla="*/ 530863 w 637772"/>
                <a:gd name="connsiteY70" fmla="*/ 135407 h 198000"/>
                <a:gd name="connsiteX71" fmla="*/ 510533 w 637772"/>
                <a:gd name="connsiteY71" fmla="*/ 145847 h 198000"/>
                <a:gd name="connsiteX72" fmla="*/ 488169 w 637772"/>
                <a:gd name="connsiteY72" fmla="*/ 125918 h 198000"/>
                <a:gd name="connsiteX73" fmla="*/ 508093 w 637772"/>
                <a:gd name="connsiteY73" fmla="*/ 105989 h 198000"/>
                <a:gd name="connsiteX74" fmla="*/ 525037 w 637772"/>
                <a:gd name="connsiteY74" fmla="*/ 103420 h 198000"/>
                <a:gd name="connsiteX75" fmla="*/ 529917 w 637772"/>
                <a:gd name="connsiteY75" fmla="*/ 98683 h 198000"/>
                <a:gd name="connsiteX76" fmla="*/ 517448 w 637772"/>
                <a:gd name="connsiteY76" fmla="*/ 88645 h 198000"/>
                <a:gd name="connsiteX77" fmla="*/ 503895 w 637772"/>
                <a:gd name="connsiteY77" fmla="*/ 100574 h 198000"/>
                <a:gd name="connsiteX78" fmla="*/ 489525 w 637772"/>
                <a:gd name="connsiteY78" fmla="*/ 97322 h 198000"/>
                <a:gd name="connsiteX79" fmla="*/ 517310 w 637772"/>
                <a:gd name="connsiteY79" fmla="*/ 75775 h 198000"/>
                <a:gd name="connsiteX80" fmla="*/ 545366 w 637772"/>
                <a:gd name="connsiteY80" fmla="*/ 100445 h 198000"/>
                <a:gd name="connsiteX81" fmla="*/ 545366 w 637772"/>
                <a:gd name="connsiteY81" fmla="*/ 133249 h 198000"/>
                <a:gd name="connsiteX82" fmla="*/ 546178 w 637772"/>
                <a:gd name="connsiteY82" fmla="*/ 143822 h 198000"/>
                <a:gd name="connsiteX83" fmla="*/ 531541 w 637772"/>
                <a:gd name="connsiteY83" fmla="*/ 143822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37772" h="198000">
                  <a:moveTo>
                    <a:pt x="538773" y="0"/>
                  </a:moveTo>
                  <a:lnTo>
                    <a:pt x="99000" y="0"/>
                  </a:lnTo>
                  <a:cubicBezTo>
                    <a:pt x="44322" y="0"/>
                    <a:pt x="0" y="44322"/>
                    <a:pt x="0" y="99000"/>
                  </a:cubicBezTo>
                  <a:cubicBezTo>
                    <a:pt x="0" y="153678"/>
                    <a:pt x="44322" y="198000"/>
                    <a:pt x="99000" y="198000"/>
                  </a:cubicBezTo>
                  <a:lnTo>
                    <a:pt x="538773" y="198000"/>
                  </a:lnTo>
                  <a:cubicBezTo>
                    <a:pt x="593451" y="198000"/>
                    <a:pt x="637773" y="153678"/>
                    <a:pt x="637773" y="99000"/>
                  </a:cubicBezTo>
                  <a:cubicBezTo>
                    <a:pt x="637773" y="44322"/>
                    <a:pt x="593451" y="0"/>
                    <a:pt x="538773" y="0"/>
                  </a:cubicBezTo>
                  <a:close/>
                  <a:moveTo>
                    <a:pt x="161033" y="143812"/>
                  </a:moveTo>
                  <a:lnTo>
                    <a:pt x="151955" y="119686"/>
                  </a:lnTo>
                  <a:lnTo>
                    <a:pt x="111291" y="119686"/>
                  </a:lnTo>
                  <a:lnTo>
                    <a:pt x="102346" y="143812"/>
                  </a:lnTo>
                  <a:lnTo>
                    <a:pt x="85125" y="143812"/>
                  </a:lnTo>
                  <a:lnTo>
                    <a:pt x="122537" y="47718"/>
                  </a:lnTo>
                  <a:lnTo>
                    <a:pt x="141382" y="47718"/>
                  </a:lnTo>
                  <a:lnTo>
                    <a:pt x="178794" y="143812"/>
                  </a:lnTo>
                  <a:lnTo>
                    <a:pt x="161033" y="143812"/>
                  </a:lnTo>
                  <a:close/>
                  <a:moveTo>
                    <a:pt x="205989" y="143812"/>
                  </a:moveTo>
                  <a:lnTo>
                    <a:pt x="190268" y="143812"/>
                  </a:lnTo>
                  <a:lnTo>
                    <a:pt x="190268" y="45679"/>
                  </a:lnTo>
                  <a:lnTo>
                    <a:pt x="205989" y="45679"/>
                  </a:lnTo>
                  <a:lnTo>
                    <a:pt x="205989" y="143812"/>
                  </a:lnTo>
                  <a:close/>
                  <a:moveTo>
                    <a:pt x="261132" y="145436"/>
                  </a:moveTo>
                  <a:cubicBezTo>
                    <a:pt x="251787" y="145436"/>
                    <a:pt x="244594" y="141372"/>
                    <a:pt x="240803" y="135001"/>
                  </a:cubicBezTo>
                  <a:lnTo>
                    <a:pt x="240803" y="143807"/>
                  </a:lnTo>
                  <a:lnTo>
                    <a:pt x="225492" y="143807"/>
                  </a:lnTo>
                  <a:lnTo>
                    <a:pt x="225492" y="45679"/>
                  </a:lnTo>
                  <a:lnTo>
                    <a:pt x="240946" y="45679"/>
                  </a:lnTo>
                  <a:lnTo>
                    <a:pt x="240946" y="85932"/>
                  </a:lnTo>
                  <a:cubicBezTo>
                    <a:pt x="243926" y="80789"/>
                    <a:pt x="251519" y="76042"/>
                    <a:pt x="261682" y="76042"/>
                  </a:cubicBezTo>
                  <a:cubicBezTo>
                    <a:pt x="281472" y="76042"/>
                    <a:pt x="292184" y="91090"/>
                    <a:pt x="292184" y="110469"/>
                  </a:cubicBezTo>
                  <a:cubicBezTo>
                    <a:pt x="292179" y="130388"/>
                    <a:pt x="280378" y="145436"/>
                    <a:pt x="261132" y="145436"/>
                  </a:cubicBezTo>
                  <a:close/>
                  <a:moveTo>
                    <a:pt x="346891" y="143812"/>
                  </a:moveTo>
                  <a:cubicBezTo>
                    <a:pt x="346757" y="143402"/>
                    <a:pt x="346213" y="140689"/>
                    <a:pt x="346213" y="135407"/>
                  </a:cubicBezTo>
                  <a:cubicBezTo>
                    <a:pt x="343094" y="140427"/>
                    <a:pt x="336590" y="145847"/>
                    <a:pt x="325883" y="145847"/>
                  </a:cubicBezTo>
                  <a:cubicBezTo>
                    <a:pt x="312058" y="145847"/>
                    <a:pt x="303519" y="136348"/>
                    <a:pt x="303519" y="125918"/>
                  </a:cubicBezTo>
                  <a:cubicBezTo>
                    <a:pt x="303519" y="114122"/>
                    <a:pt x="312192" y="107613"/>
                    <a:pt x="323443" y="105989"/>
                  </a:cubicBezTo>
                  <a:lnTo>
                    <a:pt x="340387" y="103420"/>
                  </a:lnTo>
                  <a:cubicBezTo>
                    <a:pt x="344183" y="102876"/>
                    <a:pt x="345267" y="100980"/>
                    <a:pt x="345267" y="98683"/>
                  </a:cubicBezTo>
                  <a:cubicBezTo>
                    <a:pt x="345267" y="93119"/>
                    <a:pt x="341471" y="88645"/>
                    <a:pt x="332798" y="88645"/>
                  </a:cubicBezTo>
                  <a:cubicBezTo>
                    <a:pt x="324532" y="88645"/>
                    <a:pt x="319923" y="93936"/>
                    <a:pt x="319245" y="100574"/>
                  </a:cubicBezTo>
                  <a:lnTo>
                    <a:pt x="304875" y="97322"/>
                  </a:lnTo>
                  <a:cubicBezTo>
                    <a:pt x="306093" y="85937"/>
                    <a:pt x="316399" y="75775"/>
                    <a:pt x="332660" y="75775"/>
                  </a:cubicBezTo>
                  <a:cubicBezTo>
                    <a:pt x="352989" y="75775"/>
                    <a:pt x="360716" y="87298"/>
                    <a:pt x="360716" y="100445"/>
                  </a:cubicBezTo>
                  <a:lnTo>
                    <a:pt x="360716" y="133249"/>
                  </a:lnTo>
                  <a:cubicBezTo>
                    <a:pt x="360716" y="139214"/>
                    <a:pt x="361395" y="143149"/>
                    <a:pt x="361528" y="143822"/>
                  </a:cubicBezTo>
                  <a:lnTo>
                    <a:pt x="346891" y="143822"/>
                  </a:lnTo>
                  <a:close/>
                  <a:moveTo>
                    <a:pt x="438342" y="143812"/>
                  </a:moveTo>
                  <a:lnTo>
                    <a:pt x="422621" y="143812"/>
                  </a:lnTo>
                  <a:lnTo>
                    <a:pt x="422621" y="104777"/>
                  </a:lnTo>
                  <a:cubicBezTo>
                    <a:pt x="422621" y="96644"/>
                    <a:pt x="418963" y="90140"/>
                    <a:pt x="409068" y="90140"/>
                  </a:cubicBezTo>
                  <a:cubicBezTo>
                    <a:pt x="400123" y="90140"/>
                    <a:pt x="395376" y="97055"/>
                    <a:pt x="395376" y="105732"/>
                  </a:cubicBezTo>
                  <a:lnTo>
                    <a:pt x="395376" y="143817"/>
                  </a:lnTo>
                  <a:lnTo>
                    <a:pt x="379655" y="143817"/>
                  </a:lnTo>
                  <a:lnTo>
                    <a:pt x="379655" y="77794"/>
                  </a:lnTo>
                  <a:lnTo>
                    <a:pt x="394970" y="77794"/>
                  </a:lnTo>
                  <a:lnTo>
                    <a:pt x="394970" y="86610"/>
                  </a:lnTo>
                  <a:cubicBezTo>
                    <a:pt x="399307" y="79022"/>
                    <a:pt x="407167" y="75908"/>
                    <a:pt x="414488" y="75908"/>
                  </a:cubicBezTo>
                  <a:cubicBezTo>
                    <a:pt x="430620" y="75908"/>
                    <a:pt x="438342" y="87556"/>
                    <a:pt x="438342" y="102064"/>
                  </a:cubicBezTo>
                  <a:lnTo>
                    <a:pt x="438342" y="143812"/>
                  </a:lnTo>
                  <a:close/>
                  <a:moveTo>
                    <a:pt x="472730" y="143812"/>
                  </a:moveTo>
                  <a:lnTo>
                    <a:pt x="457142" y="143812"/>
                  </a:lnTo>
                  <a:lnTo>
                    <a:pt x="457142" y="77794"/>
                  </a:lnTo>
                  <a:lnTo>
                    <a:pt x="472730" y="77794"/>
                  </a:lnTo>
                  <a:lnTo>
                    <a:pt x="472730" y="143812"/>
                  </a:lnTo>
                  <a:close/>
                  <a:moveTo>
                    <a:pt x="464869" y="64786"/>
                  </a:moveTo>
                  <a:cubicBezTo>
                    <a:pt x="459311" y="64786"/>
                    <a:pt x="454702" y="60316"/>
                    <a:pt x="454702" y="54623"/>
                  </a:cubicBezTo>
                  <a:cubicBezTo>
                    <a:pt x="454702" y="48931"/>
                    <a:pt x="459311" y="44322"/>
                    <a:pt x="464869" y="44322"/>
                  </a:cubicBezTo>
                  <a:cubicBezTo>
                    <a:pt x="470562" y="44322"/>
                    <a:pt x="475170" y="48931"/>
                    <a:pt x="475170" y="54623"/>
                  </a:cubicBezTo>
                  <a:cubicBezTo>
                    <a:pt x="475170" y="60316"/>
                    <a:pt x="470562" y="64786"/>
                    <a:pt x="464869" y="64786"/>
                  </a:cubicBezTo>
                  <a:close/>
                  <a:moveTo>
                    <a:pt x="531541" y="143812"/>
                  </a:moveTo>
                  <a:cubicBezTo>
                    <a:pt x="531407" y="143402"/>
                    <a:pt x="530863" y="140689"/>
                    <a:pt x="530863" y="135407"/>
                  </a:cubicBezTo>
                  <a:cubicBezTo>
                    <a:pt x="527744" y="140427"/>
                    <a:pt x="521240" y="145847"/>
                    <a:pt x="510533" y="145847"/>
                  </a:cubicBezTo>
                  <a:cubicBezTo>
                    <a:pt x="496708" y="145847"/>
                    <a:pt x="488169" y="136348"/>
                    <a:pt x="488169" y="125918"/>
                  </a:cubicBezTo>
                  <a:cubicBezTo>
                    <a:pt x="488169" y="114122"/>
                    <a:pt x="496841" y="107613"/>
                    <a:pt x="508093" y="105989"/>
                  </a:cubicBezTo>
                  <a:lnTo>
                    <a:pt x="525037" y="103420"/>
                  </a:lnTo>
                  <a:cubicBezTo>
                    <a:pt x="528833" y="102876"/>
                    <a:pt x="529917" y="100980"/>
                    <a:pt x="529917" y="98683"/>
                  </a:cubicBezTo>
                  <a:cubicBezTo>
                    <a:pt x="529917" y="93119"/>
                    <a:pt x="526121" y="88645"/>
                    <a:pt x="517448" y="88645"/>
                  </a:cubicBezTo>
                  <a:cubicBezTo>
                    <a:pt x="509182" y="88645"/>
                    <a:pt x="504573" y="93936"/>
                    <a:pt x="503895" y="100574"/>
                  </a:cubicBezTo>
                  <a:lnTo>
                    <a:pt x="489525" y="97322"/>
                  </a:lnTo>
                  <a:cubicBezTo>
                    <a:pt x="490743" y="85937"/>
                    <a:pt x="501049" y="75775"/>
                    <a:pt x="517310" y="75775"/>
                  </a:cubicBezTo>
                  <a:cubicBezTo>
                    <a:pt x="537639" y="75775"/>
                    <a:pt x="545366" y="87298"/>
                    <a:pt x="545366" y="100445"/>
                  </a:cubicBezTo>
                  <a:lnTo>
                    <a:pt x="545366" y="133249"/>
                  </a:lnTo>
                  <a:cubicBezTo>
                    <a:pt x="545366" y="139214"/>
                    <a:pt x="546044" y="143149"/>
                    <a:pt x="546178" y="143822"/>
                  </a:cubicBezTo>
                  <a:lnTo>
                    <a:pt x="531541" y="143822"/>
                  </a:lnTo>
                  <a:close/>
                </a:path>
              </a:pathLst>
            </a:custGeom>
            <a:solidFill>
              <a:srgbClr val="000000"/>
            </a:solidFill>
            <a:ln w="488" cap="flat">
              <a:noFill/>
              <a:prstDash val="solid"/>
              <a:miter/>
            </a:ln>
          </p:spPr>
          <p:txBody>
            <a:bodyPr rtlCol="0" anchor="ctr"/>
            <a:lstStyle/>
            <a:p>
              <a:endParaRPr lang="en-US"/>
            </a:p>
          </p:txBody>
        </p:sp>
        <p:sp>
          <p:nvSpPr>
            <p:cNvPr id="279" name="Freeform: Shape 162">
              <a:extLst>
                <a:ext uri="{FF2B5EF4-FFF2-40B4-BE49-F238E27FC236}">
                  <a16:creationId xmlns:a16="http://schemas.microsoft.com/office/drawing/2014/main" id="{C57692E6-4185-4AA6-BEE8-2596F09A3E6D}"/>
                </a:ext>
              </a:extLst>
            </p:cNvPr>
            <p:cNvSpPr/>
            <p:nvPr/>
          </p:nvSpPr>
          <p:spPr>
            <a:xfrm>
              <a:off x="8120043" y="4958043"/>
              <a:ext cx="35511" cy="41466"/>
            </a:xfrm>
            <a:custGeom>
              <a:avLst/>
              <a:gdLst>
                <a:gd name="connsiteX0" fmla="*/ 17761 w 35511"/>
                <a:gd name="connsiteY0" fmla="*/ 0 h 41466"/>
                <a:gd name="connsiteX1" fmla="*/ 0 w 35511"/>
                <a:gd name="connsiteY1" fmla="*/ 20602 h 41466"/>
                <a:gd name="connsiteX2" fmla="*/ 17761 w 35511"/>
                <a:gd name="connsiteY2" fmla="*/ 41466 h 41466"/>
                <a:gd name="connsiteX3" fmla="*/ 35511 w 35511"/>
                <a:gd name="connsiteY3" fmla="*/ 20602 h 41466"/>
                <a:gd name="connsiteX4" fmla="*/ 17761 w 35511"/>
                <a:gd name="connsiteY4" fmla="*/ 0 h 41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1" h="41466">
                  <a:moveTo>
                    <a:pt x="17761" y="0"/>
                  </a:moveTo>
                  <a:cubicBezTo>
                    <a:pt x="7732" y="0"/>
                    <a:pt x="0" y="7450"/>
                    <a:pt x="0" y="20602"/>
                  </a:cubicBezTo>
                  <a:cubicBezTo>
                    <a:pt x="0" y="33615"/>
                    <a:pt x="7732" y="41466"/>
                    <a:pt x="17761" y="41466"/>
                  </a:cubicBezTo>
                  <a:cubicBezTo>
                    <a:pt x="28062" y="41466"/>
                    <a:pt x="35511" y="33615"/>
                    <a:pt x="35511" y="20602"/>
                  </a:cubicBezTo>
                  <a:cubicBezTo>
                    <a:pt x="35511" y="7450"/>
                    <a:pt x="28190" y="0"/>
                    <a:pt x="17761" y="0"/>
                  </a:cubicBezTo>
                  <a:close/>
                </a:path>
              </a:pathLst>
            </a:custGeom>
            <a:solidFill>
              <a:srgbClr val="000000"/>
            </a:solidFill>
            <a:ln w="488" cap="flat">
              <a:noFill/>
              <a:prstDash val="solid"/>
              <a:miter/>
            </a:ln>
          </p:spPr>
          <p:txBody>
            <a:bodyPr rtlCol="0" anchor="ctr"/>
            <a:lstStyle/>
            <a:p>
              <a:endParaRPr lang="en-US"/>
            </a:p>
          </p:txBody>
        </p:sp>
        <p:sp>
          <p:nvSpPr>
            <p:cNvPr id="280" name="Freeform: Shape 163">
              <a:extLst>
                <a:ext uri="{FF2B5EF4-FFF2-40B4-BE49-F238E27FC236}">
                  <a16:creationId xmlns:a16="http://schemas.microsoft.com/office/drawing/2014/main" id="{7B6BB573-91A7-4DB8-9B70-37A1230B802B}"/>
                </a:ext>
              </a:extLst>
            </p:cNvPr>
            <p:cNvSpPr/>
            <p:nvPr/>
          </p:nvSpPr>
          <p:spPr>
            <a:xfrm>
              <a:off x="7996229" y="4933363"/>
              <a:ext cx="29279" cy="39317"/>
            </a:xfrm>
            <a:custGeom>
              <a:avLst/>
              <a:gdLst>
                <a:gd name="connsiteX0" fmla="*/ 0 w 29279"/>
                <a:gd name="connsiteY0" fmla="*/ 39318 h 39317"/>
                <a:gd name="connsiteX1" fmla="*/ 29279 w 29279"/>
                <a:gd name="connsiteY1" fmla="*/ 39318 h 39317"/>
                <a:gd name="connsiteX2" fmla="*/ 14637 w 29279"/>
                <a:gd name="connsiteY2" fmla="*/ 0 h 39317"/>
              </a:gdLst>
              <a:ahLst/>
              <a:cxnLst>
                <a:cxn ang="0">
                  <a:pos x="connsiteX0" y="connsiteY0"/>
                </a:cxn>
                <a:cxn ang="0">
                  <a:pos x="connsiteX1" y="connsiteY1"/>
                </a:cxn>
                <a:cxn ang="0">
                  <a:pos x="connsiteX2" y="connsiteY2"/>
                </a:cxn>
              </a:cxnLst>
              <a:rect l="l" t="t" r="r" b="b"/>
              <a:pathLst>
                <a:path w="29279" h="39317">
                  <a:moveTo>
                    <a:pt x="0" y="39318"/>
                  </a:moveTo>
                  <a:lnTo>
                    <a:pt x="29279" y="39318"/>
                  </a:lnTo>
                  <a:lnTo>
                    <a:pt x="14637" y="0"/>
                  </a:lnTo>
                  <a:close/>
                </a:path>
              </a:pathLst>
            </a:custGeom>
            <a:solidFill>
              <a:srgbClr val="000000"/>
            </a:solidFill>
            <a:ln w="488" cap="flat">
              <a:noFill/>
              <a:prstDash val="solid"/>
              <a:miter/>
            </a:ln>
          </p:spPr>
          <p:txBody>
            <a:bodyPr rtlCol="0" anchor="ctr"/>
            <a:lstStyle/>
            <a:p>
              <a:endParaRPr lang="en-US"/>
            </a:p>
          </p:txBody>
        </p:sp>
        <p:sp>
          <p:nvSpPr>
            <p:cNvPr id="281" name="Freeform: Shape 164">
              <a:extLst>
                <a:ext uri="{FF2B5EF4-FFF2-40B4-BE49-F238E27FC236}">
                  <a16:creationId xmlns:a16="http://schemas.microsoft.com/office/drawing/2014/main" id="{9125D366-0092-4441-8630-FFCFAD2923E3}"/>
                </a:ext>
              </a:extLst>
            </p:cNvPr>
            <p:cNvSpPr/>
            <p:nvPr/>
          </p:nvSpPr>
          <p:spPr>
            <a:xfrm>
              <a:off x="8198481" y="4981487"/>
              <a:ext cx="26022" cy="20057"/>
            </a:xfrm>
            <a:custGeom>
              <a:avLst/>
              <a:gdLst>
                <a:gd name="connsiteX0" fmla="*/ 0 w 26022"/>
                <a:gd name="connsiteY0" fmla="*/ 1151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1" y="20057"/>
                    <a:pt x="9623" y="20057"/>
                  </a:cubicBezTo>
                  <a:cubicBezTo>
                    <a:pt x="18434" y="20057"/>
                    <a:pt x="26022" y="15850"/>
                    <a:pt x="26022" y="2980"/>
                  </a:cubicBezTo>
                  <a:lnTo>
                    <a:pt x="26022" y="0"/>
                  </a:lnTo>
                  <a:lnTo>
                    <a:pt x="8806" y="2579"/>
                  </a:lnTo>
                  <a:cubicBezTo>
                    <a:pt x="3930" y="3381"/>
                    <a:pt x="0" y="6093"/>
                    <a:pt x="0" y="11514"/>
                  </a:cubicBezTo>
                  <a:close/>
                </a:path>
              </a:pathLst>
            </a:custGeom>
            <a:solidFill>
              <a:srgbClr val="000000"/>
            </a:solidFill>
            <a:ln w="488" cap="flat">
              <a:noFill/>
              <a:prstDash val="solid"/>
              <a:miter/>
            </a:ln>
          </p:spPr>
          <p:txBody>
            <a:bodyPr rtlCol="0" anchor="ctr"/>
            <a:lstStyle/>
            <a:p>
              <a:endParaRPr lang="en-US"/>
            </a:p>
          </p:txBody>
        </p:sp>
        <p:sp>
          <p:nvSpPr>
            <p:cNvPr id="282" name="Freeform: Shape 165">
              <a:extLst>
                <a:ext uri="{FF2B5EF4-FFF2-40B4-BE49-F238E27FC236}">
                  <a16:creationId xmlns:a16="http://schemas.microsoft.com/office/drawing/2014/main" id="{00E8E28D-3EE5-4FFE-995D-96E72DDB730F}"/>
                </a:ext>
              </a:extLst>
            </p:cNvPr>
            <p:cNvSpPr/>
            <p:nvPr/>
          </p:nvSpPr>
          <p:spPr>
            <a:xfrm>
              <a:off x="8383126" y="4981487"/>
              <a:ext cx="26022" cy="20057"/>
            </a:xfrm>
            <a:custGeom>
              <a:avLst/>
              <a:gdLst>
                <a:gd name="connsiteX0" fmla="*/ 0 w 26022"/>
                <a:gd name="connsiteY0" fmla="*/ 11514 h 20057"/>
                <a:gd name="connsiteX1" fmla="*/ 9623 w 26022"/>
                <a:gd name="connsiteY1" fmla="*/ 20057 h 20057"/>
                <a:gd name="connsiteX2" fmla="*/ 26022 w 26022"/>
                <a:gd name="connsiteY2" fmla="*/ 2980 h 20057"/>
                <a:gd name="connsiteX3" fmla="*/ 26022 w 26022"/>
                <a:gd name="connsiteY3" fmla="*/ 0 h 20057"/>
                <a:gd name="connsiteX4" fmla="*/ 8806 w 26022"/>
                <a:gd name="connsiteY4" fmla="*/ 2579 h 20057"/>
                <a:gd name="connsiteX5" fmla="*/ 0 w 26022"/>
                <a:gd name="connsiteY5" fmla="*/ 11514 h 2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22" h="20057">
                  <a:moveTo>
                    <a:pt x="0" y="11514"/>
                  </a:moveTo>
                  <a:cubicBezTo>
                    <a:pt x="0" y="15993"/>
                    <a:pt x="3391" y="20057"/>
                    <a:pt x="9623" y="20057"/>
                  </a:cubicBezTo>
                  <a:cubicBezTo>
                    <a:pt x="18434" y="20057"/>
                    <a:pt x="26022" y="15850"/>
                    <a:pt x="26022" y="2980"/>
                  </a:cubicBezTo>
                  <a:lnTo>
                    <a:pt x="26022" y="0"/>
                  </a:lnTo>
                  <a:lnTo>
                    <a:pt x="8806" y="2579"/>
                  </a:lnTo>
                  <a:cubicBezTo>
                    <a:pt x="3935" y="3381"/>
                    <a:pt x="0" y="6093"/>
                    <a:pt x="0" y="11514"/>
                  </a:cubicBezTo>
                  <a:close/>
                </a:path>
              </a:pathLst>
            </a:custGeom>
            <a:solidFill>
              <a:srgbClr val="000000"/>
            </a:solidFill>
            <a:ln w="488" cap="flat">
              <a:noFill/>
              <a:prstDash val="solid"/>
              <a:miter/>
            </a:ln>
          </p:spPr>
          <p:txBody>
            <a:bodyPr rtlCol="0" anchor="ctr"/>
            <a:lstStyle/>
            <a:p>
              <a:endParaRPr lang="en-US"/>
            </a:p>
          </p:txBody>
        </p:sp>
      </p:grpSp>
      <p:sp>
        <p:nvSpPr>
          <p:cNvPr id="4" name="Text Placeholder 3">
            <a:extLst>
              <a:ext uri="{FF2B5EF4-FFF2-40B4-BE49-F238E27FC236}">
                <a16:creationId xmlns:a16="http://schemas.microsoft.com/office/drawing/2014/main" id="{9B5738C0-D287-46EF-B1FF-086DB51BE592}"/>
              </a:ext>
            </a:extLst>
          </p:cNvPr>
          <p:cNvSpPr>
            <a:spLocks noGrp="1"/>
          </p:cNvSpPr>
          <p:nvPr>
            <p:ph type="body" sz="quarter" idx="16"/>
            <p:custDataLst>
              <p:tags r:id="rId19"/>
            </p:custDataLst>
          </p:nvPr>
        </p:nvSpPr>
        <p:spPr>
          <a:xfrm>
            <a:off x="461963" y="1592263"/>
            <a:ext cx="3060700" cy="4141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02972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C98B0-504E-EA4F-348D-42D9E451E64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0D15F89-2508-EB84-9FDB-851F868D552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56603CB-E33A-82E9-09BF-602247F6F0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858FE5-F774-77BA-72E6-28144A11C12F}"/>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6" name="Footer Placeholder 5">
            <a:extLst>
              <a:ext uri="{FF2B5EF4-FFF2-40B4-BE49-F238E27FC236}">
                <a16:creationId xmlns:a16="http://schemas.microsoft.com/office/drawing/2014/main" id="{3EEC0ADB-1908-2265-B4F9-9977FC9E3F1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A47761A-A9E8-2491-EC4D-FC15532F550A}"/>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5608289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E1AD0-4174-F9F9-EB96-13C76E573F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C8D7E98-B1ED-3DB6-B18E-32BDD7EABA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2C6396C-682F-0F7D-1256-F1DB74E9F6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F1F44F-44AE-3054-4C9B-7FDF81DA70B0}"/>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6" name="Footer Placeholder 5">
            <a:extLst>
              <a:ext uri="{FF2B5EF4-FFF2-40B4-BE49-F238E27FC236}">
                <a16:creationId xmlns:a16="http://schemas.microsoft.com/office/drawing/2014/main" id="{CE814192-6118-94A2-67C0-D00C928626D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9ED2600-BBC2-D054-1800-F4C21032DAD6}"/>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3147728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6AF20-4415-66DC-142E-0F561572D86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AF6CE80-82AE-0AB4-18F2-6E009A249C9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0F4891A-8FF4-46C4-0DAB-CC3A682B18C6}"/>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5" name="Footer Placeholder 4">
            <a:extLst>
              <a:ext uri="{FF2B5EF4-FFF2-40B4-BE49-F238E27FC236}">
                <a16:creationId xmlns:a16="http://schemas.microsoft.com/office/drawing/2014/main" id="{D534A132-D741-B8E7-AA17-1426A1F6B4D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3ABA9D5-F0B5-B92B-FB7D-E942980FA071}"/>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30921753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E96DB4-C5B4-6DBA-7BCA-AA26220841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F3AE3D7-1D04-F0EA-084C-CD239B1CB20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B9DCCA2-BAA1-D55E-5230-59F19C422B6A}"/>
              </a:ext>
            </a:extLst>
          </p:cNvPr>
          <p:cNvSpPr>
            <a:spLocks noGrp="1"/>
          </p:cNvSpPr>
          <p:nvPr>
            <p:ph type="dt" sz="half" idx="10"/>
          </p:nvPr>
        </p:nvSpPr>
        <p:spPr/>
        <p:txBody>
          <a:bodyPr/>
          <a:lstStyle/>
          <a:p>
            <a:fld id="{7D070492-D67D-4047-80E1-B7719D5FEF12}" type="datetimeFigureOut">
              <a:rPr lang="en-GB" smtClean="0"/>
              <a:t>12/09/2022</a:t>
            </a:fld>
            <a:endParaRPr lang="en-GB"/>
          </a:p>
        </p:txBody>
      </p:sp>
      <p:sp>
        <p:nvSpPr>
          <p:cNvPr id="5" name="Footer Placeholder 4">
            <a:extLst>
              <a:ext uri="{FF2B5EF4-FFF2-40B4-BE49-F238E27FC236}">
                <a16:creationId xmlns:a16="http://schemas.microsoft.com/office/drawing/2014/main" id="{C9041F09-A607-79FA-E512-B636398977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89B801C-7589-62D0-BCED-A77FBB55120A}"/>
              </a:ext>
            </a:extLst>
          </p:cNvPr>
          <p:cNvSpPr>
            <a:spLocks noGrp="1"/>
          </p:cNvSpPr>
          <p:nvPr>
            <p:ph type="sldNum" sz="quarter" idx="12"/>
          </p:nvPr>
        </p:nvSpPr>
        <p:spPr/>
        <p:txBody>
          <a:bodyPr/>
          <a:lstStyle/>
          <a:p>
            <a:fld id="{C890E4A6-F7FF-42BC-A660-19E78D9D89CD}" type="slidenum">
              <a:rPr lang="en-GB" smtClean="0"/>
              <a:t>‹Nr.›</a:t>
            </a:fld>
            <a:endParaRPr lang="en-GB"/>
          </a:p>
        </p:txBody>
      </p:sp>
    </p:spTree>
    <p:extLst>
      <p:ext uri="{BB962C8B-B14F-4D97-AF65-F5344CB8AC3E}">
        <p14:creationId xmlns:p14="http://schemas.microsoft.com/office/powerpoint/2010/main" val="37673699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Full Graphic/Image without Text Template">
    <p:spTree>
      <p:nvGrpSpPr>
        <p:cNvPr id="1" name=""/>
        <p:cNvGrpSpPr/>
        <p:nvPr/>
      </p:nvGrpSpPr>
      <p:grpSpPr>
        <a:xfrm>
          <a:off x="0" y="0"/>
          <a:ext cx="0" cy="0"/>
          <a:chOff x="0" y="0"/>
          <a:chExt cx="0" cy="0"/>
        </a:xfrm>
      </p:grpSpPr>
      <p:pic>
        <p:nvPicPr>
          <p:cNvPr id="13" name="Imagen 40">
            <a:extLst>
              <a:ext uri="{FF2B5EF4-FFF2-40B4-BE49-F238E27FC236}">
                <a16:creationId xmlns:a16="http://schemas.microsoft.com/office/drawing/2014/main" id="{EB7F214E-7F89-6246-A931-3D52FF2079C2}"/>
              </a:ext>
            </a:extLst>
          </p:cNvPr>
          <p:cNvPicPr>
            <a:picLocks noChangeAspect="1"/>
          </p:cNvPicPr>
          <p:nvPr userDrawn="1"/>
        </p:nvPicPr>
        <p:blipFill rotWithShape="1">
          <a:blip r:embed="rId2"/>
          <a:srcRect l="6791"/>
          <a:stretch/>
        </p:blipFill>
        <p:spPr>
          <a:xfrm>
            <a:off x="9509906" y="6420104"/>
            <a:ext cx="2091544" cy="269621"/>
          </a:xfrm>
          <a:prstGeom prst="rect">
            <a:avLst/>
          </a:prstGeom>
        </p:spPr>
      </p:pic>
      <p:sp>
        <p:nvSpPr>
          <p:cNvPr id="14" name="Marcador de número de diapositiva 1">
            <a:extLst>
              <a:ext uri="{FF2B5EF4-FFF2-40B4-BE49-F238E27FC236}">
                <a16:creationId xmlns:a16="http://schemas.microsoft.com/office/drawing/2014/main" id="{1748F2AC-0566-0D47-936A-B8C1B2F70C06}"/>
              </a:ext>
            </a:extLst>
          </p:cNvPr>
          <p:cNvSpPr txBox="1">
            <a:spLocks/>
          </p:cNvSpPr>
          <p:nvPr userDrawn="1"/>
        </p:nvSpPr>
        <p:spPr>
          <a:xfrm>
            <a:off x="8649481" y="6372351"/>
            <a:ext cx="860425" cy="365125"/>
          </a:xfrm>
          <a:prstGeom prst="rect">
            <a:avLst/>
          </a:prstGeom>
        </p:spPr>
        <p:txBody>
          <a:bodyPr vert="horz" wrap="square" lIns="91440" tIns="45720" rIns="91440" bIns="45720" numCol="1" anchor="ctr" anchorCtr="0" compatLnSpc="1">
            <a:prstTxWarp prst="textNoShape">
              <a:avLst/>
            </a:prstTxWarp>
          </a:bodyPr>
          <a:lstStyle>
            <a:defPPr>
              <a:defRPr lang="es-ES_tradnl"/>
            </a:defPPr>
            <a:lvl1pPr algn="r" defTabSz="457200" rtl="0" eaLnBrk="1" fontAlgn="base" hangingPunct="1">
              <a:spcBef>
                <a:spcPct val="0"/>
              </a:spcBef>
              <a:spcAft>
                <a:spcPct val="0"/>
              </a:spcAft>
              <a:defRPr sz="900" b="1" kern="12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defRPr/>
            </a:pPr>
            <a:fld id="{3000FC84-FEA9-EB4A-97BC-F7DFA8A68D70}" type="slidenum">
              <a:rPr lang="es-ES_tradnl" altLang="es-MX" sz="800" b="0" smtClean="0">
                <a:solidFill>
                  <a:srgbClr val="F12545"/>
                </a:solidFill>
              </a:rPr>
              <a:pPr>
                <a:defRPr/>
              </a:pPr>
              <a:t>‹Nr.›</a:t>
            </a:fld>
            <a:endParaRPr lang="es-ES_tradnl" altLang="es-MX" sz="800" b="0" dirty="0">
              <a:solidFill>
                <a:srgbClr val="F12545"/>
              </a:solidFill>
            </a:endParaRPr>
          </a:p>
        </p:txBody>
      </p:sp>
      <p:pic>
        <p:nvPicPr>
          <p:cNvPr id="15" name="Imagen 19" descr="Untitled-3.png">
            <a:extLst>
              <a:ext uri="{FF2B5EF4-FFF2-40B4-BE49-F238E27FC236}">
                <a16:creationId xmlns:a16="http://schemas.microsoft.com/office/drawing/2014/main" id="{4B0CF950-43F3-7448-98F2-CA7512B2FDC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834046" y="161456"/>
            <a:ext cx="173804"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ángulo 39">
            <a:extLst>
              <a:ext uri="{FF2B5EF4-FFF2-40B4-BE49-F238E27FC236}">
                <a16:creationId xmlns:a16="http://schemas.microsoft.com/office/drawing/2014/main" id="{AB3E87B0-B11A-0E4F-916E-0FB365F2992B}"/>
              </a:ext>
            </a:extLst>
          </p:cNvPr>
          <p:cNvSpPr/>
          <p:nvPr userDrawn="1"/>
        </p:nvSpPr>
        <p:spPr>
          <a:xfrm rot="16200000">
            <a:off x="6055497" y="-6060364"/>
            <a:ext cx="71270" cy="12191999"/>
          </a:xfrm>
          <a:prstGeom prst="rect">
            <a:avLst/>
          </a:prstGeom>
          <a:solidFill>
            <a:srgbClr val="E93950"/>
          </a:solidFill>
          <a:ln>
            <a:noFill/>
          </a:ln>
          <a:effectLst>
            <a:outerShdw blurRad="50800" dist="38100" dir="5400000" algn="ctr" rotWithShape="0">
              <a:prstClr val="black">
                <a:alpha val="3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dirty="0"/>
          </a:p>
        </p:txBody>
      </p:sp>
      <p:sp>
        <p:nvSpPr>
          <p:cNvPr id="20" name="Rectángulo 1">
            <a:extLst>
              <a:ext uri="{FF2B5EF4-FFF2-40B4-BE49-F238E27FC236}">
                <a16:creationId xmlns:a16="http://schemas.microsoft.com/office/drawing/2014/main" id="{79D0B098-CF8B-DE4A-9549-4F6CCDAEC13F}"/>
              </a:ext>
            </a:extLst>
          </p:cNvPr>
          <p:cNvSpPr/>
          <p:nvPr userDrawn="1"/>
        </p:nvSpPr>
        <p:spPr>
          <a:xfrm rot="5400000">
            <a:off x="6055163" y="721166"/>
            <a:ext cx="81671" cy="12192001"/>
          </a:xfrm>
          <a:prstGeom prst="rect">
            <a:avLst/>
          </a:prstGeom>
          <a:solidFill>
            <a:srgbClr val="E93950"/>
          </a:solidFill>
          <a:ln>
            <a:noFill/>
          </a:ln>
          <a:effectLst>
            <a:outerShdw blurRad="50800" dist="38100" dir="5400000" algn="ctr" rotWithShape="0">
              <a:prstClr val="black">
                <a:alpha val="3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dirty="0"/>
          </a:p>
        </p:txBody>
      </p:sp>
    </p:spTree>
    <p:extLst>
      <p:ext uri="{BB962C8B-B14F-4D97-AF65-F5344CB8AC3E}">
        <p14:creationId xmlns:p14="http://schemas.microsoft.com/office/powerpoint/2010/main" val="41987146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Zwei Inhalte" preserve="1" userDrawn="1">
  <p:cSld name="Zw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4280-3844-404F-8E6C-D045CCDA942C}"/>
              </a:ext>
            </a:extLst>
          </p:cNvPr>
          <p:cNvSpPr>
            <a:spLocks noGrp="1"/>
          </p:cNvSpPr>
          <p:nvPr>
            <p:ph type="title" hasCustomPrompt="1"/>
          </p:nvPr>
        </p:nvSpPr>
        <p:spPr>
          <a:xfrm>
            <a:off x="335360" y="518746"/>
            <a:ext cx="9360000" cy="461982"/>
          </a:xfrm>
        </p:spPr>
        <p:txBody>
          <a:bodyPr/>
          <a:lstStyle/>
          <a:p>
            <a:r>
              <a:rPr lang="en-US" dirty="0" err="1"/>
              <a:t>Folientitel</a:t>
            </a:r>
            <a:endParaRPr lang="en-US" dirty="0"/>
          </a:p>
        </p:txBody>
      </p:sp>
      <p:sp>
        <p:nvSpPr>
          <p:cNvPr id="3" name="Content Placeholder 2">
            <a:extLst>
              <a:ext uri="{FF2B5EF4-FFF2-40B4-BE49-F238E27FC236}">
                <a16:creationId xmlns:a16="http://schemas.microsoft.com/office/drawing/2014/main" id="{F701E4EA-FEBF-468A-9B8F-A905E820F39E}"/>
              </a:ext>
            </a:extLst>
          </p:cNvPr>
          <p:cNvSpPr>
            <a:spLocks noGrp="1"/>
          </p:cNvSpPr>
          <p:nvPr>
            <p:ph sz="half" idx="1"/>
          </p:nvPr>
        </p:nvSpPr>
        <p:spPr>
          <a:xfrm>
            <a:off x="335360" y="1916113"/>
            <a:ext cx="4824015"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4" name="Content Placeholder 3">
            <a:extLst>
              <a:ext uri="{FF2B5EF4-FFF2-40B4-BE49-F238E27FC236}">
                <a16:creationId xmlns:a16="http://schemas.microsoft.com/office/drawing/2014/main" id="{33902515-6805-4322-99E0-23E5CB531CDA}"/>
              </a:ext>
            </a:extLst>
          </p:cNvPr>
          <p:cNvSpPr>
            <a:spLocks noGrp="1"/>
          </p:cNvSpPr>
          <p:nvPr>
            <p:ph sz="half" idx="2"/>
          </p:nvPr>
        </p:nvSpPr>
        <p:spPr>
          <a:xfrm>
            <a:off x="6096000" y="1916113"/>
            <a:ext cx="4824015" cy="40338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9" name="Subtitle 2">
            <a:extLst>
              <a:ext uri="{FF2B5EF4-FFF2-40B4-BE49-F238E27FC236}">
                <a16:creationId xmlns:a16="http://schemas.microsoft.com/office/drawing/2014/main" id="{A2250333-7369-44D2-B9CE-47B7DFD8CEEF}"/>
              </a:ext>
            </a:extLst>
          </p:cNvPr>
          <p:cNvSpPr>
            <a:spLocks noGrp="1"/>
          </p:cNvSpPr>
          <p:nvPr>
            <p:ph type="subTitle" idx="13" hasCustomPrompt="1"/>
          </p:nvPr>
        </p:nvSpPr>
        <p:spPr>
          <a:xfrm>
            <a:off x="334962" y="222798"/>
            <a:ext cx="9360000" cy="244624"/>
          </a:xfrm>
        </p:spPr>
        <p:txBody>
          <a:bodyPr anchor="b"/>
          <a:lstStyle>
            <a:lvl1pPr marL="0" indent="0" algn="l">
              <a:buNone/>
              <a:tabLst>
                <a:tab pos="270000" algn="l"/>
              </a:tabLst>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l"/>
            <a:r>
              <a:rPr lang="en-US" sz="1000" b="0" dirty="0" err="1"/>
              <a:t>Präsentationstitel</a:t>
            </a:r>
            <a:r>
              <a:rPr lang="en-US" sz="1000" b="0" dirty="0"/>
              <a:t>/</a:t>
            </a:r>
            <a:r>
              <a:rPr lang="en-US" sz="1000" b="0" dirty="0" err="1"/>
              <a:t>Kapiteltitel</a:t>
            </a:r>
            <a:endParaRPr lang="en-US" sz="1000" b="0" dirty="0"/>
          </a:p>
        </p:txBody>
      </p:sp>
      <p:sp>
        <p:nvSpPr>
          <p:cNvPr id="5" name="Foliennummernplatzhalter 4">
            <a:extLst>
              <a:ext uri="{FF2B5EF4-FFF2-40B4-BE49-F238E27FC236}">
                <a16:creationId xmlns:a16="http://schemas.microsoft.com/office/drawing/2014/main" id="{90980E4C-995D-4602-ACB7-9D52C5EB4A31}"/>
              </a:ext>
            </a:extLst>
          </p:cNvPr>
          <p:cNvSpPr>
            <a:spLocks noGrp="1"/>
          </p:cNvSpPr>
          <p:nvPr>
            <p:ph type="sldNum" sz="quarter" idx="14"/>
          </p:nvPr>
        </p:nvSpPr>
        <p:spPr/>
        <p:txBody>
          <a:bodyPr/>
          <a:lstStyle/>
          <a:p>
            <a:fld id="{DF39F119-4393-4CF3-9721-3D889251476B}" type="slidenum">
              <a:rPr lang="en-US" smtClean="0"/>
              <a:pPr/>
              <a:t>‹Nr.›</a:t>
            </a:fld>
            <a:endParaRPr lang="en-US" dirty="0"/>
          </a:p>
        </p:txBody>
      </p:sp>
      <p:sp>
        <p:nvSpPr>
          <p:cNvPr id="7" name="Datumsplatzhalter 6">
            <a:extLst>
              <a:ext uri="{FF2B5EF4-FFF2-40B4-BE49-F238E27FC236}">
                <a16:creationId xmlns:a16="http://schemas.microsoft.com/office/drawing/2014/main" id="{12B62DB9-188F-49D0-A4FE-4D2D492680C0}"/>
              </a:ext>
            </a:extLst>
          </p:cNvPr>
          <p:cNvSpPr>
            <a:spLocks noGrp="1"/>
          </p:cNvSpPr>
          <p:nvPr>
            <p:ph type="dt" sz="half" idx="15"/>
          </p:nvPr>
        </p:nvSpPr>
        <p:spPr>
          <a:xfrm>
            <a:off x="335538" y="6487478"/>
            <a:ext cx="2880320" cy="133264"/>
          </a:xfrm>
        </p:spPr>
        <p:txBody>
          <a:bodyPr/>
          <a:lstStyle/>
          <a:p>
            <a:r>
              <a:rPr lang="en-US"/>
              <a:t>September 15-16, 2022</a:t>
            </a:r>
            <a:endParaRPr lang="en-US" dirty="0"/>
          </a:p>
        </p:txBody>
      </p:sp>
      <p:sp>
        <p:nvSpPr>
          <p:cNvPr id="6" name="TextBox 5">
            <a:extLst>
              <a:ext uri="{FF2B5EF4-FFF2-40B4-BE49-F238E27FC236}">
                <a16:creationId xmlns:a16="http://schemas.microsoft.com/office/drawing/2014/main" id="{63CE8865-CD4C-45F5-B05B-627BD0AB1D84}"/>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Tree>
    <p:extLst>
      <p:ext uri="{BB962C8B-B14F-4D97-AF65-F5344CB8AC3E}">
        <p14:creationId xmlns:p14="http://schemas.microsoft.com/office/powerpoint/2010/main" val="3620163423"/>
      </p:ext>
    </p:extLst>
  </p:cSld>
  <p:clrMapOvr>
    <a:masterClrMapping/>
  </p:clrMapOvr>
  <p:hf hdr="0"/>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5504F-4CD5-6D0A-FE04-E965855E1F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3A4CDD-DF93-38BD-887F-4BBAA735CB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AEA8451-F7BC-15AA-9E0D-B14743A467EF}"/>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5" name="Footer Placeholder 4">
            <a:extLst>
              <a:ext uri="{FF2B5EF4-FFF2-40B4-BE49-F238E27FC236}">
                <a16:creationId xmlns:a16="http://schemas.microsoft.com/office/drawing/2014/main" id="{355AE9E6-5ADD-9EAE-A59D-DAE7726A90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EB99B6-A37E-2BEE-F764-1DEB79178F76}"/>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19318259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5DC55-A863-45B9-EF6D-DFD0061C618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12836E8-34A9-E109-4271-B4C3471F5D6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00FFFD4-D56B-CBD3-AD68-DC95ECC1DF27}"/>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5" name="Footer Placeholder 4">
            <a:extLst>
              <a:ext uri="{FF2B5EF4-FFF2-40B4-BE49-F238E27FC236}">
                <a16:creationId xmlns:a16="http://schemas.microsoft.com/office/drawing/2014/main" id="{4EBC86D4-B16C-54C8-152E-6AF848A318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970DF58-58B6-1575-5F49-051FF5C78821}"/>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39884239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05846-5109-0A1D-E53C-85BBF58357E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843A149-8AA6-08ED-D4D4-7E26096347A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B298509-51BF-FFDA-FC99-2B5226577564}"/>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5" name="Footer Placeholder 4">
            <a:extLst>
              <a:ext uri="{FF2B5EF4-FFF2-40B4-BE49-F238E27FC236}">
                <a16:creationId xmlns:a16="http://schemas.microsoft.com/office/drawing/2014/main" id="{30D4EE0E-A7AE-D757-304E-528804530D1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64AA95-F0DB-DDF8-47F3-630D216485E7}"/>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19810724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4AFF5-46FB-43FB-C912-FB1CF16D6B4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694E36-E520-2749-3AAE-7A7168E9F4A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593651F-728F-C30F-94C7-C1CBA5C262C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64F281B-FC25-1345-FC34-BC47076F9561}"/>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6" name="Footer Placeholder 5">
            <a:extLst>
              <a:ext uri="{FF2B5EF4-FFF2-40B4-BE49-F238E27FC236}">
                <a16:creationId xmlns:a16="http://schemas.microsoft.com/office/drawing/2014/main" id="{63113DD8-0764-2AD4-58CE-638A371A878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1E5A1BE-FD20-3F1C-98EB-4D57CAA220B0}"/>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27907902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untry Description 1">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42D92EA-871A-4725-9B42-29181AB5F397}"/>
              </a:ext>
            </a:extLst>
          </p:cNvPr>
          <p:cNvSpPr>
            <a:spLocks noGrp="1"/>
          </p:cNvSpPr>
          <p:nvPr>
            <p:ph type="body" sz="quarter" idx="19"/>
            <p:custDataLst>
              <p:tags r:id="rId1"/>
            </p:custDataLst>
          </p:nvPr>
        </p:nvSpPr>
        <p:spPr>
          <a:xfrm>
            <a:off x="461640" y="1592265"/>
            <a:ext cx="7269163" cy="2755619"/>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umsplatzhalter 3">
            <a:extLst>
              <a:ext uri="{FF2B5EF4-FFF2-40B4-BE49-F238E27FC236}">
                <a16:creationId xmlns:a16="http://schemas.microsoft.com/office/drawing/2014/main" id="{6C2B568A-0147-42B3-9F7A-A5D8C9D99F6D}"/>
              </a:ext>
            </a:extLst>
          </p:cNvPr>
          <p:cNvSpPr>
            <a:spLocks noGrp="1"/>
          </p:cNvSpPr>
          <p:nvPr>
            <p:ph type="dt" sz="half" idx="10"/>
            <p:custDataLst>
              <p:tags r:id="rId2"/>
            </p:custDataLst>
          </p:nvPr>
        </p:nvSpPr>
        <p:spPr/>
        <p:txBody>
          <a:bodyPr/>
          <a:lstStyle>
            <a:lvl1pPr>
              <a:defRPr lang="en-GB" dirty="0"/>
            </a:lvl1pPr>
          </a:lstStyle>
          <a:p>
            <a:endParaRPr lang="de-AT"/>
          </a:p>
        </p:txBody>
      </p:sp>
      <p:sp>
        <p:nvSpPr>
          <p:cNvPr id="6" name="Foliennummernplatzhalter 5">
            <a:extLst>
              <a:ext uri="{FF2B5EF4-FFF2-40B4-BE49-F238E27FC236}">
                <a16:creationId xmlns:a16="http://schemas.microsoft.com/office/drawing/2014/main" id="{C2BCD42F-6371-4FD7-AFEC-F5CF851D7985}"/>
              </a:ext>
            </a:extLst>
          </p:cNvPr>
          <p:cNvSpPr>
            <a:spLocks noGrp="1"/>
          </p:cNvSpPr>
          <p:nvPr>
            <p:ph type="sldNum" sz="quarter" idx="12"/>
            <p:custDataLst>
              <p:tags r:id="rId3"/>
            </p:custDataLst>
          </p:nvPr>
        </p:nvSpPr>
        <p:spPr/>
        <p:txBody>
          <a:bodyPr/>
          <a:lstStyle/>
          <a:p>
            <a:fld id="{B459E51B-A277-4897-9DDF-ABA4750400EB}" type="slidenum">
              <a:rPr lang="en-GB" smtClean="0"/>
              <a:t>‹Nr.›</a:t>
            </a:fld>
            <a:endParaRPr lang="en-GB" dirty="0"/>
          </a:p>
        </p:txBody>
      </p:sp>
      <p:sp>
        <p:nvSpPr>
          <p:cNvPr id="16" name="Textplatzhalter 13">
            <a:extLst>
              <a:ext uri="{FF2B5EF4-FFF2-40B4-BE49-F238E27FC236}">
                <a16:creationId xmlns:a16="http://schemas.microsoft.com/office/drawing/2014/main" id="{C9BF234E-89A6-4EEB-B0F7-2A2450097A1E}"/>
              </a:ext>
            </a:extLst>
          </p:cNvPr>
          <p:cNvSpPr>
            <a:spLocks noGrp="1"/>
          </p:cNvSpPr>
          <p:nvPr>
            <p:ph type="body" sz="quarter" idx="15" hasCustomPrompt="1"/>
            <p:custDataLst>
              <p:tags r:id="rId4"/>
            </p:custDataLst>
          </p:nvPr>
        </p:nvSpPr>
        <p:spPr>
          <a:xfrm>
            <a:off x="8218133" y="3062180"/>
            <a:ext cx="3508731" cy="2498835"/>
          </a:xfrm>
          <a:prstGeom prst="rect">
            <a:avLst/>
          </a:prstGeom>
        </p:spPr>
        <p:txBody>
          <a:bodyPr/>
          <a:lstStyle>
            <a:lvl1pPr marL="0" indent="0">
              <a:buNone/>
              <a:defRPr sz="1200" b="1">
                <a:solidFill>
                  <a:schemeClr val="accent2"/>
                </a:solidFill>
              </a:defRPr>
            </a:lvl1pPr>
            <a:lvl2pPr marL="0" indent="0">
              <a:spcBef>
                <a:spcPts val="0"/>
              </a:spcBef>
              <a:spcAft>
                <a:spcPts val="1800"/>
              </a:spcAft>
              <a:buNone/>
              <a:defRPr sz="1200" b="1"/>
            </a:lvl2pPr>
            <a:lvl3pPr marL="0" indent="0">
              <a:spcBef>
                <a:spcPts val="0"/>
              </a:spcBef>
              <a:buNone/>
              <a:defRPr sz="1200"/>
            </a:lvl3pPr>
            <a:lvl4pPr marL="985814" indent="0">
              <a:buNone/>
              <a:defRPr/>
            </a:lvl4pPr>
            <a:lvl5pPr marL="1258857" indent="0">
              <a:buNone/>
              <a:defRPr/>
            </a:lvl5pPr>
          </a:lstStyle>
          <a:p>
            <a:pPr lvl="0"/>
            <a:r>
              <a:rPr lang="en-GB" dirty="0"/>
              <a:t>Name</a:t>
            </a:r>
          </a:p>
          <a:p>
            <a:pPr lvl="1"/>
            <a:r>
              <a:rPr lang="en-GB" dirty="0"/>
              <a:t>Function </a:t>
            </a:r>
          </a:p>
          <a:p>
            <a:pPr lvl="2"/>
            <a:r>
              <a:rPr lang="en-GB" dirty="0"/>
              <a:t>Address</a:t>
            </a:r>
          </a:p>
        </p:txBody>
      </p:sp>
      <p:sp>
        <p:nvSpPr>
          <p:cNvPr id="9" name="Bildplatzhalter 8">
            <a:extLst>
              <a:ext uri="{FF2B5EF4-FFF2-40B4-BE49-F238E27FC236}">
                <a16:creationId xmlns:a16="http://schemas.microsoft.com/office/drawing/2014/main" id="{11581BED-00C2-4D87-8340-6332C9CF253D}"/>
              </a:ext>
            </a:extLst>
          </p:cNvPr>
          <p:cNvSpPr>
            <a:spLocks noGrp="1"/>
          </p:cNvSpPr>
          <p:nvPr>
            <p:ph type="pic" sz="quarter" idx="18"/>
            <p:custDataLst>
              <p:tags r:id="rId5"/>
            </p:custDataLst>
          </p:nvPr>
        </p:nvSpPr>
        <p:spPr>
          <a:xfrm>
            <a:off x="8218133" y="1470476"/>
            <a:ext cx="1119251" cy="1527175"/>
          </a:xfrm>
          <a:prstGeom prst="rect">
            <a:avLst/>
          </a:prstGeom>
        </p:spPr>
        <p:txBody>
          <a:bodyPr/>
          <a:lstStyle>
            <a:lvl1pPr marL="0" indent="0">
              <a:buNone/>
              <a:defRPr/>
            </a:lvl1pPr>
          </a:lstStyle>
          <a:p>
            <a:r>
              <a:rPr lang="en-US"/>
              <a:t>Click icon to add picture</a:t>
            </a:r>
            <a:endParaRPr lang="en-GB" dirty="0"/>
          </a:p>
        </p:txBody>
      </p:sp>
      <p:sp>
        <p:nvSpPr>
          <p:cNvPr id="17" name="Text Placeholder 2">
            <a:extLst>
              <a:ext uri="{FF2B5EF4-FFF2-40B4-BE49-F238E27FC236}">
                <a16:creationId xmlns:a16="http://schemas.microsoft.com/office/drawing/2014/main" id="{557455A8-4664-44C6-A471-640DB7880F8B}"/>
              </a:ext>
            </a:extLst>
          </p:cNvPr>
          <p:cNvSpPr>
            <a:spLocks noGrp="1"/>
          </p:cNvSpPr>
          <p:nvPr>
            <p:ph type="body" sz="quarter" idx="20"/>
            <p:custDataLst>
              <p:tags r:id="rId6"/>
            </p:custDataLst>
          </p:nvPr>
        </p:nvSpPr>
        <p:spPr>
          <a:xfrm>
            <a:off x="464343" y="4497571"/>
            <a:ext cx="3397653" cy="1074074"/>
          </a:xfrm>
          <a:prstGeom prst="rect">
            <a:avLst/>
          </a:prstGeom>
        </p:spPr>
        <p:txBody>
          <a:bodyPr/>
          <a:lstStyle>
            <a:lvl1pPr marL="0" indent="0">
              <a:buNone/>
              <a:defRPr sz="1200">
                <a:solidFill>
                  <a:schemeClr val="accent2"/>
                </a:solidFill>
              </a:defRPr>
            </a:lvl1pPr>
            <a:lvl2pPr marL="0" indent="0">
              <a:spcBef>
                <a:spcPts val="0"/>
              </a:spcBef>
              <a:buNone/>
              <a:defRPr sz="1200"/>
            </a:lvl2pPr>
            <a:lvl3pPr marL="712770" indent="0">
              <a:buNone/>
              <a:defRPr sz="1200"/>
            </a:lvl3pPr>
            <a:lvl4pPr marL="985814" indent="0">
              <a:buNone/>
              <a:defRPr/>
            </a:lvl4pPr>
            <a:lvl5pPr marL="1258857" indent="0">
              <a:buNone/>
              <a:defRPr/>
            </a:lvl5pPr>
          </a:lstStyle>
          <a:p>
            <a:pPr lvl="0"/>
            <a:r>
              <a:rPr lang="en-US"/>
              <a:t>Click to edit Master text styles</a:t>
            </a:r>
          </a:p>
          <a:p>
            <a:pPr lvl="1"/>
            <a:r>
              <a:rPr lang="en-US"/>
              <a:t>Second level</a:t>
            </a:r>
          </a:p>
          <a:p>
            <a:pPr lvl="2"/>
            <a:r>
              <a:rPr lang="en-US"/>
              <a:t>Third level</a:t>
            </a:r>
          </a:p>
        </p:txBody>
      </p:sp>
      <p:sp>
        <p:nvSpPr>
          <p:cNvPr id="18" name="Text Placeholder 2">
            <a:extLst>
              <a:ext uri="{FF2B5EF4-FFF2-40B4-BE49-F238E27FC236}">
                <a16:creationId xmlns:a16="http://schemas.microsoft.com/office/drawing/2014/main" id="{7F46B4EA-AF1E-4DDF-BB30-FCC0D60B88B8}"/>
              </a:ext>
            </a:extLst>
          </p:cNvPr>
          <p:cNvSpPr>
            <a:spLocks noGrp="1"/>
          </p:cNvSpPr>
          <p:nvPr>
            <p:ph type="body" sz="quarter" idx="21"/>
            <p:custDataLst>
              <p:tags r:id="rId7"/>
            </p:custDataLst>
          </p:nvPr>
        </p:nvSpPr>
        <p:spPr>
          <a:xfrm>
            <a:off x="4341066" y="4497571"/>
            <a:ext cx="3397997" cy="1074074"/>
          </a:xfrm>
          <a:prstGeom prst="rect">
            <a:avLst/>
          </a:prstGeom>
        </p:spPr>
        <p:txBody>
          <a:bodyPr/>
          <a:lstStyle>
            <a:lvl1pPr marL="0" indent="0">
              <a:buNone/>
              <a:defRPr sz="1200">
                <a:solidFill>
                  <a:schemeClr val="accent2"/>
                </a:solidFill>
              </a:defRPr>
            </a:lvl1pPr>
            <a:lvl2pPr marL="0" indent="0">
              <a:spcBef>
                <a:spcPts val="0"/>
              </a:spcBef>
              <a:buNone/>
              <a:defRPr sz="1200"/>
            </a:lvl2pPr>
            <a:lvl3pPr marL="712770" indent="0">
              <a:buNone/>
              <a:defRPr/>
            </a:lvl3pPr>
            <a:lvl4pPr marL="985814" indent="0">
              <a:buNone/>
              <a:defRPr/>
            </a:lvl4pPr>
            <a:lvl5pPr marL="1258857" indent="0">
              <a:buNone/>
              <a:defRPr/>
            </a:lvl5pPr>
          </a:lstStyle>
          <a:p>
            <a:pPr lvl="0"/>
            <a:r>
              <a:rPr lang="en-US"/>
              <a:t>Click to edit Master text styles</a:t>
            </a:r>
          </a:p>
          <a:p>
            <a:pPr lvl="1"/>
            <a:r>
              <a:rPr lang="en-US"/>
              <a:t>Second level</a:t>
            </a:r>
          </a:p>
        </p:txBody>
      </p:sp>
      <p:sp>
        <p:nvSpPr>
          <p:cNvPr id="11" name="Content Placeholder 6">
            <a:extLst>
              <a:ext uri="{FF2B5EF4-FFF2-40B4-BE49-F238E27FC236}">
                <a16:creationId xmlns:a16="http://schemas.microsoft.com/office/drawing/2014/main" id="{93B6AA9F-C5E8-4610-A9A5-3C11D3BECE2A}"/>
              </a:ext>
            </a:extLst>
          </p:cNvPr>
          <p:cNvSpPr>
            <a:spLocks noGrp="1"/>
          </p:cNvSpPr>
          <p:nvPr>
            <p:ph sz="quarter" idx="26" hasCustomPrompt="1"/>
            <p:custDataLst>
              <p:tags r:id="rId8"/>
            </p:custDataLst>
          </p:nvPr>
        </p:nvSpPr>
        <p:spPr>
          <a:xfrm>
            <a:off x="466726" y="520262"/>
            <a:ext cx="2768401" cy="360000"/>
          </a:xfrm>
        </p:spPr>
        <p:txBody>
          <a:bodyPr/>
          <a:lstStyle>
            <a:lvl1pPr marL="0" indent="0">
              <a:buNone/>
              <a:defRPr/>
            </a:lvl1pPr>
          </a:lstStyle>
          <a:p>
            <a:pPr lvl="0"/>
            <a:r>
              <a:rPr lang="en-GB" dirty="0"/>
              <a:t>Insert Country Tag</a:t>
            </a:r>
          </a:p>
        </p:txBody>
      </p:sp>
    </p:spTree>
    <p:extLst>
      <p:ext uri="{BB962C8B-B14F-4D97-AF65-F5344CB8AC3E}">
        <p14:creationId xmlns:p14="http://schemas.microsoft.com/office/powerpoint/2010/main" val="9240504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7EBB6-F388-1E4C-3FD8-F0D29C54CDD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56F0C25-E89F-D65B-0BF8-2F63506155D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798644B-A9EB-A2E8-F17A-97DFD88815C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C390BB5-A998-52DE-E0B1-E7046965C8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ED569C5-8C34-7BAE-E66E-FD63FDFED57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D43C38A-29ED-D83B-4B8E-384F4A0DDBDC}"/>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8" name="Footer Placeholder 7">
            <a:extLst>
              <a:ext uri="{FF2B5EF4-FFF2-40B4-BE49-F238E27FC236}">
                <a16:creationId xmlns:a16="http://schemas.microsoft.com/office/drawing/2014/main" id="{9D70CECD-3922-3CA5-52EB-5C434E0F780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AEA973D-659B-DC3B-3EA3-11D91A5B4CB4}"/>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3317967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AF6C0-9FF9-8A1D-B10B-4BEB6C061B8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15F5460-332F-3C31-FBDB-5AAD9A1D5C3F}"/>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4" name="Footer Placeholder 3">
            <a:extLst>
              <a:ext uri="{FF2B5EF4-FFF2-40B4-BE49-F238E27FC236}">
                <a16:creationId xmlns:a16="http://schemas.microsoft.com/office/drawing/2014/main" id="{5EACFA09-79B9-49A2-B50A-A8C2AA796AE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FA5AC82-A228-B0E1-996E-7F123156367D}"/>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313874868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D16B5CF-D63E-3E3B-5039-6E4A8655425B}"/>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3" name="Footer Placeholder 2">
            <a:extLst>
              <a:ext uri="{FF2B5EF4-FFF2-40B4-BE49-F238E27FC236}">
                <a16:creationId xmlns:a16="http://schemas.microsoft.com/office/drawing/2014/main" id="{C11E9013-E833-CF29-EF16-478AAB2BECA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025959D-BECC-8608-CD5B-3FCD0C73E9A7}"/>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167969849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181B2-ADA2-AA84-BC0C-0CD76225E7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F764E86-AD5F-51F3-5E22-7B657BFEFA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7A6E79A-BE37-A0C5-8CD1-D66516B2D5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96FD29-DF3C-4163-F9C5-BE62681AECEA}"/>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6" name="Footer Placeholder 5">
            <a:extLst>
              <a:ext uri="{FF2B5EF4-FFF2-40B4-BE49-F238E27FC236}">
                <a16:creationId xmlns:a16="http://schemas.microsoft.com/office/drawing/2014/main" id="{7623871F-8EB1-00D7-9082-ADAED0C767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749516A-62E9-FEE3-B4B3-16891524865A}"/>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218061949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63E87-5257-D234-EF10-7B3FCCBDD0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97E91AD-EFD5-B797-C87F-BCC503D727B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C0F442F-5B22-2A5C-DA7D-189B0B4035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810853-B80A-F40D-71B8-BFB135222C13}"/>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6" name="Footer Placeholder 5">
            <a:extLst>
              <a:ext uri="{FF2B5EF4-FFF2-40B4-BE49-F238E27FC236}">
                <a16:creationId xmlns:a16="http://schemas.microsoft.com/office/drawing/2014/main" id="{8414939B-D26E-DDD7-E523-DD18EF6EA83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1DA9E22-B33E-6D90-FF23-5D810454DDEB}"/>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314975967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F1615-D3B2-066C-8ED4-494D2717AF1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F353F36-E37E-7052-6D9E-266AA6144F2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EC7736A-0553-9767-AA7B-64D6D01A686D}"/>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5" name="Footer Placeholder 4">
            <a:extLst>
              <a:ext uri="{FF2B5EF4-FFF2-40B4-BE49-F238E27FC236}">
                <a16:creationId xmlns:a16="http://schemas.microsoft.com/office/drawing/2014/main" id="{092F3C28-C4CE-DB9D-9047-ABBF769918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D81A580-3CCA-5F05-34BF-2C6BE0136587}"/>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5929899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4E97FC4-C3C1-5EF0-4E66-BFF8F0E1C0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ADF1419-0749-F4F6-D8AF-2ECE843E85B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603466A-F3EA-5326-3A81-6A30E08AC14A}"/>
              </a:ext>
            </a:extLst>
          </p:cNvPr>
          <p:cNvSpPr>
            <a:spLocks noGrp="1"/>
          </p:cNvSpPr>
          <p:nvPr>
            <p:ph type="dt" sz="half" idx="10"/>
          </p:nvPr>
        </p:nvSpPr>
        <p:spPr/>
        <p:txBody>
          <a:bodyPr/>
          <a:lstStyle/>
          <a:p>
            <a:fld id="{8DBCBFA4-1D26-42D4-A731-204A824B86EC}" type="datetimeFigureOut">
              <a:rPr lang="en-GB" smtClean="0"/>
              <a:t>12/09/2022</a:t>
            </a:fld>
            <a:endParaRPr lang="en-GB"/>
          </a:p>
        </p:txBody>
      </p:sp>
      <p:sp>
        <p:nvSpPr>
          <p:cNvPr id="5" name="Footer Placeholder 4">
            <a:extLst>
              <a:ext uri="{FF2B5EF4-FFF2-40B4-BE49-F238E27FC236}">
                <a16:creationId xmlns:a16="http://schemas.microsoft.com/office/drawing/2014/main" id="{8877BCE1-01CA-8F6A-608F-106426E8C0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184E42-ACA2-08FE-D98B-7642556FF2D0}"/>
              </a:ext>
            </a:extLst>
          </p:cNvPr>
          <p:cNvSpPr>
            <a:spLocks noGrp="1"/>
          </p:cNvSpPr>
          <p:nvPr>
            <p:ph type="sldNum" sz="quarter" idx="12"/>
          </p:nvPr>
        </p:nvSpPr>
        <p:spPr/>
        <p:txBody>
          <a:bodyPr/>
          <a:lstStyle/>
          <a:p>
            <a:fld id="{13F7F07B-37EB-427C-B6AB-5D09D0FEA08D}" type="slidenum">
              <a:rPr lang="en-GB" smtClean="0"/>
              <a:t>‹Nr.›</a:t>
            </a:fld>
            <a:endParaRPr lang="en-GB"/>
          </a:p>
        </p:txBody>
      </p:sp>
    </p:spTree>
    <p:extLst>
      <p:ext uri="{BB962C8B-B14F-4D97-AF65-F5344CB8AC3E}">
        <p14:creationId xmlns:p14="http://schemas.microsoft.com/office/powerpoint/2010/main" val="1991275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matchingName="Titelfolie" preserve="1" userDrawn="1">
  <p:cSld name="Titelfoli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447A3-1908-49AF-8A13-C55C4C31B90A}"/>
              </a:ext>
            </a:extLst>
          </p:cNvPr>
          <p:cNvSpPr>
            <a:spLocks noGrp="1"/>
          </p:cNvSpPr>
          <p:nvPr>
            <p:ph type="ctrTitle"/>
          </p:nvPr>
        </p:nvSpPr>
        <p:spPr>
          <a:xfrm>
            <a:off x="334963" y="1484784"/>
            <a:ext cx="7345213" cy="2911302"/>
          </a:xfrm>
        </p:spPr>
        <p:txBody>
          <a:bodyPr anchor="b"/>
          <a:lstStyle>
            <a:lvl1pPr algn="l">
              <a:lnSpc>
                <a:spcPct val="100000"/>
              </a:lnSpc>
              <a:defRPr sz="3000" b="0">
                <a:solidFill>
                  <a:schemeClr val="tx2"/>
                </a:solidFill>
              </a:defRPr>
            </a:lvl1pPr>
          </a:lstStyle>
          <a:p>
            <a:r>
              <a:rPr lang="en-US" dirty="0" err="1"/>
              <a:t>Mastertitelformat</a:t>
            </a:r>
            <a:r>
              <a:rPr lang="en-US" dirty="0"/>
              <a:t> </a:t>
            </a:r>
            <a:r>
              <a:rPr lang="en-US" dirty="0" err="1"/>
              <a:t>bearbeiten</a:t>
            </a:r>
            <a:endParaRPr lang="en-US" dirty="0"/>
          </a:p>
        </p:txBody>
      </p:sp>
      <p:sp>
        <p:nvSpPr>
          <p:cNvPr id="3" name="Subtitle 2">
            <a:extLst>
              <a:ext uri="{FF2B5EF4-FFF2-40B4-BE49-F238E27FC236}">
                <a16:creationId xmlns:a16="http://schemas.microsoft.com/office/drawing/2014/main" id="{08D7740A-619B-49A7-AB15-127E79F1D3A8}"/>
              </a:ext>
            </a:extLst>
          </p:cNvPr>
          <p:cNvSpPr>
            <a:spLocks noGrp="1"/>
          </p:cNvSpPr>
          <p:nvPr>
            <p:ph type="subTitle" idx="1"/>
          </p:nvPr>
        </p:nvSpPr>
        <p:spPr>
          <a:xfrm>
            <a:off x="334963" y="4840560"/>
            <a:ext cx="5761037" cy="1109390"/>
          </a:xfrm>
        </p:spPr>
        <p:txBody>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a:t>
            </a:r>
            <a:r>
              <a:rPr lang="en-US" dirty="0" err="1"/>
              <a:t>Untertitelformat</a:t>
            </a:r>
            <a:r>
              <a:rPr lang="en-US" dirty="0"/>
              <a:t> </a:t>
            </a:r>
            <a:r>
              <a:rPr lang="en-US" dirty="0" err="1"/>
              <a:t>bearbeiten</a:t>
            </a:r>
            <a:endParaRPr lang="en-US" dirty="0"/>
          </a:p>
        </p:txBody>
      </p:sp>
      <p:pic>
        <p:nvPicPr>
          <p:cNvPr id="12" name="Graphic 11">
            <a:extLst>
              <a:ext uri="{FF2B5EF4-FFF2-40B4-BE49-F238E27FC236}">
                <a16:creationId xmlns:a16="http://schemas.microsoft.com/office/drawing/2014/main" id="{7905BA00-AF25-42A7-A10B-89B5B1D0B1D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546988" y="6260768"/>
            <a:ext cx="299851" cy="342000"/>
          </a:xfrm>
          <a:prstGeom prst="rect">
            <a:avLst/>
          </a:prstGeom>
        </p:spPr>
      </p:pic>
      <p:sp>
        <p:nvSpPr>
          <p:cNvPr id="5" name="Datumsplatzhalter 4">
            <a:extLst>
              <a:ext uri="{FF2B5EF4-FFF2-40B4-BE49-F238E27FC236}">
                <a16:creationId xmlns:a16="http://schemas.microsoft.com/office/drawing/2014/main" id="{BAD02487-C324-4497-8F09-36487C156789}"/>
              </a:ext>
            </a:extLst>
          </p:cNvPr>
          <p:cNvSpPr>
            <a:spLocks noGrp="1"/>
          </p:cNvSpPr>
          <p:nvPr>
            <p:ph type="dt" sz="half" idx="13"/>
          </p:nvPr>
        </p:nvSpPr>
        <p:spPr>
          <a:xfrm>
            <a:off x="335538" y="6487478"/>
            <a:ext cx="2880320" cy="133264"/>
          </a:xfrm>
        </p:spPr>
        <p:txBody>
          <a:bodyPr/>
          <a:lstStyle/>
          <a:p>
            <a:r>
              <a:rPr lang="en-US"/>
              <a:t>September 15-16, 2022</a:t>
            </a:r>
            <a:endParaRPr lang="en-US" dirty="0"/>
          </a:p>
        </p:txBody>
      </p:sp>
      <p:sp>
        <p:nvSpPr>
          <p:cNvPr id="6" name="TextBox 5">
            <a:extLst>
              <a:ext uri="{FF2B5EF4-FFF2-40B4-BE49-F238E27FC236}">
                <a16:creationId xmlns:a16="http://schemas.microsoft.com/office/drawing/2014/main" id="{973244D5-C962-4365-8F44-B27EC7B148BE}"/>
              </a:ext>
            </a:extLst>
          </p:cNvPr>
          <p:cNvSpPr txBox="1">
            <a:spLocks/>
          </p:cNvSpPr>
          <p:nvPr userDrawn="1">
            <p:custDataLst>
              <p:tags r:id="rId2"/>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rgbClr val="969696"/>
              </a:solidFill>
            </a:endParaRPr>
          </a:p>
        </p:txBody>
      </p:sp>
      <p:sp>
        <p:nvSpPr>
          <p:cNvPr id="7" name="Grafik 8">
            <a:extLst>
              <a:ext uri="{FF2B5EF4-FFF2-40B4-BE49-F238E27FC236}">
                <a16:creationId xmlns:a16="http://schemas.microsoft.com/office/drawing/2014/main" id="{C756417D-E2FB-4812-9092-3DE5816F7A4C}"/>
              </a:ext>
            </a:extLst>
          </p:cNvPr>
          <p:cNvSpPr/>
          <p:nvPr>
            <p:custDataLst>
              <p:tags r:id="rId3"/>
            </p:custDataLst>
          </p:nvPr>
        </p:nvSpPr>
        <p:spPr>
          <a:xfrm rot="16200000">
            <a:off x="11255014" y="762554"/>
            <a:ext cx="1080483" cy="193634"/>
          </a:xfrm>
          <a:custGeom>
            <a:avLst/>
            <a:gdLst>
              <a:gd name="connsiteX0" fmla="*/ 1026846 w 1080483"/>
              <a:gd name="connsiteY0" fmla="*/ 150260 h 193634"/>
              <a:gd name="connsiteX1" fmla="*/ 1039045 w 1080483"/>
              <a:gd name="connsiteY1" fmla="*/ 150260 h 193634"/>
              <a:gd name="connsiteX2" fmla="*/ 1039045 w 1080483"/>
              <a:gd name="connsiteY2" fmla="*/ 85006 h 193634"/>
              <a:gd name="connsiteX3" fmla="*/ 1042143 w 1080483"/>
              <a:gd name="connsiteY3" fmla="*/ 70870 h 193634"/>
              <a:gd name="connsiteX4" fmla="*/ 1050082 w 1080483"/>
              <a:gd name="connsiteY4" fmla="*/ 60608 h 193634"/>
              <a:gd name="connsiteX5" fmla="*/ 1060732 w 1080483"/>
              <a:gd name="connsiteY5" fmla="*/ 53830 h 193634"/>
              <a:gd name="connsiteX6" fmla="*/ 1071963 w 1080483"/>
              <a:gd name="connsiteY6" fmla="*/ 51894 h 193634"/>
              <a:gd name="connsiteX7" fmla="*/ 1078934 w 1080483"/>
              <a:gd name="connsiteY7" fmla="*/ 52475 h 193634"/>
              <a:gd name="connsiteX8" fmla="*/ 1080483 w 1080483"/>
              <a:gd name="connsiteY8" fmla="*/ 40857 h 193634"/>
              <a:gd name="connsiteX9" fmla="*/ 1076223 w 1080483"/>
              <a:gd name="connsiteY9" fmla="*/ 40276 h 193634"/>
              <a:gd name="connsiteX10" fmla="*/ 1071963 w 1080483"/>
              <a:gd name="connsiteY10" fmla="*/ 40082 h 193634"/>
              <a:gd name="connsiteX11" fmla="*/ 1054149 w 1080483"/>
              <a:gd name="connsiteY11" fmla="*/ 45117 h 193634"/>
              <a:gd name="connsiteX12" fmla="*/ 1039239 w 1080483"/>
              <a:gd name="connsiteY12" fmla="*/ 59446 h 193634"/>
              <a:gd name="connsiteX13" fmla="*/ 1039239 w 1080483"/>
              <a:gd name="connsiteY13" fmla="*/ 41825 h 193634"/>
              <a:gd name="connsiteX14" fmla="*/ 1027040 w 1080483"/>
              <a:gd name="connsiteY14" fmla="*/ 41825 h 193634"/>
              <a:gd name="connsiteX15" fmla="*/ 1027040 w 1080483"/>
              <a:gd name="connsiteY15" fmla="*/ 150260 h 193634"/>
              <a:gd name="connsiteX16" fmla="*/ 913570 w 1080483"/>
              <a:gd name="connsiteY16" fmla="*/ 88685 h 193634"/>
              <a:gd name="connsiteX17" fmla="*/ 924994 w 1080483"/>
              <a:gd name="connsiteY17" fmla="*/ 58284 h 193634"/>
              <a:gd name="connsiteX18" fmla="*/ 950167 w 1080483"/>
              <a:gd name="connsiteY18" fmla="*/ 48409 h 193634"/>
              <a:gd name="connsiteX19" fmla="*/ 965658 w 1080483"/>
              <a:gd name="connsiteY19" fmla="*/ 51313 h 193634"/>
              <a:gd name="connsiteX20" fmla="*/ 976114 w 1080483"/>
              <a:gd name="connsiteY20" fmla="*/ 59639 h 193634"/>
              <a:gd name="connsiteX21" fmla="*/ 981923 w 1080483"/>
              <a:gd name="connsiteY21" fmla="*/ 72419 h 193634"/>
              <a:gd name="connsiteX22" fmla="*/ 983859 w 1080483"/>
              <a:gd name="connsiteY22" fmla="*/ 88685 h 193634"/>
              <a:gd name="connsiteX23" fmla="*/ 913570 w 1080483"/>
              <a:gd name="connsiteY23" fmla="*/ 88685 h 193634"/>
              <a:gd name="connsiteX24" fmla="*/ 983085 w 1080483"/>
              <a:gd name="connsiteY24" fmla="*/ 121990 h 193634"/>
              <a:gd name="connsiteX25" fmla="*/ 979599 w 1080483"/>
              <a:gd name="connsiteY25" fmla="*/ 130703 h 193634"/>
              <a:gd name="connsiteX26" fmla="*/ 973597 w 1080483"/>
              <a:gd name="connsiteY26" fmla="*/ 137480 h 193634"/>
              <a:gd name="connsiteX27" fmla="*/ 964109 w 1080483"/>
              <a:gd name="connsiteY27" fmla="*/ 141934 h 193634"/>
              <a:gd name="connsiteX28" fmla="*/ 950167 w 1080483"/>
              <a:gd name="connsiteY28" fmla="*/ 143483 h 193634"/>
              <a:gd name="connsiteX29" fmla="*/ 934095 w 1080483"/>
              <a:gd name="connsiteY29" fmla="*/ 139998 h 193634"/>
              <a:gd name="connsiteX30" fmla="*/ 922477 w 1080483"/>
              <a:gd name="connsiteY30" fmla="*/ 130510 h 193634"/>
              <a:gd name="connsiteX31" fmla="*/ 915506 w 1080483"/>
              <a:gd name="connsiteY31" fmla="*/ 116374 h 193634"/>
              <a:gd name="connsiteX32" fmla="*/ 913183 w 1080483"/>
              <a:gd name="connsiteY32" fmla="*/ 98947 h 193634"/>
              <a:gd name="connsiteX33" fmla="*/ 996639 w 1080483"/>
              <a:gd name="connsiteY33" fmla="*/ 98947 h 193634"/>
              <a:gd name="connsiteX34" fmla="*/ 996639 w 1080483"/>
              <a:gd name="connsiteY34" fmla="*/ 91202 h 193634"/>
              <a:gd name="connsiteX35" fmla="*/ 994122 w 1080483"/>
              <a:gd name="connsiteY35" fmla="*/ 70289 h 193634"/>
              <a:gd name="connsiteX36" fmla="*/ 985989 w 1080483"/>
              <a:gd name="connsiteY36" fmla="*/ 53637 h 193634"/>
              <a:gd name="connsiteX37" fmla="*/ 971660 w 1080483"/>
              <a:gd name="connsiteY37" fmla="*/ 42406 h 193634"/>
              <a:gd name="connsiteX38" fmla="*/ 950167 w 1080483"/>
              <a:gd name="connsiteY38" fmla="*/ 38340 h 193634"/>
              <a:gd name="connsiteX39" fmla="*/ 930416 w 1080483"/>
              <a:gd name="connsiteY39" fmla="*/ 42212 h 193634"/>
              <a:gd name="connsiteX40" fmla="*/ 914925 w 1080483"/>
              <a:gd name="connsiteY40" fmla="*/ 53443 h 193634"/>
              <a:gd name="connsiteX41" fmla="*/ 904663 w 1080483"/>
              <a:gd name="connsiteY41" fmla="*/ 71838 h 193634"/>
              <a:gd name="connsiteX42" fmla="*/ 900983 w 1080483"/>
              <a:gd name="connsiteY42" fmla="*/ 97011 h 193634"/>
              <a:gd name="connsiteX43" fmla="*/ 913957 w 1080483"/>
              <a:gd name="connsiteY43" fmla="*/ 138449 h 193634"/>
              <a:gd name="connsiteX44" fmla="*/ 950167 w 1080483"/>
              <a:gd name="connsiteY44" fmla="*/ 153552 h 193634"/>
              <a:gd name="connsiteX45" fmla="*/ 981342 w 1080483"/>
              <a:gd name="connsiteY45" fmla="*/ 144645 h 193634"/>
              <a:gd name="connsiteX46" fmla="*/ 994896 w 1080483"/>
              <a:gd name="connsiteY46" fmla="*/ 121602 h 193634"/>
              <a:gd name="connsiteX47" fmla="*/ 983085 w 1080483"/>
              <a:gd name="connsiteY47" fmla="*/ 121602 h 193634"/>
              <a:gd name="connsiteX48" fmla="*/ 858771 w 1080483"/>
              <a:gd name="connsiteY48" fmla="*/ 95849 h 193634"/>
              <a:gd name="connsiteX49" fmla="*/ 854898 w 1080483"/>
              <a:gd name="connsiteY49" fmla="*/ 117149 h 193634"/>
              <a:gd name="connsiteX50" fmla="*/ 843668 w 1080483"/>
              <a:gd name="connsiteY50" fmla="*/ 131090 h 193634"/>
              <a:gd name="connsiteX51" fmla="*/ 833405 w 1080483"/>
              <a:gd name="connsiteY51" fmla="*/ 136319 h 193634"/>
              <a:gd name="connsiteX52" fmla="*/ 821593 w 1080483"/>
              <a:gd name="connsiteY52" fmla="*/ 137868 h 193634"/>
              <a:gd name="connsiteX53" fmla="*/ 809201 w 1080483"/>
              <a:gd name="connsiteY53" fmla="*/ 135544 h 193634"/>
              <a:gd name="connsiteX54" fmla="*/ 798163 w 1080483"/>
              <a:gd name="connsiteY54" fmla="*/ 127992 h 193634"/>
              <a:gd name="connsiteX55" fmla="*/ 790224 w 1080483"/>
              <a:gd name="connsiteY55" fmla="*/ 114438 h 193634"/>
              <a:gd name="connsiteX56" fmla="*/ 787126 w 1080483"/>
              <a:gd name="connsiteY56" fmla="*/ 93913 h 193634"/>
              <a:gd name="connsiteX57" fmla="*/ 789837 w 1080483"/>
              <a:gd name="connsiteY57" fmla="*/ 73387 h 193634"/>
              <a:gd name="connsiteX58" fmla="*/ 797389 w 1080483"/>
              <a:gd name="connsiteY58" fmla="*/ 59446 h 193634"/>
              <a:gd name="connsiteX59" fmla="*/ 808813 w 1080483"/>
              <a:gd name="connsiteY59" fmla="*/ 51507 h 193634"/>
              <a:gd name="connsiteX60" fmla="*/ 823142 w 1080483"/>
              <a:gd name="connsiteY60" fmla="*/ 48990 h 193634"/>
              <a:gd name="connsiteX61" fmla="*/ 834373 w 1080483"/>
              <a:gd name="connsiteY61" fmla="*/ 50732 h 193634"/>
              <a:gd name="connsiteX62" fmla="*/ 844442 w 1080483"/>
              <a:gd name="connsiteY62" fmla="*/ 56154 h 193634"/>
              <a:gd name="connsiteX63" fmla="*/ 851026 w 1080483"/>
              <a:gd name="connsiteY63" fmla="*/ 62157 h 193634"/>
              <a:gd name="connsiteX64" fmla="*/ 855479 w 1080483"/>
              <a:gd name="connsiteY64" fmla="*/ 69515 h 193634"/>
              <a:gd name="connsiteX65" fmla="*/ 857997 w 1080483"/>
              <a:gd name="connsiteY65" fmla="*/ 79003 h 193634"/>
              <a:gd name="connsiteX66" fmla="*/ 858771 w 1080483"/>
              <a:gd name="connsiteY66" fmla="*/ 91783 h 193634"/>
              <a:gd name="connsiteX67" fmla="*/ 858771 w 1080483"/>
              <a:gd name="connsiteY67" fmla="*/ 95849 h 193634"/>
              <a:gd name="connsiteX68" fmla="*/ 778219 w 1080483"/>
              <a:gd name="connsiteY68" fmla="*/ 162072 h 193634"/>
              <a:gd name="connsiteX69" fmla="*/ 783060 w 1080483"/>
              <a:gd name="connsiteY69" fmla="*/ 176788 h 193634"/>
              <a:gd name="connsiteX70" fmla="*/ 792935 w 1080483"/>
              <a:gd name="connsiteY70" fmla="*/ 186470 h 193634"/>
              <a:gd name="connsiteX71" fmla="*/ 806877 w 1080483"/>
              <a:gd name="connsiteY71" fmla="*/ 191892 h 193634"/>
              <a:gd name="connsiteX72" fmla="*/ 824110 w 1080483"/>
              <a:gd name="connsiteY72" fmla="*/ 193634 h 193634"/>
              <a:gd name="connsiteX73" fmla="*/ 859546 w 1080483"/>
              <a:gd name="connsiteY73" fmla="*/ 181048 h 193634"/>
              <a:gd name="connsiteX74" fmla="*/ 870776 w 1080483"/>
              <a:gd name="connsiteY74" fmla="*/ 146581 h 193634"/>
              <a:gd name="connsiteX75" fmla="*/ 870776 w 1080483"/>
              <a:gd name="connsiteY75" fmla="*/ 41825 h 193634"/>
              <a:gd name="connsiteX76" fmla="*/ 858577 w 1080483"/>
              <a:gd name="connsiteY76" fmla="*/ 41825 h 193634"/>
              <a:gd name="connsiteX77" fmla="*/ 858577 w 1080483"/>
              <a:gd name="connsiteY77" fmla="*/ 56735 h 193634"/>
              <a:gd name="connsiteX78" fmla="*/ 841538 w 1080483"/>
              <a:gd name="connsiteY78" fmla="*/ 42600 h 193634"/>
              <a:gd name="connsiteX79" fmla="*/ 823142 w 1080483"/>
              <a:gd name="connsiteY79" fmla="*/ 38727 h 193634"/>
              <a:gd name="connsiteX80" fmla="*/ 802617 w 1080483"/>
              <a:gd name="connsiteY80" fmla="*/ 42793 h 193634"/>
              <a:gd name="connsiteX81" fmla="*/ 787320 w 1080483"/>
              <a:gd name="connsiteY81" fmla="*/ 54024 h 193634"/>
              <a:gd name="connsiteX82" fmla="*/ 777638 w 1080483"/>
              <a:gd name="connsiteY82" fmla="*/ 71645 h 193634"/>
              <a:gd name="connsiteX83" fmla="*/ 774346 w 1080483"/>
              <a:gd name="connsiteY83" fmla="*/ 94687 h 193634"/>
              <a:gd name="connsiteX84" fmla="*/ 777057 w 1080483"/>
              <a:gd name="connsiteY84" fmla="*/ 115019 h 193634"/>
              <a:gd name="connsiteX85" fmla="*/ 785383 w 1080483"/>
              <a:gd name="connsiteY85" fmla="*/ 132446 h 193634"/>
              <a:gd name="connsiteX86" fmla="*/ 799906 w 1080483"/>
              <a:gd name="connsiteY86" fmla="*/ 144645 h 193634"/>
              <a:gd name="connsiteX87" fmla="*/ 820819 w 1080483"/>
              <a:gd name="connsiteY87" fmla="*/ 149098 h 193634"/>
              <a:gd name="connsiteX88" fmla="*/ 842699 w 1080483"/>
              <a:gd name="connsiteY88" fmla="*/ 143870 h 193634"/>
              <a:gd name="connsiteX89" fmla="*/ 858577 w 1080483"/>
              <a:gd name="connsiteY89" fmla="*/ 129154 h 193634"/>
              <a:gd name="connsiteX90" fmla="*/ 858577 w 1080483"/>
              <a:gd name="connsiteY90" fmla="*/ 145419 h 193634"/>
              <a:gd name="connsiteX91" fmla="*/ 850251 w 1080483"/>
              <a:gd name="connsiteY91" fmla="*/ 174852 h 193634"/>
              <a:gd name="connsiteX92" fmla="*/ 823917 w 1080483"/>
              <a:gd name="connsiteY92" fmla="*/ 183565 h 193634"/>
              <a:gd name="connsiteX93" fmla="*/ 800100 w 1080483"/>
              <a:gd name="connsiteY93" fmla="*/ 178337 h 193634"/>
              <a:gd name="connsiteX94" fmla="*/ 790031 w 1080483"/>
              <a:gd name="connsiteY94" fmla="*/ 162459 h 193634"/>
              <a:gd name="connsiteX95" fmla="*/ 778219 w 1080483"/>
              <a:gd name="connsiteY95" fmla="*/ 162459 h 193634"/>
              <a:gd name="connsiteX96" fmla="*/ 705799 w 1080483"/>
              <a:gd name="connsiteY96" fmla="*/ 150260 h 193634"/>
              <a:gd name="connsiteX97" fmla="*/ 717998 w 1080483"/>
              <a:gd name="connsiteY97" fmla="*/ 150260 h 193634"/>
              <a:gd name="connsiteX98" fmla="*/ 717998 w 1080483"/>
              <a:gd name="connsiteY98" fmla="*/ 85006 h 193634"/>
              <a:gd name="connsiteX99" fmla="*/ 721097 w 1080483"/>
              <a:gd name="connsiteY99" fmla="*/ 70870 h 193634"/>
              <a:gd name="connsiteX100" fmla="*/ 729036 w 1080483"/>
              <a:gd name="connsiteY100" fmla="*/ 60608 h 193634"/>
              <a:gd name="connsiteX101" fmla="*/ 739686 w 1080483"/>
              <a:gd name="connsiteY101" fmla="*/ 53830 h 193634"/>
              <a:gd name="connsiteX102" fmla="*/ 750916 w 1080483"/>
              <a:gd name="connsiteY102" fmla="*/ 51894 h 193634"/>
              <a:gd name="connsiteX103" fmla="*/ 757887 w 1080483"/>
              <a:gd name="connsiteY103" fmla="*/ 52475 h 193634"/>
              <a:gd name="connsiteX104" fmla="*/ 759436 w 1080483"/>
              <a:gd name="connsiteY104" fmla="*/ 40857 h 193634"/>
              <a:gd name="connsiteX105" fmla="*/ 755176 w 1080483"/>
              <a:gd name="connsiteY105" fmla="*/ 40276 h 193634"/>
              <a:gd name="connsiteX106" fmla="*/ 750916 w 1080483"/>
              <a:gd name="connsiteY106" fmla="*/ 40082 h 193634"/>
              <a:gd name="connsiteX107" fmla="*/ 733102 w 1080483"/>
              <a:gd name="connsiteY107" fmla="*/ 45117 h 193634"/>
              <a:gd name="connsiteX108" fmla="*/ 718192 w 1080483"/>
              <a:gd name="connsiteY108" fmla="*/ 59446 h 193634"/>
              <a:gd name="connsiteX109" fmla="*/ 718192 w 1080483"/>
              <a:gd name="connsiteY109" fmla="*/ 41825 h 193634"/>
              <a:gd name="connsiteX110" fmla="*/ 705993 w 1080483"/>
              <a:gd name="connsiteY110" fmla="*/ 41825 h 193634"/>
              <a:gd name="connsiteX111" fmla="*/ 705993 w 1080483"/>
              <a:gd name="connsiteY111" fmla="*/ 150260 h 193634"/>
              <a:gd name="connsiteX112" fmla="*/ 585358 w 1080483"/>
              <a:gd name="connsiteY112" fmla="*/ 114051 h 193634"/>
              <a:gd name="connsiteX113" fmla="*/ 593298 w 1080483"/>
              <a:gd name="connsiteY113" fmla="*/ 143483 h 193634"/>
              <a:gd name="connsiteX114" fmla="*/ 619826 w 1080483"/>
              <a:gd name="connsiteY114" fmla="*/ 153552 h 193634"/>
              <a:gd name="connsiteX115" fmla="*/ 659133 w 1080483"/>
              <a:gd name="connsiteY115" fmla="*/ 132446 h 193634"/>
              <a:gd name="connsiteX116" fmla="*/ 659133 w 1080483"/>
              <a:gd name="connsiteY116" fmla="*/ 150067 h 193634"/>
              <a:gd name="connsiteX117" fmla="*/ 671332 w 1080483"/>
              <a:gd name="connsiteY117" fmla="*/ 150067 h 193634"/>
              <a:gd name="connsiteX118" fmla="*/ 671332 w 1080483"/>
              <a:gd name="connsiteY118" fmla="*/ 41631 h 193634"/>
              <a:gd name="connsiteX119" fmla="*/ 659133 w 1080483"/>
              <a:gd name="connsiteY119" fmla="*/ 41631 h 193634"/>
              <a:gd name="connsiteX120" fmla="*/ 659133 w 1080483"/>
              <a:gd name="connsiteY120" fmla="*/ 105143 h 193634"/>
              <a:gd name="connsiteX121" fmla="*/ 656035 w 1080483"/>
              <a:gd name="connsiteY121" fmla="*/ 121021 h 193634"/>
              <a:gd name="connsiteX122" fmla="*/ 646741 w 1080483"/>
              <a:gd name="connsiteY122" fmla="*/ 132252 h 193634"/>
              <a:gd name="connsiteX123" fmla="*/ 634348 w 1080483"/>
              <a:gd name="connsiteY123" fmla="*/ 139804 h 193634"/>
              <a:gd name="connsiteX124" fmla="*/ 621375 w 1080483"/>
              <a:gd name="connsiteY124" fmla="*/ 142321 h 193634"/>
              <a:gd name="connsiteX125" fmla="*/ 602979 w 1080483"/>
              <a:gd name="connsiteY125" fmla="*/ 134770 h 193634"/>
              <a:gd name="connsiteX126" fmla="*/ 597558 w 1080483"/>
              <a:gd name="connsiteY126" fmla="*/ 110178 h 193634"/>
              <a:gd name="connsiteX127" fmla="*/ 597558 w 1080483"/>
              <a:gd name="connsiteY127" fmla="*/ 41825 h 193634"/>
              <a:gd name="connsiteX128" fmla="*/ 585358 w 1080483"/>
              <a:gd name="connsiteY128" fmla="*/ 41825 h 193634"/>
              <a:gd name="connsiteX129" fmla="*/ 585358 w 1080483"/>
              <a:gd name="connsiteY129" fmla="*/ 114051 h 193634"/>
              <a:gd name="connsiteX130" fmla="*/ 470920 w 1080483"/>
              <a:gd name="connsiteY130" fmla="*/ 91008 h 193634"/>
              <a:gd name="connsiteX131" fmla="*/ 474987 w 1080483"/>
              <a:gd name="connsiteY131" fmla="*/ 69902 h 193634"/>
              <a:gd name="connsiteX132" fmla="*/ 486411 w 1080483"/>
              <a:gd name="connsiteY132" fmla="*/ 56154 h 193634"/>
              <a:gd name="connsiteX133" fmla="*/ 496867 w 1080483"/>
              <a:gd name="connsiteY133" fmla="*/ 50732 h 193634"/>
              <a:gd name="connsiteX134" fmla="*/ 508679 w 1080483"/>
              <a:gd name="connsiteY134" fmla="*/ 49183 h 193634"/>
              <a:gd name="connsiteX135" fmla="*/ 520684 w 1080483"/>
              <a:gd name="connsiteY135" fmla="*/ 51313 h 193634"/>
              <a:gd name="connsiteX136" fmla="*/ 531722 w 1080483"/>
              <a:gd name="connsiteY136" fmla="*/ 58865 h 193634"/>
              <a:gd name="connsiteX137" fmla="*/ 539661 w 1080483"/>
              <a:gd name="connsiteY137" fmla="*/ 73000 h 193634"/>
              <a:gd name="connsiteX138" fmla="*/ 542759 w 1080483"/>
              <a:gd name="connsiteY138" fmla="*/ 95074 h 193634"/>
              <a:gd name="connsiteX139" fmla="*/ 540048 w 1080483"/>
              <a:gd name="connsiteY139" fmla="*/ 117342 h 193634"/>
              <a:gd name="connsiteX140" fmla="*/ 532496 w 1080483"/>
              <a:gd name="connsiteY140" fmla="*/ 132252 h 193634"/>
              <a:gd name="connsiteX141" fmla="*/ 521265 w 1080483"/>
              <a:gd name="connsiteY141" fmla="*/ 140579 h 193634"/>
              <a:gd name="connsiteX142" fmla="*/ 506936 w 1080483"/>
              <a:gd name="connsiteY142" fmla="*/ 143289 h 193634"/>
              <a:gd name="connsiteX143" fmla="*/ 495318 w 1080483"/>
              <a:gd name="connsiteY143" fmla="*/ 141547 h 193634"/>
              <a:gd name="connsiteX144" fmla="*/ 485443 w 1080483"/>
              <a:gd name="connsiteY144" fmla="*/ 136125 h 193634"/>
              <a:gd name="connsiteX145" fmla="*/ 478666 w 1080483"/>
              <a:gd name="connsiteY145" fmla="*/ 130122 h 193634"/>
              <a:gd name="connsiteX146" fmla="*/ 474212 w 1080483"/>
              <a:gd name="connsiteY146" fmla="*/ 122571 h 193634"/>
              <a:gd name="connsiteX147" fmla="*/ 471695 w 1080483"/>
              <a:gd name="connsiteY147" fmla="*/ 113082 h 193634"/>
              <a:gd name="connsiteX148" fmla="*/ 470920 w 1080483"/>
              <a:gd name="connsiteY148" fmla="*/ 100496 h 193634"/>
              <a:gd name="connsiteX149" fmla="*/ 470920 w 1080483"/>
              <a:gd name="connsiteY149" fmla="*/ 91008 h 193634"/>
              <a:gd name="connsiteX150" fmla="*/ 459109 w 1080483"/>
              <a:gd name="connsiteY150" fmla="*/ 150260 h 193634"/>
              <a:gd name="connsiteX151" fmla="*/ 471307 w 1080483"/>
              <a:gd name="connsiteY151" fmla="*/ 150260 h 193634"/>
              <a:gd name="connsiteX152" fmla="*/ 471307 w 1080483"/>
              <a:gd name="connsiteY152" fmla="*/ 135544 h 193634"/>
              <a:gd name="connsiteX153" fmla="*/ 487960 w 1080483"/>
              <a:gd name="connsiteY153" fmla="*/ 149679 h 193634"/>
              <a:gd name="connsiteX154" fmla="*/ 506936 w 1080483"/>
              <a:gd name="connsiteY154" fmla="*/ 153746 h 193634"/>
              <a:gd name="connsiteX155" fmla="*/ 527074 w 1080483"/>
              <a:gd name="connsiteY155" fmla="*/ 149679 h 193634"/>
              <a:gd name="connsiteX156" fmla="*/ 542372 w 1080483"/>
              <a:gd name="connsiteY156" fmla="*/ 138061 h 193634"/>
              <a:gd name="connsiteX157" fmla="*/ 552247 w 1080483"/>
              <a:gd name="connsiteY157" fmla="*/ 119666 h 193634"/>
              <a:gd name="connsiteX158" fmla="*/ 555732 w 1080483"/>
              <a:gd name="connsiteY158" fmla="*/ 94881 h 193634"/>
              <a:gd name="connsiteX159" fmla="*/ 552828 w 1080483"/>
              <a:gd name="connsiteY159" fmla="*/ 72613 h 193634"/>
              <a:gd name="connsiteX160" fmla="*/ 544114 w 1080483"/>
              <a:gd name="connsiteY160" fmla="*/ 54799 h 193634"/>
              <a:gd name="connsiteX161" fmla="*/ 529398 w 1080483"/>
              <a:gd name="connsiteY161" fmla="*/ 42987 h 193634"/>
              <a:gd name="connsiteX162" fmla="*/ 508679 w 1080483"/>
              <a:gd name="connsiteY162" fmla="*/ 38727 h 193634"/>
              <a:gd name="connsiteX163" fmla="*/ 487186 w 1080483"/>
              <a:gd name="connsiteY163" fmla="*/ 43955 h 193634"/>
              <a:gd name="connsiteX164" fmla="*/ 470920 w 1080483"/>
              <a:gd name="connsiteY164" fmla="*/ 58284 h 193634"/>
              <a:gd name="connsiteX165" fmla="*/ 470920 w 1080483"/>
              <a:gd name="connsiteY165" fmla="*/ 194 h 193634"/>
              <a:gd name="connsiteX166" fmla="*/ 458721 w 1080483"/>
              <a:gd name="connsiteY166" fmla="*/ 194 h 193634"/>
              <a:gd name="connsiteX167" fmla="*/ 458721 w 1080483"/>
              <a:gd name="connsiteY167" fmla="*/ 150260 h 193634"/>
              <a:gd name="connsiteX168" fmla="*/ 274768 w 1080483"/>
              <a:gd name="connsiteY168" fmla="*/ 150260 h 193634"/>
              <a:gd name="connsiteX169" fmla="*/ 286967 w 1080483"/>
              <a:gd name="connsiteY169" fmla="*/ 150260 h 193634"/>
              <a:gd name="connsiteX170" fmla="*/ 286967 w 1080483"/>
              <a:gd name="connsiteY170" fmla="*/ 86167 h 193634"/>
              <a:gd name="connsiteX171" fmla="*/ 288129 w 1080483"/>
              <a:gd name="connsiteY171" fmla="*/ 76486 h 193634"/>
              <a:gd name="connsiteX172" fmla="*/ 291033 w 1080483"/>
              <a:gd name="connsiteY172" fmla="*/ 69127 h 193634"/>
              <a:gd name="connsiteX173" fmla="*/ 294906 w 1080483"/>
              <a:gd name="connsiteY173" fmla="*/ 63706 h 193634"/>
              <a:gd name="connsiteX174" fmla="*/ 298972 w 1080483"/>
              <a:gd name="connsiteY174" fmla="*/ 59639 h 193634"/>
              <a:gd name="connsiteX175" fmla="*/ 310010 w 1080483"/>
              <a:gd name="connsiteY175" fmla="*/ 52088 h 193634"/>
              <a:gd name="connsiteX176" fmla="*/ 321821 w 1080483"/>
              <a:gd name="connsiteY176" fmla="*/ 49377 h 193634"/>
              <a:gd name="connsiteX177" fmla="*/ 338474 w 1080483"/>
              <a:gd name="connsiteY177" fmla="*/ 55960 h 193634"/>
              <a:gd name="connsiteX178" fmla="*/ 343896 w 1080483"/>
              <a:gd name="connsiteY178" fmla="*/ 78422 h 193634"/>
              <a:gd name="connsiteX179" fmla="*/ 343896 w 1080483"/>
              <a:gd name="connsiteY179" fmla="*/ 150260 h 193634"/>
              <a:gd name="connsiteX180" fmla="*/ 356095 w 1080483"/>
              <a:gd name="connsiteY180" fmla="*/ 150260 h 193634"/>
              <a:gd name="connsiteX181" fmla="*/ 356095 w 1080483"/>
              <a:gd name="connsiteY181" fmla="*/ 80939 h 193634"/>
              <a:gd name="connsiteX182" fmla="*/ 359387 w 1080483"/>
              <a:gd name="connsiteY182" fmla="*/ 67578 h 193634"/>
              <a:gd name="connsiteX183" fmla="*/ 367713 w 1080483"/>
              <a:gd name="connsiteY183" fmla="*/ 57897 h 193634"/>
              <a:gd name="connsiteX184" fmla="*/ 379525 w 1080483"/>
              <a:gd name="connsiteY184" fmla="*/ 51313 h 193634"/>
              <a:gd name="connsiteX185" fmla="*/ 390562 w 1080483"/>
              <a:gd name="connsiteY185" fmla="*/ 49570 h 193634"/>
              <a:gd name="connsiteX186" fmla="*/ 400437 w 1080483"/>
              <a:gd name="connsiteY186" fmla="*/ 50926 h 193634"/>
              <a:gd name="connsiteX187" fmla="*/ 407408 w 1080483"/>
              <a:gd name="connsiteY187" fmla="*/ 55573 h 193634"/>
              <a:gd name="connsiteX188" fmla="*/ 411668 w 1080483"/>
              <a:gd name="connsiteY188" fmla="*/ 64480 h 193634"/>
              <a:gd name="connsiteX189" fmla="*/ 413023 w 1080483"/>
              <a:gd name="connsiteY189" fmla="*/ 78422 h 193634"/>
              <a:gd name="connsiteX190" fmla="*/ 413023 w 1080483"/>
              <a:gd name="connsiteY190" fmla="*/ 150454 h 193634"/>
              <a:gd name="connsiteX191" fmla="*/ 425222 w 1080483"/>
              <a:gd name="connsiteY191" fmla="*/ 150454 h 193634"/>
              <a:gd name="connsiteX192" fmla="*/ 425222 w 1080483"/>
              <a:gd name="connsiteY192" fmla="*/ 73968 h 193634"/>
              <a:gd name="connsiteX193" fmla="*/ 416315 w 1080483"/>
              <a:gd name="connsiteY193" fmla="*/ 47053 h 193634"/>
              <a:gd name="connsiteX194" fmla="*/ 391917 w 1080483"/>
              <a:gd name="connsiteY194" fmla="*/ 38533 h 193634"/>
              <a:gd name="connsiteX195" fmla="*/ 370617 w 1080483"/>
              <a:gd name="connsiteY195" fmla="*/ 44149 h 193634"/>
              <a:gd name="connsiteX196" fmla="*/ 353384 w 1080483"/>
              <a:gd name="connsiteY196" fmla="*/ 59833 h 193634"/>
              <a:gd name="connsiteX197" fmla="*/ 342347 w 1080483"/>
              <a:gd name="connsiteY197" fmla="*/ 44149 h 193634"/>
              <a:gd name="connsiteX198" fmla="*/ 322402 w 1080483"/>
              <a:gd name="connsiteY198" fmla="*/ 38533 h 193634"/>
              <a:gd name="connsiteX199" fmla="*/ 303813 w 1080483"/>
              <a:gd name="connsiteY199" fmla="*/ 43761 h 193634"/>
              <a:gd name="connsiteX200" fmla="*/ 286580 w 1080483"/>
              <a:gd name="connsiteY200" fmla="*/ 59833 h 193634"/>
              <a:gd name="connsiteX201" fmla="*/ 286580 w 1080483"/>
              <a:gd name="connsiteY201" fmla="*/ 42019 h 193634"/>
              <a:gd name="connsiteX202" fmla="*/ 274381 w 1080483"/>
              <a:gd name="connsiteY202" fmla="*/ 42019 h 193634"/>
              <a:gd name="connsiteX203" fmla="*/ 274381 w 1080483"/>
              <a:gd name="connsiteY203" fmla="*/ 150260 h 193634"/>
              <a:gd name="connsiteX204" fmla="*/ 214935 w 1080483"/>
              <a:gd name="connsiteY204" fmla="*/ 149679 h 193634"/>
              <a:gd name="connsiteX205" fmla="*/ 231200 w 1080483"/>
              <a:gd name="connsiteY205" fmla="*/ 137868 h 193634"/>
              <a:gd name="connsiteX206" fmla="*/ 241463 w 1080483"/>
              <a:gd name="connsiteY206" fmla="*/ 119472 h 193634"/>
              <a:gd name="connsiteX207" fmla="*/ 245142 w 1080483"/>
              <a:gd name="connsiteY207" fmla="*/ 95462 h 193634"/>
              <a:gd name="connsiteX208" fmla="*/ 241656 w 1080483"/>
              <a:gd name="connsiteY208" fmla="*/ 72032 h 193634"/>
              <a:gd name="connsiteX209" fmla="*/ 231587 w 1080483"/>
              <a:gd name="connsiteY209" fmla="*/ 54024 h 193634"/>
              <a:gd name="connsiteX210" fmla="*/ 215516 w 1080483"/>
              <a:gd name="connsiteY210" fmla="*/ 42600 h 193634"/>
              <a:gd name="connsiteX211" fmla="*/ 194216 w 1080483"/>
              <a:gd name="connsiteY211" fmla="*/ 38533 h 193634"/>
              <a:gd name="connsiteX212" fmla="*/ 172916 w 1080483"/>
              <a:gd name="connsiteY212" fmla="*/ 42600 h 193634"/>
              <a:gd name="connsiteX213" fmla="*/ 156844 w 1080483"/>
              <a:gd name="connsiteY213" fmla="*/ 54218 h 193634"/>
              <a:gd name="connsiteX214" fmla="*/ 146582 w 1080483"/>
              <a:gd name="connsiteY214" fmla="*/ 72613 h 193634"/>
              <a:gd name="connsiteX215" fmla="*/ 142903 w 1080483"/>
              <a:gd name="connsiteY215" fmla="*/ 96624 h 193634"/>
              <a:gd name="connsiteX216" fmla="*/ 146388 w 1080483"/>
              <a:gd name="connsiteY216" fmla="*/ 120247 h 193634"/>
              <a:gd name="connsiteX217" fmla="*/ 156263 w 1080483"/>
              <a:gd name="connsiteY217" fmla="*/ 138255 h 193634"/>
              <a:gd name="connsiteX218" fmla="*/ 171948 w 1080483"/>
              <a:gd name="connsiteY218" fmla="*/ 149679 h 193634"/>
              <a:gd name="connsiteX219" fmla="*/ 193248 w 1080483"/>
              <a:gd name="connsiteY219" fmla="*/ 153746 h 193634"/>
              <a:gd name="connsiteX220" fmla="*/ 214935 w 1080483"/>
              <a:gd name="connsiteY220" fmla="*/ 149679 h 193634"/>
              <a:gd name="connsiteX221" fmla="*/ 176401 w 1080483"/>
              <a:gd name="connsiteY221" fmla="*/ 139417 h 193634"/>
              <a:gd name="connsiteX222" fmla="*/ 164590 w 1080483"/>
              <a:gd name="connsiteY222" fmla="*/ 129348 h 193634"/>
              <a:gd name="connsiteX223" fmla="*/ 158006 w 1080483"/>
              <a:gd name="connsiteY223" fmla="*/ 114438 h 193634"/>
              <a:gd name="connsiteX224" fmla="*/ 155876 w 1080483"/>
              <a:gd name="connsiteY224" fmla="*/ 95849 h 193634"/>
              <a:gd name="connsiteX225" fmla="*/ 158006 w 1080483"/>
              <a:gd name="connsiteY225" fmla="*/ 77454 h 193634"/>
              <a:gd name="connsiteX226" fmla="*/ 164590 w 1080483"/>
              <a:gd name="connsiteY226" fmla="*/ 62544 h 193634"/>
              <a:gd name="connsiteX227" fmla="*/ 176401 w 1080483"/>
              <a:gd name="connsiteY227" fmla="*/ 52475 h 193634"/>
              <a:gd name="connsiteX228" fmla="*/ 193829 w 1080483"/>
              <a:gd name="connsiteY228" fmla="*/ 48796 h 193634"/>
              <a:gd name="connsiteX229" fmla="*/ 211256 w 1080483"/>
              <a:gd name="connsiteY229" fmla="*/ 52475 h 193634"/>
              <a:gd name="connsiteX230" fmla="*/ 223067 w 1080483"/>
              <a:gd name="connsiteY230" fmla="*/ 62544 h 193634"/>
              <a:gd name="connsiteX231" fmla="*/ 229845 w 1080483"/>
              <a:gd name="connsiteY231" fmla="*/ 77454 h 193634"/>
              <a:gd name="connsiteX232" fmla="*/ 231975 w 1080483"/>
              <a:gd name="connsiteY232" fmla="*/ 95655 h 193634"/>
              <a:gd name="connsiteX233" fmla="*/ 229845 w 1080483"/>
              <a:gd name="connsiteY233" fmla="*/ 114438 h 193634"/>
              <a:gd name="connsiteX234" fmla="*/ 223067 w 1080483"/>
              <a:gd name="connsiteY234" fmla="*/ 129348 h 193634"/>
              <a:gd name="connsiteX235" fmla="*/ 211256 w 1080483"/>
              <a:gd name="connsiteY235" fmla="*/ 139417 h 193634"/>
              <a:gd name="connsiteX236" fmla="*/ 193829 w 1080483"/>
              <a:gd name="connsiteY236" fmla="*/ 143096 h 193634"/>
              <a:gd name="connsiteX237" fmla="*/ 176401 w 1080483"/>
              <a:gd name="connsiteY237" fmla="*/ 139417 h 193634"/>
              <a:gd name="connsiteX238" fmla="*/ 0 w 1080483"/>
              <a:gd name="connsiteY238" fmla="*/ 150260 h 193634"/>
              <a:gd name="connsiteX239" fmla="*/ 12780 w 1080483"/>
              <a:gd name="connsiteY239" fmla="*/ 150260 h 193634"/>
              <a:gd name="connsiteX240" fmla="*/ 12780 w 1080483"/>
              <a:gd name="connsiteY240" fmla="*/ 78616 h 193634"/>
              <a:gd name="connsiteX241" fmla="*/ 97592 w 1080483"/>
              <a:gd name="connsiteY241" fmla="*/ 78616 h 193634"/>
              <a:gd name="connsiteX242" fmla="*/ 97592 w 1080483"/>
              <a:gd name="connsiteY242" fmla="*/ 150454 h 193634"/>
              <a:gd name="connsiteX243" fmla="*/ 110372 w 1080483"/>
              <a:gd name="connsiteY243" fmla="*/ 150454 h 193634"/>
              <a:gd name="connsiteX244" fmla="*/ 110372 w 1080483"/>
              <a:gd name="connsiteY244" fmla="*/ 0 h 193634"/>
              <a:gd name="connsiteX245" fmla="*/ 97592 w 1080483"/>
              <a:gd name="connsiteY245" fmla="*/ 0 h 193634"/>
              <a:gd name="connsiteX246" fmla="*/ 97592 w 1080483"/>
              <a:gd name="connsiteY246" fmla="*/ 66610 h 193634"/>
              <a:gd name="connsiteX247" fmla="*/ 12780 w 1080483"/>
              <a:gd name="connsiteY247" fmla="*/ 66610 h 193634"/>
              <a:gd name="connsiteX248" fmla="*/ 12780 w 1080483"/>
              <a:gd name="connsiteY248" fmla="*/ 0 h 193634"/>
              <a:gd name="connsiteX249" fmla="*/ 0 w 1080483"/>
              <a:gd name="connsiteY249" fmla="*/ 0 h 193634"/>
              <a:gd name="connsiteX250" fmla="*/ 0 w 1080483"/>
              <a:gd name="connsiteY250" fmla="*/ 150260 h 19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0483" h="193634">
                <a:moveTo>
                  <a:pt x="1026846" y="150260"/>
                </a:moveTo>
                <a:lnTo>
                  <a:pt x="1039045" y="150260"/>
                </a:lnTo>
                <a:lnTo>
                  <a:pt x="1039045" y="85006"/>
                </a:lnTo>
                <a:cubicBezTo>
                  <a:pt x="1039045" y="79584"/>
                  <a:pt x="1040013" y="74743"/>
                  <a:pt x="1042143" y="70870"/>
                </a:cubicBezTo>
                <a:cubicBezTo>
                  <a:pt x="1044273" y="66804"/>
                  <a:pt x="1046984" y="63512"/>
                  <a:pt x="1050082" y="60608"/>
                </a:cubicBezTo>
                <a:cubicBezTo>
                  <a:pt x="1053374" y="57316"/>
                  <a:pt x="1057053" y="55186"/>
                  <a:pt x="1060732" y="53830"/>
                </a:cubicBezTo>
                <a:cubicBezTo>
                  <a:pt x="1064605" y="52475"/>
                  <a:pt x="1068284" y="51894"/>
                  <a:pt x="1071963" y="51894"/>
                </a:cubicBezTo>
                <a:cubicBezTo>
                  <a:pt x="1074093" y="51894"/>
                  <a:pt x="1076417" y="52088"/>
                  <a:pt x="1078934" y="52475"/>
                </a:cubicBezTo>
                <a:lnTo>
                  <a:pt x="1080483" y="40857"/>
                </a:lnTo>
                <a:cubicBezTo>
                  <a:pt x="1078934" y="40663"/>
                  <a:pt x="1077579" y="40470"/>
                  <a:pt x="1076223" y="40276"/>
                </a:cubicBezTo>
                <a:cubicBezTo>
                  <a:pt x="1074868" y="40276"/>
                  <a:pt x="1073512" y="40082"/>
                  <a:pt x="1071963" y="40082"/>
                </a:cubicBezTo>
                <a:cubicBezTo>
                  <a:pt x="1065573" y="40082"/>
                  <a:pt x="1059764" y="41825"/>
                  <a:pt x="1054149" y="45117"/>
                </a:cubicBezTo>
                <a:cubicBezTo>
                  <a:pt x="1048533" y="48409"/>
                  <a:pt x="1043499" y="53249"/>
                  <a:pt x="1039239" y="59446"/>
                </a:cubicBezTo>
                <a:lnTo>
                  <a:pt x="1039239" y="41825"/>
                </a:lnTo>
                <a:lnTo>
                  <a:pt x="1027040" y="41825"/>
                </a:lnTo>
                <a:lnTo>
                  <a:pt x="1027040" y="150260"/>
                </a:lnTo>
                <a:close/>
                <a:moveTo>
                  <a:pt x="913570" y="88685"/>
                </a:moveTo>
                <a:cubicBezTo>
                  <a:pt x="914925" y="75130"/>
                  <a:pt x="918604" y="65061"/>
                  <a:pt x="924994" y="58284"/>
                </a:cubicBezTo>
                <a:cubicBezTo>
                  <a:pt x="931384" y="51700"/>
                  <a:pt x="939710" y="48409"/>
                  <a:pt x="950167" y="48409"/>
                </a:cubicBezTo>
                <a:cubicBezTo>
                  <a:pt x="956169" y="48409"/>
                  <a:pt x="961398" y="49377"/>
                  <a:pt x="965658" y="51313"/>
                </a:cubicBezTo>
                <a:cubicBezTo>
                  <a:pt x="969918" y="53249"/>
                  <a:pt x="973597" y="55960"/>
                  <a:pt x="976114" y="59639"/>
                </a:cubicBezTo>
                <a:cubicBezTo>
                  <a:pt x="978825" y="63318"/>
                  <a:pt x="980761" y="67385"/>
                  <a:pt x="981923" y="72419"/>
                </a:cubicBezTo>
                <a:cubicBezTo>
                  <a:pt x="983278" y="77260"/>
                  <a:pt x="983859" y="82682"/>
                  <a:pt x="983859" y="88685"/>
                </a:cubicBezTo>
                <a:lnTo>
                  <a:pt x="913570" y="88685"/>
                </a:lnTo>
                <a:close/>
                <a:moveTo>
                  <a:pt x="983085" y="121990"/>
                </a:moveTo>
                <a:cubicBezTo>
                  <a:pt x="982310" y="125281"/>
                  <a:pt x="981148" y="128186"/>
                  <a:pt x="979599" y="130703"/>
                </a:cubicBezTo>
                <a:cubicBezTo>
                  <a:pt x="978050" y="133220"/>
                  <a:pt x="976114" y="135544"/>
                  <a:pt x="973597" y="137480"/>
                </a:cubicBezTo>
                <a:cubicBezTo>
                  <a:pt x="971079" y="139417"/>
                  <a:pt x="967981" y="140966"/>
                  <a:pt x="964109" y="141934"/>
                </a:cubicBezTo>
                <a:cubicBezTo>
                  <a:pt x="960236" y="142902"/>
                  <a:pt x="955589" y="143483"/>
                  <a:pt x="950167" y="143483"/>
                </a:cubicBezTo>
                <a:cubicBezTo>
                  <a:pt x="944164" y="143483"/>
                  <a:pt x="938742" y="142321"/>
                  <a:pt x="934095" y="139998"/>
                </a:cubicBezTo>
                <a:cubicBezTo>
                  <a:pt x="929448" y="137674"/>
                  <a:pt x="925575" y="134576"/>
                  <a:pt x="922477" y="130510"/>
                </a:cubicBezTo>
                <a:cubicBezTo>
                  <a:pt x="919379" y="126443"/>
                  <a:pt x="917055" y="121796"/>
                  <a:pt x="915506" y="116374"/>
                </a:cubicBezTo>
                <a:cubicBezTo>
                  <a:pt x="913957" y="110953"/>
                  <a:pt x="913183" y="105143"/>
                  <a:pt x="913183" y="98947"/>
                </a:cubicBezTo>
                <a:lnTo>
                  <a:pt x="996639" y="98947"/>
                </a:lnTo>
                <a:lnTo>
                  <a:pt x="996639" y="91202"/>
                </a:lnTo>
                <a:cubicBezTo>
                  <a:pt x="996639" y="83844"/>
                  <a:pt x="995865" y="76873"/>
                  <a:pt x="994122" y="70289"/>
                </a:cubicBezTo>
                <a:cubicBezTo>
                  <a:pt x="992379" y="63899"/>
                  <a:pt x="989668" y="58284"/>
                  <a:pt x="985989" y="53637"/>
                </a:cubicBezTo>
                <a:cubicBezTo>
                  <a:pt x="982310" y="48990"/>
                  <a:pt x="977469" y="45310"/>
                  <a:pt x="971660" y="42406"/>
                </a:cubicBezTo>
                <a:cubicBezTo>
                  <a:pt x="965851" y="39695"/>
                  <a:pt x="958687" y="38340"/>
                  <a:pt x="950167" y="38340"/>
                </a:cubicBezTo>
                <a:cubicBezTo>
                  <a:pt x="943002" y="38340"/>
                  <a:pt x="936419" y="39695"/>
                  <a:pt x="930416" y="42212"/>
                </a:cubicBezTo>
                <a:cubicBezTo>
                  <a:pt x="924413" y="44730"/>
                  <a:pt x="919185" y="48409"/>
                  <a:pt x="914925" y="53443"/>
                </a:cubicBezTo>
                <a:cubicBezTo>
                  <a:pt x="910472" y="58478"/>
                  <a:pt x="906986" y="64480"/>
                  <a:pt x="904663" y="71838"/>
                </a:cubicBezTo>
                <a:cubicBezTo>
                  <a:pt x="902145" y="79196"/>
                  <a:pt x="900983" y="87523"/>
                  <a:pt x="900983" y="97011"/>
                </a:cubicBezTo>
                <a:cubicBezTo>
                  <a:pt x="900983" y="114632"/>
                  <a:pt x="905243" y="128380"/>
                  <a:pt x="913957" y="138449"/>
                </a:cubicBezTo>
                <a:cubicBezTo>
                  <a:pt x="922671" y="148518"/>
                  <a:pt x="934676" y="153552"/>
                  <a:pt x="950167" y="153552"/>
                </a:cubicBezTo>
                <a:cubicBezTo>
                  <a:pt x="963721" y="153552"/>
                  <a:pt x="973984" y="150648"/>
                  <a:pt x="981342" y="144645"/>
                </a:cubicBezTo>
                <a:cubicBezTo>
                  <a:pt x="988700" y="138836"/>
                  <a:pt x="993154" y="131090"/>
                  <a:pt x="994896" y="121602"/>
                </a:cubicBezTo>
                <a:lnTo>
                  <a:pt x="983085" y="121602"/>
                </a:lnTo>
                <a:close/>
                <a:moveTo>
                  <a:pt x="858771" y="95849"/>
                </a:moveTo>
                <a:cubicBezTo>
                  <a:pt x="858771" y="104369"/>
                  <a:pt x="857416" y="111533"/>
                  <a:pt x="854898" y="117149"/>
                </a:cubicBezTo>
                <a:cubicBezTo>
                  <a:pt x="852381" y="122764"/>
                  <a:pt x="848508" y="127411"/>
                  <a:pt x="843668" y="131090"/>
                </a:cubicBezTo>
                <a:cubicBezTo>
                  <a:pt x="839988" y="133608"/>
                  <a:pt x="836503" y="135350"/>
                  <a:pt x="833405" y="136319"/>
                </a:cubicBezTo>
                <a:cubicBezTo>
                  <a:pt x="830113" y="137287"/>
                  <a:pt x="826240" y="137868"/>
                  <a:pt x="821593" y="137868"/>
                </a:cubicBezTo>
                <a:cubicBezTo>
                  <a:pt x="817333" y="137868"/>
                  <a:pt x="813267" y="137093"/>
                  <a:pt x="809201" y="135544"/>
                </a:cubicBezTo>
                <a:cubicBezTo>
                  <a:pt x="805134" y="133995"/>
                  <a:pt x="801455" y="131478"/>
                  <a:pt x="798163" y="127992"/>
                </a:cubicBezTo>
                <a:cubicBezTo>
                  <a:pt x="794872" y="124507"/>
                  <a:pt x="792354" y="120053"/>
                  <a:pt x="790224" y="114438"/>
                </a:cubicBezTo>
                <a:cubicBezTo>
                  <a:pt x="788094" y="108823"/>
                  <a:pt x="787126" y="102045"/>
                  <a:pt x="787126" y="93913"/>
                </a:cubicBezTo>
                <a:cubicBezTo>
                  <a:pt x="787126" y="85974"/>
                  <a:pt x="788094" y="79003"/>
                  <a:pt x="789837" y="73387"/>
                </a:cubicBezTo>
                <a:cubicBezTo>
                  <a:pt x="791580" y="67772"/>
                  <a:pt x="794097" y="63125"/>
                  <a:pt x="797389" y="59446"/>
                </a:cubicBezTo>
                <a:cubicBezTo>
                  <a:pt x="800681" y="55767"/>
                  <a:pt x="804360" y="53056"/>
                  <a:pt x="808813" y="51507"/>
                </a:cubicBezTo>
                <a:cubicBezTo>
                  <a:pt x="813073" y="49764"/>
                  <a:pt x="817914" y="48990"/>
                  <a:pt x="823142" y="48990"/>
                </a:cubicBezTo>
                <a:cubicBezTo>
                  <a:pt x="827402" y="48990"/>
                  <a:pt x="831081" y="49570"/>
                  <a:pt x="834373" y="50732"/>
                </a:cubicBezTo>
                <a:cubicBezTo>
                  <a:pt x="837665" y="51894"/>
                  <a:pt x="840957" y="53637"/>
                  <a:pt x="844442" y="56154"/>
                </a:cubicBezTo>
                <a:cubicBezTo>
                  <a:pt x="846959" y="58090"/>
                  <a:pt x="849089" y="60220"/>
                  <a:pt x="851026" y="62157"/>
                </a:cubicBezTo>
                <a:cubicBezTo>
                  <a:pt x="852768" y="64287"/>
                  <a:pt x="854317" y="66610"/>
                  <a:pt x="855479" y="69515"/>
                </a:cubicBezTo>
                <a:cubicBezTo>
                  <a:pt x="856641" y="72226"/>
                  <a:pt x="857416" y="75324"/>
                  <a:pt x="857997" y="79003"/>
                </a:cubicBezTo>
                <a:cubicBezTo>
                  <a:pt x="858577" y="82682"/>
                  <a:pt x="858771" y="86748"/>
                  <a:pt x="858771" y="91783"/>
                </a:cubicBezTo>
                <a:lnTo>
                  <a:pt x="858771" y="95849"/>
                </a:lnTo>
                <a:close/>
                <a:moveTo>
                  <a:pt x="778219" y="162072"/>
                </a:moveTo>
                <a:cubicBezTo>
                  <a:pt x="778993" y="167881"/>
                  <a:pt x="780543" y="172722"/>
                  <a:pt x="783060" y="176788"/>
                </a:cubicBezTo>
                <a:cubicBezTo>
                  <a:pt x="785577" y="180855"/>
                  <a:pt x="788869" y="183953"/>
                  <a:pt x="792935" y="186470"/>
                </a:cubicBezTo>
                <a:cubicBezTo>
                  <a:pt x="797002" y="188987"/>
                  <a:pt x="801649" y="190730"/>
                  <a:pt x="806877" y="191892"/>
                </a:cubicBezTo>
                <a:cubicBezTo>
                  <a:pt x="812105" y="193054"/>
                  <a:pt x="817914" y="193634"/>
                  <a:pt x="824110" y="193634"/>
                </a:cubicBezTo>
                <a:cubicBezTo>
                  <a:pt x="840182" y="193634"/>
                  <a:pt x="851994" y="189374"/>
                  <a:pt x="859546" y="181048"/>
                </a:cubicBezTo>
                <a:cubicBezTo>
                  <a:pt x="867097" y="172722"/>
                  <a:pt x="870776" y="161104"/>
                  <a:pt x="870776" y="146581"/>
                </a:cubicBezTo>
                <a:lnTo>
                  <a:pt x="870776" y="41825"/>
                </a:lnTo>
                <a:lnTo>
                  <a:pt x="858577" y="41825"/>
                </a:lnTo>
                <a:lnTo>
                  <a:pt x="858577" y="56735"/>
                </a:lnTo>
                <a:cubicBezTo>
                  <a:pt x="853349" y="49764"/>
                  <a:pt x="847734" y="45117"/>
                  <a:pt x="841538" y="42600"/>
                </a:cubicBezTo>
                <a:cubicBezTo>
                  <a:pt x="835341" y="40082"/>
                  <a:pt x="829339" y="38727"/>
                  <a:pt x="823142" y="38727"/>
                </a:cubicBezTo>
                <a:cubicBezTo>
                  <a:pt x="815590" y="38727"/>
                  <a:pt x="808813" y="40082"/>
                  <a:pt x="802617" y="42793"/>
                </a:cubicBezTo>
                <a:cubicBezTo>
                  <a:pt x="796614" y="45504"/>
                  <a:pt x="791386" y="49183"/>
                  <a:pt x="787320" y="54024"/>
                </a:cubicBezTo>
                <a:cubicBezTo>
                  <a:pt x="783060" y="58865"/>
                  <a:pt x="779962" y="64674"/>
                  <a:pt x="777638" y="71645"/>
                </a:cubicBezTo>
                <a:cubicBezTo>
                  <a:pt x="775314" y="78616"/>
                  <a:pt x="774346" y="86167"/>
                  <a:pt x="774346" y="94687"/>
                </a:cubicBezTo>
                <a:cubicBezTo>
                  <a:pt x="774346" y="101658"/>
                  <a:pt x="775314" y="108435"/>
                  <a:pt x="777057" y="115019"/>
                </a:cubicBezTo>
                <a:cubicBezTo>
                  <a:pt x="778800" y="121602"/>
                  <a:pt x="781704" y="127411"/>
                  <a:pt x="785383" y="132446"/>
                </a:cubicBezTo>
                <a:cubicBezTo>
                  <a:pt x="789256" y="137480"/>
                  <a:pt x="794097" y="141547"/>
                  <a:pt x="799906" y="144645"/>
                </a:cubicBezTo>
                <a:cubicBezTo>
                  <a:pt x="805715" y="147743"/>
                  <a:pt x="812686" y="149098"/>
                  <a:pt x="820819" y="149098"/>
                </a:cubicBezTo>
                <a:cubicBezTo>
                  <a:pt x="829145" y="149098"/>
                  <a:pt x="836503" y="147356"/>
                  <a:pt x="842699" y="143870"/>
                </a:cubicBezTo>
                <a:cubicBezTo>
                  <a:pt x="848702" y="140385"/>
                  <a:pt x="854124" y="135544"/>
                  <a:pt x="858577" y="129154"/>
                </a:cubicBezTo>
                <a:lnTo>
                  <a:pt x="858577" y="145419"/>
                </a:lnTo>
                <a:cubicBezTo>
                  <a:pt x="858577" y="159167"/>
                  <a:pt x="855867" y="169043"/>
                  <a:pt x="850251" y="174852"/>
                </a:cubicBezTo>
                <a:cubicBezTo>
                  <a:pt x="844636" y="180661"/>
                  <a:pt x="835922" y="183565"/>
                  <a:pt x="823917" y="183565"/>
                </a:cubicBezTo>
                <a:cubicBezTo>
                  <a:pt x="813267" y="183565"/>
                  <a:pt x="805328" y="181823"/>
                  <a:pt x="800100" y="178337"/>
                </a:cubicBezTo>
                <a:cubicBezTo>
                  <a:pt x="794872" y="174852"/>
                  <a:pt x="791580" y="169624"/>
                  <a:pt x="790031" y="162459"/>
                </a:cubicBezTo>
                <a:lnTo>
                  <a:pt x="778219" y="162459"/>
                </a:lnTo>
                <a:close/>
                <a:moveTo>
                  <a:pt x="705799" y="150260"/>
                </a:moveTo>
                <a:lnTo>
                  <a:pt x="717998" y="150260"/>
                </a:lnTo>
                <a:lnTo>
                  <a:pt x="717998" y="85006"/>
                </a:lnTo>
                <a:cubicBezTo>
                  <a:pt x="717998" y="79584"/>
                  <a:pt x="718967" y="74743"/>
                  <a:pt x="721097" y="70870"/>
                </a:cubicBezTo>
                <a:cubicBezTo>
                  <a:pt x="723227" y="66804"/>
                  <a:pt x="725937" y="63512"/>
                  <a:pt x="729036" y="60608"/>
                </a:cubicBezTo>
                <a:cubicBezTo>
                  <a:pt x="732327" y="57316"/>
                  <a:pt x="736007" y="55186"/>
                  <a:pt x="739686" y="53830"/>
                </a:cubicBezTo>
                <a:cubicBezTo>
                  <a:pt x="743558" y="52475"/>
                  <a:pt x="747237" y="51894"/>
                  <a:pt x="750916" y="51894"/>
                </a:cubicBezTo>
                <a:cubicBezTo>
                  <a:pt x="753046" y="51894"/>
                  <a:pt x="755370" y="52088"/>
                  <a:pt x="757887" y="52475"/>
                </a:cubicBezTo>
                <a:lnTo>
                  <a:pt x="759436" y="40857"/>
                </a:lnTo>
                <a:cubicBezTo>
                  <a:pt x="757887" y="40663"/>
                  <a:pt x="756532" y="40470"/>
                  <a:pt x="755176" y="40276"/>
                </a:cubicBezTo>
                <a:cubicBezTo>
                  <a:pt x="753821" y="40276"/>
                  <a:pt x="752465" y="40082"/>
                  <a:pt x="750916" y="40082"/>
                </a:cubicBezTo>
                <a:cubicBezTo>
                  <a:pt x="744526" y="40082"/>
                  <a:pt x="738717" y="41825"/>
                  <a:pt x="733102" y="45117"/>
                </a:cubicBezTo>
                <a:cubicBezTo>
                  <a:pt x="727487" y="48409"/>
                  <a:pt x="722452" y="53249"/>
                  <a:pt x="718192" y="59446"/>
                </a:cubicBezTo>
                <a:lnTo>
                  <a:pt x="718192" y="41825"/>
                </a:lnTo>
                <a:lnTo>
                  <a:pt x="705993" y="41825"/>
                </a:lnTo>
                <a:lnTo>
                  <a:pt x="705993" y="150260"/>
                </a:lnTo>
                <a:close/>
                <a:moveTo>
                  <a:pt x="585358" y="114051"/>
                </a:moveTo>
                <a:cubicBezTo>
                  <a:pt x="585358" y="127024"/>
                  <a:pt x="588069" y="136706"/>
                  <a:pt x="593298" y="143483"/>
                </a:cubicBezTo>
                <a:cubicBezTo>
                  <a:pt x="598719" y="150260"/>
                  <a:pt x="607433" y="153552"/>
                  <a:pt x="619826" y="153552"/>
                </a:cubicBezTo>
                <a:cubicBezTo>
                  <a:pt x="634735" y="153552"/>
                  <a:pt x="647903" y="146581"/>
                  <a:pt x="659133" y="132446"/>
                </a:cubicBezTo>
                <a:lnTo>
                  <a:pt x="659133" y="150067"/>
                </a:lnTo>
                <a:lnTo>
                  <a:pt x="671332" y="150067"/>
                </a:lnTo>
                <a:lnTo>
                  <a:pt x="671332" y="41631"/>
                </a:lnTo>
                <a:lnTo>
                  <a:pt x="659133" y="41631"/>
                </a:lnTo>
                <a:lnTo>
                  <a:pt x="659133" y="105143"/>
                </a:lnTo>
                <a:cubicBezTo>
                  <a:pt x="659133" y="111921"/>
                  <a:pt x="658165" y="117149"/>
                  <a:pt x="656035" y="121021"/>
                </a:cubicBezTo>
                <a:cubicBezTo>
                  <a:pt x="653905" y="124894"/>
                  <a:pt x="650807" y="128573"/>
                  <a:pt x="646741" y="132252"/>
                </a:cubicBezTo>
                <a:cubicBezTo>
                  <a:pt x="642868" y="135544"/>
                  <a:pt x="638608" y="138061"/>
                  <a:pt x="634348" y="139804"/>
                </a:cubicBezTo>
                <a:cubicBezTo>
                  <a:pt x="630088" y="141547"/>
                  <a:pt x="625635" y="142321"/>
                  <a:pt x="621375" y="142321"/>
                </a:cubicBezTo>
                <a:cubicBezTo>
                  <a:pt x="612661" y="142321"/>
                  <a:pt x="606465" y="139804"/>
                  <a:pt x="602979" y="134770"/>
                </a:cubicBezTo>
                <a:cubicBezTo>
                  <a:pt x="599300" y="129735"/>
                  <a:pt x="597558" y="121602"/>
                  <a:pt x="597558" y="110178"/>
                </a:cubicBezTo>
                <a:lnTo>
                  <a:pt x="597558" y="41825"/>
                </a:lnTo>
                <a:lnTo>
                  <a:pt x="585358" y="41825"/>
                </a:lnTo>
                <a:lnTo>
                  <a:pt x="585358" y="114051"/>
                </a:lnTo>
                <a:close/>
                <a:moveTo>
                  <a:pt x="470920" y="91008"/>
                </a:moveTo>
                <a:cubicBezTo>
                  <a:pt x="470920" y="82488"/>
                  <a:pt x="472276" y="75324"/>
                  <a:pt x="474987" y="69902"/>
                </a:cubicBezTo>
                <a:cubicBezTo>
                  <a:pt x="477697" y="64287"/>
                  <a:pt x="481570" y="59833"/>
                  <a:pt x="486411" y="56154"/>
                </a:cubicBezTo>
                <a:cubicBezTo>
                  <a:pt x="489896" y="53443"/>
                  <a:pt x="493382" y="51700"/>
                  <a:pt x="496867" y="50732"/>
                </a:cubicBezTo>
                <a:cubicBezTo>
                  <a:pt x="500353" y="49764"/>
                  <a:pt x="504225" y="49183"/>
                  <a:pt x="508679" y="49183"/>
                </a:cubicBezTo>
                <a:cubicBezTo>
                  <a:pt x="512552" y="49183"/>
                  <a:pt x="516618" y="49958"/>
                  <a:pt x="520684" y="51313"/>
                </a:cubicBezTo>
                <a:cubicBezTo>
                  <a:pt x="524751" y="52862"/>
                  <a:pt x="528430" y="55379"/>
                  <a:pt x="531722" y="58865"/>
                </a:cubicBezTo>
                <a:cubicBezTo>
                  <a:pt x="535013" y="62350"/>
                  <a:pt x="537531" y="67191"/>
                  <a:pt x="539661" y="73000"/>
                </a:cubicBezTo>
                <a:cubicBezTo>
                  <a:pt x="541791" y="78809"/>
                  <a:pt x="542759" y="86167"/>
                  <a:pt x="542759" y="95074"/>
                </a:cubicBezTo>
                <a:cubicBezTo>
                  <a:pt x="542759" y="103788"/>
                  <a:pt x="541791" y="111146"/>
                  <a:pt x="540048" y="117342"/>
                </a:cubicBezTo>
                <a:cubicBezTo>
                  <a:pt x="538305" y="123539"/>
                  <a:pt x="535788" y="128380"/>
                  <a:pt x="532496" y="132252"/>
                </a:cubicBezTo>
                <a:cubicBezTo>
                  <a:pt x="529398" y="136125"/>
                  <a:pt x="525525" y="138836"/>
                  <a:pt x="521265" y="140579"/>
                </a:cubicBezTo>
                <a:cubicBezTo>
                  <a:pt x="517005" y="142321"/>
                  <a:pt x="512164" y="143289"/>
                  <a:pt x="506936" y="143289"/>
                </a:cubicBezTo>
                <a:cubicBezTo>
                  <a:pt x="502676" y="143289"/>
                  <a:pt x="498804" y="142709"/>
                  <a:pt x="495318" y="141547"/>
                </a:cubicBezTo>
                <a:cubicBezTo>
                  <a:pt x="492026" y="140385"/>
                  <a:pt x="488735" y="138642"/>
                  <a:pt x="485443" y="136125"/>
                </a:cubicBezTo>
                <a:cubicBezTo>
                  <a:pt x="482732" y="134382"/>
                  <a:pt x="480602" y="132252"/>
                  <a:pt x="478666" y="130122"/>
                </a:cubicBezTo>
                <a:cubicBezTo>
                  <a:pt x="476923" y="127992"/>
                  <a:pt x="475374" y="125475"/>
                  <a:pt x="474212" y="122571"/>
                </a:cubicBezTo>
                <a:cubicBezTo>
                  <a:pt x="473050" y="119860"/>
                  <a:pt x="472276" y="116568"/>
                  <a:pt x="471695" y="113082"/>
                </a:cubicBezTo>
                <a:cubicBezTo>
                  <a:pt x="471114" y="109403"/>
                  <a:pt x="470920" y="105337"/>
                  <a:pt x="470920" y="100496"/>
                </a:cubicBezTo>
                <a:lnTo>
                  <a:pt x="470920" y="91008"/>
                </a:lnTo>
                <a:close/>
                <a:moveTo>
                  <a:pt x="459109" y="150260"/>
                </a:moveTo>
                <a:lnTo>
                  <a:pt x="471307" y="150260"/>
                </a:lnTo>
                <a:lnTo>
                  <a:pt x="471307" y="135544"/>
                </a:lnTo>
                <a:cubicBezTo>
                  <a:pt x="476342" y="142321"/>
                  <a:pt x="481957" y="146969"/>
                  <a:pt x="487960" y="149679"/>
                </a:cubicBezTo>
                <a:cubicBezTo>
                  <a:pt x="494156" y="152390"/>
                  <a:pt x="500353" y="153746"/>
                  <a:pt x="506936" y="153746"/>
                </a:cubicBezTo>
                <a:cubicBezTo>
                  <a:pt x="514294" y="153746"/>
                  <a:pt x="521072" y="152390"/>
                  <a:pt x="527074" y="149679"/>
                </a:cubicBezTo>
                <a:cubicBezTo>
                  <a:pt x="533077" y="146969"/>
                  <a:pt x="538112" y="143096"/>
                  <a:pt x="542372" y="138061"/>
                </a:cubicBezTo>
                <a:cubicBezTo>
                  <a:pt x="546631" y="133027"/>
                  <a:pt x="549923" y="126831"/>
                  <a:pt x="552247" y="119666"/>
                </a:cubicBezTo>
                <a:cubicBezTo>
                  <a:pt x="554571" y="112502"/>
                  <a:pt x="555732" y="104175"/>
                  <a:pt x="555732" y="94881"/>
                </a:cubicBezTo>
                <a:cubicBezTo>
                  <a:pt x="555732" y="86942"/>
                  <a:pt x="554764" y="79390"/>
                  <a:pt x="552828" y="72613"/>
                </a:cubicBezTo>
                <a:cubicBezTo>
                  <a:pt x="550891" y="65642"/>
                  <a:pt x="547987" y="59833"/>
                  <a:pt x="544114" y="54799"/>
                </a:cubicBezTo>
                <a:cubicBezTo>
                  <a:pt x="540242" y="49764"/>
                  <a:pt x="535401" y="45698"/>
                  <a:pt x="529398" y="42987"/>
                </a:cubicBezTo>
                <a:cubicBezTo>
                  <a:pt x="523589" y="40082"/>
                  <a:pt x="516618" y="38727"/>
                  <a:pt x="508679" y="38727"/>
                </a:cubicBezTo>
                <a:cubicBezTo>
                  <a:pt x="500353" y="38727"/>
                  <a:pt x="493188" y="40470"/>
                  <a:pt x="487186" y="43955"/>
                </a:cubicBezTo>
                <a:cubicBezTo>
                  <a:pt x="481377" y="47440"/>
                  <a:pt x="475955" y="52281"/>
                  <a:pt x="470920" y="58284"/>
                </a:cubicBezTo>
                <a:lnTo>
                  <a:pt x="470920" y="194"/>
                </a:lnTo>
                <a:lnTo>
                  <a:pt x="458721" y="194"/>
                </a:lnTo>
                <a:lnTo>
                  <a:pt x="458721" y="150260"/>
                </a:lnTo>
                <a:close/>
                <a:moveTo>
                  <a:pt x="274768" y="150260"/>
                </a:moveTo>
                <a:lnTo>
                  <a:pt x="286967" y="150260"/>
                </a:lnTo>
                <a:lnTo>
                  <a:pt x="286967" y="86167"/>
                </a:lnTo>
                <a:cubicBezTo>
                  <a:pt x="286967" y="82488"/>
                  <a:pt x="287354" y="79196"/>
                  <a:pt x="288129" y="76486"/>
                </a:cubicBezTo>
                <a:cubicBezTo>
                  <a:pt x="288903" y="73775"/>
                  <a:pt x="289872" y="71257"/>
                  <a:pt x="291033" y="69127"/>
                </a:cubicBezTo>
                <a:cubicBezTo>
                  <a:pt x="292195" y="66998"/>
                  <a:pt x="293551" y="65255"/>
                  <a:pt x="294906" y="63706"/>
                </a:cubicBezTo>
                <a:cubicBezTo>
                  <a:pt x="296455" y="62157"/>
                  <a:pt x="297811" y="60801"/>
                  <a:pt x="298972" y="59639"/>
                </a:cubicBezTo>
                <a:cubicBezTo>
                  <a:pt x="302651" y="56348"/>
                  <a:pt x="306331" y="53830"/>
                  <a:pt x="310010" y="52088"/>
                </a:cubicBezTo>
                <a:cubicBezTo>
                  <a:pt x="313689" y="50345"/>
                  <a:pt x="317755" y="49377"/>
                  <a:pt x="321821" y="49377"/>
                </a:cubicBezTo>
                <a:cubicBezTo>
                  <a:pt x="329179" y="49377"/>
                  <a:pt x="334795" y="51507"/>
                  <a:pt x="338474" y="55960"/>
                </a:cubicBezTo>
                <a:cubicBezTo>
                  <a:pt x="342153" y="60414"/>
                  <a:pt x="343896" y="67772"/>
                  <a:pt x="343896" y="78422"/>
                </a:cubicBezTo>
                <a:lnTo>
                  <a:pt x="343896" y="150260"/>
                </a:lnTo>
                <a:lnTo>
                  <a:pt x="356095" y="150260"/>
                </a:lnTo>
                <a:lnTo>
                  <a:pt x="356095" y="80939"/>
                </a:lnTo>
                <a:cubicBezTo>
                  <a:pt x="356095" y="75905"/>
                  <a:pt x="357257" y="71451"/>
                  <a:pt x="359387" y="67578"/>
                </a:cubicBezTo>
                <a:cubicBezTo>
                  <a:pt x="361516" y="63706"/>
                  <a:pt x="364421" y="60608"/>
                  <a:pt x="367713" y="57897"/>
                </a:cubicBezTo>
                <a:cubicBezTo>
                  <a:pt x="371585" y="54605"/>
                  <a:pt x="375458" y="52475"/>
                  <a:pt x="379525" y="51313"/>
                </a:cubicBezTo>
                <a:cubicBezTo>
                  <a:pt x="383591" y="50151"/>
                  <a:pt x="387270" y="49570"/>
                  <a:pt x="390562" y="49570"/>
                </a:cubicBezTo>
                <a:cubicBezTo>
                  <a:pt x="394434" y="49570"/>
                  <a:pt x="397726" y="49958"/>
                  <a:pt x="400437" y="50926"/>
                </a:cubicBezTo>
                <a:cubicBezTo>
                  <a:pt x="403148" y="51894"/>
                  <a:pt x="405665" y="53443"/>
                  <a:pt x="407408" y="55573"/>
                </a:cubicBezTo>
                <a:cubicBezTo>
                  <a:pt x="409344" y="57897"/>
                  <a:pt x="410700" y="60801"/>
                  <a:pt x="411668" y="64480"/>
                </a:cubicBezTo>
                <a:cubicBezTo>
                  <a:pt x="412636" y="68159"/>
                  <a:pt x="413023" y="72807"/>
                  <a:pt x="413023" y="78422"/>
                </a:cubicBezTo>
                <a:lnTo>
                  <a:pt x="413023" y="150454"/>
                </a:lnTo>
                <a:lnTo>
                  <a:pt x="425222" y="150454"/>
                </a:lnTo>
                <a:lnTo>
                  <a:pt x="425222" y="73968"/>
                </a:lnTo>
                <a:cubicBezTo>
                  <a:pt x="425222" y="61576"/>
                  <a:pt x="422318" y="52669"/>
                  <a:pt x="416315" y="47053"/>
                </a:cubicBezTo>
                <a:cubicBezTo>
                  <a:pt x="410506" y="41438"/>
                  <a:pt x="402180" y="38533"/>
                  <a:pt x="391917" y="38533"/>
                </a:cubicBezTo>
                <a:cubicBezTo>
                  <a:pt x="384365" y="38533"/>
                  <a:pt x="377201" y="40470"/>
                  <a:pt x="370617" y="44149"/>
                </a:cubicBezTo>
                <a:cubicBezTo>
                  <a:pt x="364034" y="47828"/>
                  <a:pt x="358225" y="53056"/>
                  <a:pt x="353384" y="59833"/>
                </a:cubicBezTo>
                <a:cubicBezTo>
                  <a:pt x="351060" y="53056"/>
                  <a:pt x="347381" y="47828"/>
                  <a:pt x="342347" y="44149"/>
                </a:cubicBezTo>
                <a:cubicBezTo>
                  <a:pt x="337312" y="40470"/>
                  <a:pt x="330729" y="38533"/>
                  <a:pt x="322402" y="38533"/>
                </a:cubicBezTo>
                <a:cubicBezTo>
                  <a:pt x="316012" y="38533"/>
                  <a:pt x="309816" y="40276"/>
                  <a:pt x="303813" y="43761"/>
                </a:cubicBezTo>
                <a:cubicBezTo>
                  <a:pt x="297617" y="47247"/>
                  <a:pt x="292002" y="52669"/>
                  <a:pt x="286580" y="59833"/>
                </a:cubicBezTo>
                <a:lnTo>
                  <a:pt x="286580" y="42019"/>
                </a:lnTo>
                <a:lnTo>
                  <a:pt x="274381" y="42019"/>
                </a:lnTo>
                <a:lnTo>
                  <a:pt x="274381" y="150260"/>
                </a:lnTo>
                <a:close/>
                <a:moveTo>
                  <a:pt x="214935" y="149679"/>
                </a:moveTo>
                <a:cubicBezTo>
                  <a:pt x="221325" y="146969"/>
                  <a:pt x="226747" y="143096"/>
                  <a:pt x="231200" y="137868"/>
                </a:cubicBezTo>
                <a:cubicBezTo>
                  <a:pt x="235654" y="132833"/>
                  <a:pt x="238946" y="126637"/>
                  <a:pt x="241463" y="119472"/>
                </a:cubicBezTo>
                <a:cubicBezTo>
                  <a:pt x="243786" y="112308"/>
                  <a:pt x="245142" y="104369"/>
                  <a:pt x="245142" y="95462"/>
                </a:cubicBezTo>
                <a:cubicBezTo>
                  <a:pt x="245142" y="86942"/>
                  <a:pt x="243980" y="79196"/>
                  <a:pt x="241656" y="72032"/>
                </a:cubicBezTo>
                <a:cubicBezTo>
                  <a:pt x="239333" y="65061"/>
                  <a:pt x="236041" y="59058"/>
                  <a:pt x="231587" y="54024"/>
                </a:cubicBezTo>
                <a:cubicBezTo>
                  <a:pt x="227327" y="48990"/>
                  <a:pt x="221906" y="45310"/>
                  <a:pt x="215516" y="42600"/>
                </a:cubicBezTo>
                <a:cubicBezTo>
                  <a:pt x="209126" y="39889"/>
                  <a:pt x="202155" y="38533"/>
                  <a:pt x="194216" y="38533"/>
                </a:cubicBezTo>
                <a:cubicBezTo>
                  <a:pt x="186277" y="38533"/>
                  <a:pt x="179306" y="39889"/>
                  <a:pt x="172916" y="42600"/>
                </a:cubicBezTo>
                <a:cubicBezTo>
                  <a:pt x="166526" y="45310"/>
                  <a:pt x="161298" y="49183"/>
                  <a:pt x="156844" y="54218"/>
                </a:cubicBezTo>
                <a:cubicBezTo>
                  <a:pt x="152391" y="59252"/>
                  <a:pt x="148905" y="65448"/>
                  <a:pt x="146582" y="72613"/>
                </a:cubicBezTo>
                <a:cubicBezTo>
                  <a:pt x="144064" y="79777"/>
                  <a:pt x="142903" y="87716"/>
                  <a:pt x="142903" y="96624"/>
                </a:cubicBezTo>
                <a:cubicBezTo>
                  <a:pt x="142903" y="105337"/>
                  <a:pt x="144064" y="113276"/>
                  <a:pt x="146388" y="120247"/>
                </a:cubicBezTo>
                <a:cubicBezTo>
                  <a:pt x="148712" y="127218"/>
                  <a:pt x="152003" y="133220"/>
                  <a:pt x="156263" y="138255"/>
                </a:cubicBezTo>
                <a:cubicBezTo>
                  <a:pt x="160523" y="143289"/>
                  <a:pt x="165752" y="147162"/>
                  <a:pt x="171948" y="149679"/>
                </a:cubicBezTo>
                <a:cubicBezTo>
                  <a:pt x="178144" y="152390"/>
                  <a:pt x="185309" y="153746"/>
                  <a:pt x="193248" y="153746"/>
                </a:cubicBezTo>
                <a:cubicBezTo>
                  <a:pt x="201380" y="153746"/>
                  <a:pt x="208545" y="152390"/>
                  <a:pt x="214935" y="149679"/>
                </a:cubicBezTo>
                <a:moveTo>
                  <a:pt x="176401" y="139417"/>
                </a:moveTo>
                <a:cubicBezTo>
                  <a:pt x="171561" y="136900"/>
                  <a:pt x="167688" y="133608"/>
                  <a:pt x="164590" y="129348"/>
                </a:cubicBezTo>
                <a:cubicBezTo>
                  <a:pt x="161492" y="125088"/>
                  <a:pt x="159362" y="120247"/>
                  <a:pt x="158006" y="114438"/>
                </a:cubicBezTo>
                <a:cubicBezTo>
                  <a:pt x="156651" y="108629"/>
                  <a:pt x="155876" y="102433"/>
                  <a:pt x="155876" y="95849"/>
                </a:cubicBezTo>
                <a:cubicBezTo>
                  <a:pt x="155876" y="89265"/>
                  <a:pt x="156651" y="83069"/>
                  <a:pt x="158006" y="77454"/>
                </a:cubicBezTo>
                <a:cubicBezTo>
                  <a:pt x="159362" y="71838"/>
                  <a:pt x="161685" y="66804"/>
                  <a:pt x="164590" y="62544"/>
                </a:cubicBezTo>
                <a:cubicBezTo>
                  <a:pt x="167688" y="58284"/>
                  <a:pt x="171561" y="54992"/>
                  <a:pt x="176401" y="52475"/>
                </a:cubicBezTo>
                <a:cubicBezTo>
                  <a:pt x="181242" y="49958"/>
                  <a:pt x="187051" y="48796"/>
                  <a:pt x="193829" y="48796"/>
                </a:cubicBezTo>
                <a:cubicBezTo>
                  <a:pt x="200799" y="48796"/>
                  <a:pt x="206609" y="49958"/>
                  <a:pt x="211256" y="52475"/>
                </a:cubicBezTo>
                <a:cubicBezTo>
                  <a:pt x="216097" y="54992"/>
                  <a:pt x="219969" y="58284"/>
                  <a:pt x="223067" y="62544"/>
                </a:cubicBezTo>
                <a:cubicBezTo>
                  <a:pt x="226166" y="66804"/>
                  <a:pt x="228296" y="71645"/>
                  <a:pt x="229845" y="77454"/>
                </a:cubicBezTo>
                <a:cubicBezTo>
                  <a:pt x="231200" y="83069"/>
                  <a:pt x="231975" y="89265"/>
                  <a:pt x="231975" y="95655"/>
                </a:cubicBezTo>
                <a:cubicBezTo>
                  <a:pt x="231975" y="102433"/>
                  <a:pt x="231200" y="108629"/>
                  <a:pt x="229845" y="114438"/>
                </a:cubicBezTo>
                <a:cubicBezTo>
                  <a:pt x="228489" y="120247"/>
                  <a:pt x="226166" y="125088"/>
                  <a:pt x="223067" y="129348"/>
                </a:cubicBezTo>
                <a:cubicBezTo>
                  <a:pt x="219969" y="133608"/>
                  <a:pt x="216097" y="136900"/>
                  <a:pt x="211256" y="139417"/>
                </a:cubicBezTo>
                <a:cubicBezTo>
                  <a:pt x="206415" y="141934"/>
                  <a:pt x="200606" y="143096"/>
                  <a:pt x="193829" y="143096"/>
                </a:cubicBezTo>
                <a:cubicBezTo>
                  <a:pt x="187051" y="143096"/>
                  <a:pt x="181242" y="141934"/>
                  <a:pt x="176401" y="139417"/>
                </a:cubicBezTo>
                <a:moveTo>
                  <a:pt x="0" y="150260"/>
                </a:moveTo>
                <a:lnTo>
                  <a:pt x="12780" y="150260"/>
                </a:lnTo>
                <a:lnTo>
                  <a:pt x="12780" y="78616"/>
                </a:lnTo>
                <a:lnTo>
                  <a:pt x="97592" y="78616"/>
                </a:lnTo>
                <a:lnTo>
                  <a:pt x="97592" y="150454"/>
                </a:lnTo>
                <a:lnTo>
                  <a:pt x="110372" y="150454"/>
                </a:lnTo>
                <a:lnTo>
                  <a:pt x="110372" y="0"/>
                </a:lnTo>
                <a:lnTo>
                  <a:pt x="97592" y="0"/>
                </a:lnTo>
                <a:lnTo>
                  <a:pt x="97592" y="66610"/>
                </a:lnTo>
                <a:lnTo>
                  <a:pt x="12780" y="66610"/>
                </a:lnTo>
                <a:lnTo>
                  <a:pt x="12780" y="0"/>
                </a:lnTo>
                <a:lnTo>
                  <a:pt x="0" y="0"/>
                </a:lnTo>
                <a:lnTo>
                  <a:pt x="0" y="150260"/>
                </a:lnTo>
                <a:close/>
              </a:path>
            </a:pathLst>
          </a:custGeom>
          <a:solidFill>
            <a:schemeClr val="tx2"/>
          </a:solidFill>
          <a:ln w="1921" cap="flat">
            <a:noFill/>
            <a:prstDash val="solid"/>
            <a:miter/>
          </a:ln>
        </p:spPr>
        <p:txBody>
          <a:bodyPr rtlCol="0" anchor="ctr"/>
          <a:lstStyle/>
          <a:p>
            <a:endParaRPr lang="en-US" dirty="0"/>
          </a:p>
        </p:txBody>
      </p:sp>
      <p:sp>
        <p:nvSpPr>
          <p:cNvPr id="10" name="Textplatzhalter 16">
            <a:extLst>
              <a:ext uri="{FF2B5EF4-FFF2-40B4-BE49-F238E27FC236}">
                <a16:creationId xmlns:a16="http://schemas.microsoft.com/office/drawing/2014/main" id="{CDA12B2F-5365-48FC-BC2D-D0EFA0E2C674}"/>
              </a:ext>
            </a:extLst>
          </p:cNvPr>
          <p:cNvSpPr>
            <a:spLocks noGrp="1"/>
          </p:cNvSpPr>
          <p:nvPr>
            <p:ph type="body" sz="quarter" idx="21" hasCustomPrompt="1"/>
          </p:nvPr>
        </p:nvSpPr>
        <p:spPr>
          <a:xfrm>
            <a:off x="334963" y="5954042"/>
            <a:ext cx="5761038" cy="184666"/>
          </a:xfrm>
          <a:prstGeom prst="rect">
            <a:avLst/>
          </a:prstGeom>
        </p:spPr>
        <p:txBody>
          <a:bodyPr anchor="t" anchorCtr="0">
            <a:noAutofit/>
          </a:bodyPr>
          <a:lstStyle>
            <a:lvl1pPr marL="0" indent="0">
              <a:lnSpc>
                <a:spcPct val="100000"/>
              </a:lnSpc>
              <a:spcBef>
                <a:spcPts val="0"/>
              </a:spcBef>
              <a:spcAft>
                <a:spcPts val="0"/>
              </a:spcAft>
              <a:buFontTx/>
              <a:buNone/>
              <a:defRPr sz="1200" b="0">
                <a:solidFill>
                  <a:srgbClr val="969696"/>
                </a:solidFill>
              </a:defRPr>
            </a:lvl1pPr>
          </a:lstStyle>
          <a:p>
            <a:pPr lvl="0"/>
            <a:r>
              <a:rPr lang="en-US" dirty="0"/>
              <a:t>Autor</a:t>
            </a:r>
          </a:p>
        </p:txBody>
      </p:sp>
    </p:spTree>
    <p:extLst>
      <p:ext uri="{BB962C8B-B14F-4D97-AF65-F5344CB8AC3E}">
        <p14:creationId xmlns:p14="http://schemas.microsoft.com/office/powerpoint/2010/main" val="628715571"/>
      </p:ext>
    </p:extLst>
  </p:cSld>
  <p:clrMapOvr>
    <a:masterClrMapping/>
  </p:clrMapOvr>
  <p:hf hdr="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matchingName="Titelfolie mit Bild" preserve="1" userDrawn="1">
  <p:cSld name="Titelfolie mit Bild">
    <p:bg>
      <p:bgPr>
        <a:blipFill dpi="0" rotWithShape="1">
          <a:blip r:embed="rId6">
            <a:lum/>
          </a:blip>
          <a:srcRect/>
          <a:stretch>
            <a:fillRect l="-4000" r="-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447A3-1908-49AF-8A13-C55C4C31B90A}"/>
              </a:ext>
            </a:extLst>
          </p:cNvPr>
          <p:cNvSpPr>
            <a:spLocks noGrp="1"/>
          </p:cNvSpPr>
          <p:nvPr>
            <p:ph type="ctrTitle"/>
          </p:nvPr>
        </p:nvSpPr>
        <p:spPr>
          <a:xfrm>
            <a:off x="334963" y="1484784"/>
            <a:ext cx="7345213" cy="2911302"/>
          </a:xfrm>
        </p:spPr>
        <p:txBody>
          <a:bodyPr anchor="b"/>
          <a:lstStyle>
            <a:lvl1pPr algn="l">
              <a:lnSpc>
                <a:spcPct val="100000"/>
              </a:lnSpc>
              <a:defRPr sz="3000" b="0">
                <a:solidFill>
                  <a:schemeClr val="bg1"/>
                </a:solidFill>
              </a:defRPr>
            </a:lvl1pPr>
          </a:lstStyle>
          <a:p>
            <a:r>
              <a:rPr lang="en-US" dirty="0" err="1"/>
              <a:t>Mastertitelformat</a:t>
            </a:r>
            <a:r>
              <a:rPr lang="en-US" dirty="0"/>
              <a:t> </a:t>
            </a:r>
            <a:r>
              <a:rPr lang="en-US" dirty="0" err="1"/>
              <a:t>bearbeiten</a:t>
            </a:r>
            <a:endParaRPr lang="en-US" dirty="0"/>
          </a:p>
        </p:txBody>
      </p:sp>
      <p:sp>
        <p:nvSpPr>
          <p:cNvPr id="3" name="Subtitle 2">
            <a:extLst>
              <a:ext uri="{FF2B5EF4-FFF2-40B4-BE49-F238E27FC236}">
                <a16:creationId xmlns:a16="http://schemas.microsoft.com/office/drawing/2014/main" id="{08D7740A-619B-49A7-AB15-127E79F1D3A8}"/>
              </a:ext>
            </a:extLst>
          </p:cNvPr>
          <p:cNvSpPr>
            <a:spLocks noGrp="1"/>
          </p:cNvSpPr>
          <p:nvPr>
            <p:ph type="subTitle" idx="1"/>
          </p:nvPr>
        </p:nvSpPr>
        <p:spPr>
          <a:xfrm>
            <a:off x="334963" y="4840560"/>
            <a:ext cx="5761037" cy="1109390"/>
          </a:xfrm>
        </p:spPr>
        <p:txBody>
          <a:bodyPr/>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a:t>
            </a:r>
            <a:r>
              <a:rPr lang="en-US" dirty="0" err="1"/>
              <a:t>Untertitelformat</a:t>
            </a:r>
            <a:r>
              <a:rPr lang="en-US" dirty="0"/>
              <a:t> </a:t>
            </a:r>
            <a:r>
              <a:rPr lang="en-US" dirty="0" err="1"/>
              <a:t>bearbeiten</a:t>
            </a:r>
            <a:endParaRPr lang="en-US" dirty="0"/>
          </a:p>
        </p:txBody>
      </p:sp>
      <p:pic>
        <p:nvPicPr>
          <p:cNvPr id="8" name="Graphic 7">
            <a:extLst>
              <a:ext uri="{FF2B5EF4-FFF2-40B4-BE49-F238E27FC236}">
                <a16:creationId xmlns:a16="http://schemas.microsoft.com/office/drawing/2014/main" id="{6E792163-5D64-4279-91CD-805293592AD9}"/>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1546988" y="6260769"/>
            <a:ext cx="299851" cy="341998"/>
          </a:xfrm>
          <a:prstGeom prst="rect">
            <a:avLst/>
          </a:prstGeom>
        </p:spPr>
      </p:pic>
      <p:sp>
        <p:nvSpPr>
          <p:cNvPr id="6" name="Datumsplatzhalter 5">
            <a:extLst>
              <a:ext uri="{FF2B5EF4-FFF2-40B4-BE49-F238E27FC236}">
                <a16:creationId xmlns:a16="http://schemas.microsoft.com/office/drawing/2014/main" id="{AEB3BA55-49EE-4E62-8A5F-77C38CD92687}"/>
              </a:ext>
            </a:extLst>
          </p:cNvPr>
          <p:cNvSpPr>
            <a:spLocks noGrp="1"/>
          </p:cNvSpPr>
          <p:nvPr>
            <p:ph type="dt" sz="half" idx="10"/>
          </p:nvPr>
        </p:nvSpPr>
        <p:spPr>
          <a:xfrm>
            <a:off x="335538" y="6487478"/>
            <a:ext cx="2880320" cy="133264"/>
          </a:xfrm>
        </p:spPr>
        <p:txBody>
          <a:bodyPr/>
          <a:lstStyle>
            <a:lvl1pPr>
              <a:defRPr>
                <a:solidFill>
                  <a:schemeClr val="bg1"/>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12EA6757-37CF-4278-8B7C-F33BEF0BBB2C}"/>
              </a:ext>
            </a:extLst>
          </p:cNvPr>
          <p:cNvSpPr txBox="1">
            <a:spLocks/>
          </p:cNvSpPr>
          <p:nvPr userDrawn="1">
            <p:custDataLst>
              <p:tags r:id="rId3"/>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bg1"/>
              </a:solidFill>
            </a:endParaRPr>
          </a:p>
        </p:txBody>
      </p:sp>
      <p:sp>
        <p:nvSpPr>
          <p:cNvPr id="5" name="Grafik 8">
            <a:extLst>
              <a:ext uri="{FF2B5EF4-FFF2-40B4-BE49-F238E27FC236}">
                <a16:creationId xmlns:a16="http://schemas.microsoft.com/office/drawing/2014/main" id="{EA14877C-7F52-4BEE-AFF3-AC63854971F7}"/>
              </a:ext>
            </a:extLst>
          </p:cNvPr>
          <p:cNvSpPr/>
          <p:nvPr userDrawn="1">
            <p:custDataLst>
              <p:tags r:id="rId4"/>
            </p:custDataLst>
          </p:nvPr>
        </p:nvSpPr>
        <p:spPr>
          <a:xfrm rot="16200000">
            <a:off x="11255014" y="762554"/>
            <a:ext cx="1080483" cy="193634"/>
          </a:xfrm>
          <a:custGeom>
            <a:avLst/>
            <a:gdLst>
              <a:gd name="connsiteX0" fmla="*/ 1026846 w 1080483"/>
              <a:gd name="connsiteY0" fmla="*/ 150260 h 193634"/>
              <a:gd name="connsiteX1" fmla="*/ 1039045 w 1080483"/>
              <a:gd name="connsiteY1" fmla="*/ 150260 h 193634"/>
              <a:gd name="connsiteX2" fmla="*/ 1039045 w 1080483"/>
              <a:gd name="connsiteY2" fmla="*/ 85006 h 193634"/>
              <a:gd name="connsiteX3" fmla="*/ 1042143 w 1080483"/>
              <a:gd name="connsiteY3" fmla="*/ 70870 h 193634"/>
              <a:gd name="connsiteX4" fmla="*/ 1050082 w 1080483"/>
              <a:gd name="connsiteY4" fmla="*/ 60608 h 193634"/>
              <a:gd name="connsiteX5" fmla="*/ 1060732 w 1080483"/>
              <a:gd name="connsiteY5" fmla="*/ 53830 h 193634"/>
              <a:gd name="connsiteX6" fmla="*/ 1071963 w 1080483"/>
              <a:gd name="connsiteY6" fmla="*/ 51894 h 193634"/>
              <a:gd name="connsiteX7" fmla="*/ 1078934 w 1080483"/>
              <a:gd name="connsiteY7" fmla="*/ 52475 h 193634"/>
              <a:gd name="connsiteX8" fmla="*/ 1080483 w 1080483"/>
              <a:gd name="connsiteY8" fmla="*/ 40857 h 193634"/>
              <a:gd name="connsiteX9" fmla="*/ 1076223 w 1080483"/>
              <a:gd name="connsiteY9" fmla="*/ 40276 h 193634"/>
              <a:gd name="connsiteX10" fmla="*/ 1071963 w 1080483"/>
              <a:gd name="connsiteY10" fmla="*/ 40082 h 193634"/>
              <a:gd name="connsiteX11" fmla="*/ 1054149 w 1080483"/>
              <a:gd name="connsiteY11" fmla="*/ 45117 h 193634"/>
              <a:gd name="connsiteX12" fmla="*/ 1039239 w 1080483"/>
              <a:gd name="connsiteY12" fmla="*/ 59446 h 193634"/>
              <a:gd name="connsiteX13" fmla="*/ 1039239 w 1080483"/>
              <a:gd name="connsiteY13" fmla="*/ 41825 h 193634"/>
              <a:gd name="connsiteX14" fmla="*/ 1027040 w 1080483"/>
              <a:gd name="connsiteY14" fmla="*/ 41825 h 193634"/>
              <a:gd name="connsiteX15" fmla="*/ 1027040 w 1080483"/>
              <a:gd name="connsiteY15" fmla="*/ 150260 h 193634"/>
              <a:gd name="connsiteX16" fmla="*/ 913570 w 1080483"/>
              <a:gd name="connsiteY16" fmla="*/ 88685 h 193634"/>
              <a:gd name="connsiteX17" fmla="*/ 924994 w 1080483"/>
              <a:gd name="connsiteY17" fmla="*/ 58284 h 193634"/>
              <a:gd name="connsiteX18" fmla="*/ 950167 w 1080483"/>
              <a:gd name="connsiteY18" fmla="*/ 48409 h 193634"/>
              <a:gd name="connsiteX19" fmla="*/ 965658 w 1080483"/>
              <a:gd name="connsiteY19" fmla="*/ 51313 h 193634"/>
              <a:gd name="connsiteX20" fmla="*/ 976114 w 1080483"/>
              <a:gd name="connsiteY20" fmla="*/ 59639 h 193634"/>
              <a:gd name="connsiteX21" fmla="*/ 981923 w 1080483"/>
              <a:gd name="connsiteY21" fmla="*/ 72419 h 193634"/>
              <a:gd name="connsiteX22" fmla="*/ 983859 w 1080483"/>
              <a:gd name="connsiteY22" fmla="*/ 88685 h 193634"/>
              <a:gd name="connsiteX23" fmla="*/ 913570 w 1080483"/>
              <a:gd name="connsiteY23" fmla="*/ 88685 h 193634"/>
              <a:gd name="connsiteX24" fmla="*/ 983085 w 1080483"/>
              <a:gd name="connsiteY24" fmla="*/ 121990 h 193634"/>
              <a:gd name="connsiteX25" fmla="*/ 979599 w 1080483"/>
              <a:gd name="connsiteY25" fmla="*/ 130703 h 193634"/>
              <a:gd name="connsiteX26" fmla="*/ 973597 w 1080483"/>
              <a:gd name="connsiteY26" fmla="*/ 137480 h 193634"/>
              <a:gd name="connsiteX27" fmla="*/ 964109 w 1080483"/>
              <a:gd name="connsiteY27" fmla="*/ 141934 h 193634"/>
              <a:gd name="connsiteX28" fmla="*/ 950167 w 1080483"/>
              <a:gd name="connsiteY28" fmla="*/ 143483 h 193634"/>
              <a:gd name="connsiteX29" fmla="*/ 934095 w 1080483"/>
              <a:gd name="connsiteY29" fmla="*/ 139998 h 193634"/>
              <a:gd name="connsiteX30" fmla="*/ 922477 w 1080483"/>
              <a:gd name="connsiteY30" fmla="*/ 130510 h 193634"/>
              <a:gd name="connsiteX31" fmla="*/ 915506 w 1080483"/>
              <a:gd name="connsiteY31" fmla="*/ 116374 h 193634"/>
              <a:gd name="connsiteX32" fmla="*/ 913183 w 1080483"/>
              <a:gd name="connsiteY32" fmla="*/ 98947 h 193634"/>
              <a:gd name="connsiteX33" fmla="*/ 996639 w 1080483"/>
              <a:gd name="connsiteY33" fmla="*/ 98947 h 193634"/>
              <a:gd name="connsiteX34" fmla="*/ 996639 w 1080483"/>
              <a:gd name="connsiteY34" fmla="*/ 91202 h 193634"/>
              <a:gd name="connsiteX35" fmla="*/ 994122 w 1080483"/>
              <a:gd name="connsiteY35" fmla="*/ 70289 h 193634"/>
              <a:gd name="connsiteX36" fmla="*/ 985989 w 1080483"/>
              <a:gd name="connsiteY36" fmla="*/ 53637 h 193634"/>
              <a:gd name="connsiteX37" fmla="*/ 971660 w 1080483"/>
              <a:gd name="connsiteY37" fmla="*/ 42406 h 193634"/>
              <a:gd name="connsiteX38" fmla="*/ 950167 w 1080483"/>
              <a:gd name="connsiteY38" fmla="*/ 38340 h 193634"/>
              <a:gd name="connsiteX39" fmla="*/ 930416 w 1080483"/>
              <a:gd name="connsiteY39" fmla="*/ 42212 h 193634"/>
              <a:gd name="connsiteX40" fmla="*/ 914925 w 1080483"/>
              <a:gd name="connsiteY40" fmla="*/ 53443 h 193634"/>
              <a:gd name="connsiteX41" fmla="*/ 904663 w 1080483"/>
              <a:gd name="connsiteY41" fmla="*/ 71838 h 193634"/>
              <a:gd name="connsiteX42" fmla="*/ 900983 w 1080483"/>
              <a:gd name="connsiteY42" fmla="*/ 97011 h 193634"/>
              <a:gd name="connsiteX43" fmla="*/ 913957 w 1080483"/>
              <a:gd name="connsiteY43" fmla="*/ 138449 h 193634"/>
              <a:gd name="connsiteX44" fmla="*/ 950167 w 1080483"/>
              <a:gd name="connsiteY44" fmla="*/ 153552 h 193634"/>
              <a:gd name="connsiteX45" fmla="*/ 981342 w 1080483"/>
              <a:gd name="connsiteY45" fmla="*/ 144645 h 193634"/>
              <a:gd name="connsiteX46" fmla="*/ 994896 w 1080483"/>
              <a:gd name="connsiteY46" fmla="*/ 121602 h 193634"/>
              <a:gd name="connsiteX47" fmla="*/ 983085 w 1080483"/>
              <a:gd name="connsiteY47" fmla="*/ 121602 h 193634"/>
              <a:gd name="connsiteX48" fmla="*/ 858771 w 1080483"/>
              <a:gd name="connsiteY48" fmla="*/ 95849 h 193634"/>
              <a:gd name="connsiteX49" fmla="*/ 854898 w 1080483"/>
              <a:gd name="connsiteY49" fmla="*/ 117149 h 193634"/>
              <a:gd name="connsiteX50" fmla="*/ 843668 w 1080483"/>
              <a:gd name="connsiteY50" fmla="*/ 131090 h 193634"/>
              <a:gd name="connsiteX51" fmla="*/ 833405 w 1080483"/>
              <a:gd name="connsiteY51" fmla="*/ 136319 h 193634"/>
              <a:gd name="connsiteX52" fmla="*/ 821593 w 1080483"/>
              <a:gd name="connsiteY52" fmla="*/ 137868 h 193634"/>
              <a:gd name="connsiteX53" fmla="*/ 809201 w 1080483"/>
              <a:gd name="connsiteY53" fmla="*/ 135544 h 193634"/>
              <a:gd name="connsiteX54" fmla="*/ 798163 w 1080483"/>
              <a:gd name="connsiteY54" fmla="*/ 127992 h 193634"/>
              <a:gd name="connsiteX55" fmla="*/ 790224 w 1080483"/>
              <a:gd name="connsiteY55" fmla="*/ 114438 h 193634"/>
              <a:gd name="connsiteX56" fmla="*/ 787126 w 1080483"/>
              <a:gd name="connsiteY56" fmla="*/ 93913 h 193634"/>
              <a:gd name="connsiteX57" fmla="*/ 789837 w 1080483"/>
              <a:gd name="connsiteY57" fmla="*/ 73387 h 193634"/>
              <a:gd name="connsiteX58" fmla="*/ 797389 w 1080483"/>
              <a:gd name="connsiteY58" fmla="*/ 59446 h 193634"/>
              <a:gd name="connsiteX59" fmla="*/ 808813 w 1080483"/>
              <a:gd name="connsiteY59" fmla="*/ 51507 h 193634"/>
              <a:gd name="connsiteX60" fmla="*/ 823142 w 1080483"/>
              <a:gd name="connsiteY60" fmla="*/ 48990 h 193634"/>
              <a:gd name="connsiteX61" fmla="*/ 834373 w 1080483"/>
              <a:gd name="connsiteY61" fmla="*/ 50732 h 193634"/>
              <a:gd name="connsiteX62" fmla="*/ 844442 w 1080483"/>
              <a:gd name="connsiteY62" fmla="*/ 56154 h 193634"/>
              <a:gd name="connsiteX63" fmla="*/ 851026 w 1080483"/>
              <a:gd name="connsiteY63" fmla="*/ 62157 h 193634"/>
              <a:gd name="connsiteX64" fmla="*/ 855479 w 1080483"/>
              <a:gd name="connsiteY64" fmla="*/ 69515 h 193634"/>
              <a:gd name="connsiteX65" fmla="*/ 857997 w 1080483"/>
              <a:gd name="connsiteY65" fmla="*/ 79003 h 193634"/>
              <a:gd name="connsiteX66" fmla="*/ 858771 w 1080483"/>
              <a:gd name="connsiteY66" fmla="*/ 91783 h 193634"/>
              <a:gd name="connsiteX67" fmla="*/ 858771 w 1080483"/>
              <a:gd name="connsiteY67" fmla="*/ 95849 h 193634"/>
              <a:gd name="connsiteX68" fmla="*/ 778219 w 1080483"/>
              <a:gd name="connsiteY68" fmla="*/ 162072 h 193634"/>
              <a:gd name="connsiteX69" fmla="*/ 783060 w 1080483"/>
              <a:gd name="connsiteY69" fmla="*/ 176788 h 193634"/>
              <a:gd name="connsiteX70" fmla="*/ 792935 w 1080483"/>
              <a:gd name="connsiteY70" fmla="*/ 186470 h 193634"/>
              <a:gd name="connsiteX71" fmla="*/ 806877 w 1080483"/>
              <a:gd name="connsiteY71" fmla="*/ 191892 h 193634"/>
              <a:gd name="connsiteX72" fmla="*/ 824110 w 1080483"/>
              <a:gd name="connsiteY72" fmla="*/ 193634 h 193634"/>
              <a:gd name="connsiteX73" fmla="*/ 859546 w 1080483"/>
              <a:gd name="connsiteY73" fmla="*/ 181048 h 193634"/>
              <a:gd name="connsiteX74" fmla="*/ 870776 w 1080483"/>
              <a:gd name="connsiteY74" fmla="*/ 146581 h 193634"/>
              <a:gd name="connsiteX75" fmla="*/ 870776 w 1080483"/>
              <a:gd name="connsiteY75" fmla="*/ 41825 h 193634"/>
              <a:gd name="connsiteX76" fmla="*/ 858577 w 1080483"/>
              <a:gd name="connsiteY76" fmla="*/ 41825 h 193634"/>
              <a:gd name="connsiteX77" fmla="*/ 858577 w 1080483"/>
              <a:gd name="connsiteY77" fmla="*/ 56735 h 193634"/>
              <a:gd name="connsiteX78" fmla="*/ 841538 w 1080483"/>
              <a:gd name="connsiteY78" fmla="*/ 42600 h 193634"/>
              <a:gd name="connsiteX79" fmla="*/ 823142 w 1080483"/>
              <a:gd name="connsiteY79" fmla="*/ 38727 h 193634"/>
              <a:gd name="connsiteX80" fmla="*/ 802617 w 1080483"/>
              <a:gd name="connsiteY80" fmla="*/ 42793 h 193634"/>
              <a:gd name="connsiteX81" fmla="*/ 787320 w 1080483"/>
              <a:gd name="connsiteY81" fmla="*/ 54024 h 193634"/>
              <a:gd name="connsiteX82" fmla="*/ 777638 w 1080483"/>
              <a:gd name="connsiteY82" fmla="*/ 71645 h 193634"/>
              <a:gd name="connsiteX83" fmla="*/ 774346 w 1080483"/>
              <a:gd name="connsiteY83" fmla="*/ 94687 h 193634"/>
              <a:gd name="connsiteX84" fmla="*/ 777057 w 1080483"/>
              <a:gd name="connsiteY84" fmla="*/ 115019 h 193634"/>
              <a:gd name="connsiteX85" fmla="*/ 785383 w 1080483"/>
              <a:gd name="connsiteY85" fmla="*/ 132446 h 193634"/>
              <a:gd name="connsiteX86" fmla="*/ 799906 w 1080483"/>
              <a:gd name="connsiteY86" fmla="*/ 144645 h 193634"/>
              <a:gd name="connsiteX87" fmla="*/ 820819 w 1080483"/>
              <a:gd name="connsiteY87" fmla="*/ 149098 h 193634"/>
              <a:gd name="connsiteX88" fmla="*/ 842699 w 1080483"/>
              <a:gd name="connsiteY88" fmla="*/ 143870 h 193634"/>
              <a:gd name="connsiteX89" fmla="*/ 858577 w 1080483"/>
              <a:gd name="connsiteY89" fmla="*/ 129154 h 193634"/>
              <a:gd name="connsiteX90" fmla="*/ 858577 w 1080483"/>
              <a:gd name="connsiteY90" fmla="*/ 145419 h 193634"/>
              <a:gd name="connsiteX91" fmla="*/ 850251 w 1080483"/>
              <a:gd name="connsiteY91" fmla="*/ 174852 h 193634"/>
              <a:gd name="connsiteX92" fmla="*/ 823917 w 1080483"/>
              <a:gd name="connsiteY92" fmla="*/ 183565 h 193634"/>
              <a:gd name="connsiteX93" fmla="*/ 800100 w 1080483"/>
              <a:gd name="connsiteY93" fmla="*/ 178337 h 193634"/>
              <a:gd name="connsiteX94" fmla="*/ 790031 w 1080483"/>
              <a:gd name="connsiteY94" fmla="*/ 162459 h 193634"/>
              <a:gd name="connsiteX95" fmla="*/ 778219 w 1080483"/>
              <a:gd name="connsiteY95" fmla="*/ 162459 h 193634"/>
              <a:gd name="connsiteX96" fmla="*/ 705799 w 1080483"/>
              <a:gd name="connsiteY96" fmla="*/ 150260 h 193634"/>
              <a:gd name="connsiteX97" fmla="*/ 717998 w 1080483"/>
              <a:gd name="connsiteY97" fmla="*/ 150260 h 193634"/>
              <a:gd name="connsiteX98" fmla="*/ 717998 w 1080483"/>
              <a:gd name="connsiteY98" fmla="*/ 85006 h 193634"/>
              <a:gd name="connsiteX99" fmla="*/ 721097 w 1080483"/>
              <a:gd name="connsiteY99" fmla="*/ 70870 h 193634"/>
              <a:gd name="connsiteX100" fmla="*/ 729036 w 1080483"/>
              <a:gd name="connsiteY100" fmla="*/ 60608 h 193634"/>
              <a:gd name="connsiteX101" fmla="*/ 739686 w 1080483"/>
              <a:gd name="connsiteY101" fmla="*/ 53830 h 193634"/>
              <a:gd name="connsiteX102" fmla="*/ 750916 w 1080483"/>
              <a:gd name="connsiteY102" fmla="*/ 51894 h 193634"/>
              <a:gd name="connsiteX103" fmla="*/ 757887 w 1080483"/>
              <a:gd name="connsiteY103" fmla="*/ 52475 h 193634"/>
              <a:gd name="connsiteX104" fmla="*/ 759436 w 1080483"/>
              <a:gd name="connsiteY104" fmla="*/ 40857 h 193634"/>
              <a:gd name="connsiteX105" fmla="*/ 755176 w 1080483"/>
              <a:gd name="connsiteY105" fmla="*/ 40276 h 193634"/>
              <a:gd name="connsiteX106" fmla="*/ 750916 w 1080483"/>
              <a:gd name="connsiteY106" fmla="*/ 40082 h 193634"/>
              <a:gd name="connsiteX107" fmla="*/ 733102 w 1080483"/>
              <a:gd name="connsiteY107" fmla="*/ 45117 h 193634"/>
              <a:gd name="connsiteX108" fmla="*/ 718192 w 1080483"/>
              <a:gd name="connsiteY108" fmla="*/ 59446 h 193634"/>
              <a:gd name="connsiteX109" fmla="*/ 718192 w 1080483"/>
              <a:gd name="connsiteY109" fmla="*/ 41825 h 193634"/>
              <a:gd name="connsiteX110" fmla="*/ 705993 w 1080483"/>
              <a:gd name="connsiteY110" fmla="*/ 41825 h 193634"/>
              <a:gd name="connsiteX111" fmla="*/ 705993 w 1080483"/>
              <a:gd name="connsiteY111" fmla="*/ 150260 h 193634"/>
              <a:gd name="connsiteX112" fmla="*/ 585358 w 1080483"/>
              <a:gd name="connsiteY112" fmla="*/ 114051 h 193634"/>
              <a:gd name="connsiteX113" fmla="*/ 593298 w 1080483"/>
              <a:gd name="connsiteY113" fmla="*/ 143483 h 193634"/>
              <a:gd name="connsiteX114" fmla="*/ 619826 w 1080483"/>
              <a:gd name="connsiteY114" fmla="*/ 153552 h 193634"/>
              <a:gd name="connsiteX115" fmla="*/ 659133 w 1080483"/>
              <a:gd name="connsiteY115" fmla="*/ 132446 h 193634"/>
              <a:gd name="connsiteX116" fmla="*/ 659133 w 1080483"/>
              <a:gd name="connsiteY116" fmla="*/ 150067 h 193634"/>
              <a:gd name="connsiteX117" fmla="*/ 671332 w 1080483"/>
              <a:gd name="connsiteY117" fmla="*/ 150067 h 193634"/>
              <a:gd name="connsiteX118" fmla="*/ 671332 w 1080483"/>
              <a:gd name="connsiteY118" fmla="*/ 41631 h 193634"/>
              <a:gd name="connsiteX119" fmla="*/ 659133 w 1080483"/>
              <a:gd name="connsiteY119" fmla="*/ 41631 h 193634"/>
              <a:gd name="connsiteX120" fmla="*/ 659133 w 1080483"/>
              <a:gd name="connsiteY120" fmla="*/ 105143 h 193634"/>
              <a:gd name="connsiteX121" fmla="*/ 656035 w 1080483"/>
              <a:gd name="connsiteY121" fmla="*/ 121021 h 193634"/>
              <a:gd name="connsiteX122" fmla="*/ 646741 w 1080483"/>
              <a:gd name="connsiteY122" fmla="*/ 132252 h 193634"/>
              <a:gd name="connsiteX123" fmla="*/ 634348 w 1080483"/>
              <a:gd name="connsiteY123" fmla="*/ 139804 h 193634"/>
              <a:gd name="connsiteX124" fmla="*/ 621375 w 1080483"/>
              <a:gd name="connsiteY124" fmla="*/ 142321 h 193634"/>
              <a:gd name="connsiteX125" fmla="*/ 602979 w 1080483"/>
              <a:gd name="connsiteY125" fmla="*/ 134770 h 193634"/>
              <a:gd name="connsiteX126" fmla="*/ 597558 w 1080483"/>
              <a:gd name="connsiteY126" fmla="*/ 110178 h 193634"/>
              <a:gd name="connsiteX127" fmla="*/ 597558 w 1080483"/>
              <a:gd name="connsiteY127" fmla="*/ 41825 h 193634"/>
              <a:gd name="connsiteX128" fmla="*/ 585358 w 1080483"/>
              <a:gd name="connsiteY128" fmla="*/ 41825 h 193634"/>
              <a:gd name="connsiteX129" fmla="*/ 585358 w 1080483"/>
              <a:gd name="connsiteY129" fmla="*/ 114051 h 193634"/>
              <a:gd name="connsiteX130" fmla="*/ 470920 w 1080483"/>
              <a:gd name="connsiteY130" fmla="*/ 91008 h 193634"/>
              <a:gd name="connsiteX131" fmla="*/ 474987 w 1080483"/>
              <a:gd name="connsiteY131" fmla="*/ 69902 h 193634"/>
              <a:gd name="connsiteX132" fmla="*/ 486411 w 1080483"/>
              <a:gd name="connsiteY132" fmla="*/ 56154 h 193634"/>
              <a:gd name="connsiteX133" fmla="*/ 496867 w 1080483"/>
              <a:gd name="connsiteY133" fmla="*/ 50732 h 193634"/>
              <a:gd name="connsiteX134" fmla="*/ 508679 w 1080483"/>
              <a:gd name="connsiteY134" fmla="*/ 49183 h 193634"/>
              <a:gd name="connsiteX135" fmla="*/ 520684 w 1080483"/>
              <a:gd name="connsiteY135" fmla="*/ 51313 h 193634"/>
              <a:gd name="connsiteX136" fmla="*/ 531722 w 1080483"/>
              <a:gd name="connsiteY136" fmla="*/ 58865 h 193634"/>
              <a:gd name="connsiteX137" fmla="*/ 539661 w 1080483"/>
              <a:gd name="connsiteY137" fmla="*/ 73000 h 193634"/>
              <a:gd name="connsiteX138" fmla="*/ 542759 w 1080483"/>
              <a:gd name="connsiteY138" fmla="*/ 95074 h 193634"/>
              <a:gd name="connsiteX139" fmla="*/ 540048 w 1080483"/>
              <a:gd name="connsiteY139" fmla="*/ 117342 h 193634"/>
              <a:gd name="connsiteX140" fmla="*/ 532496 w 1080483"/>
              <a:gd name="connsiteY140" fmla="*/ 132252 h 193634"/>
              <a:gd name="connsiteX141" fmla="*/ 521265 w 1080483"/>
              <a:gd name="connsiteY141" fmla="*/ 140579 h 193634"/>
              <a:gd name="connsiteX142" fmla="*/ 506936 w 1080483"/>
              <a:gd name="connsiteY142" fmla="*/ 143289 h 193634"/>
              <a:gd name="connsiteX143" fmla="*/ 495318 w 1080483"/>
              <a:gd name="connsiteY143" fmla="*/ 141547 h 193634"/>
              <a:gd name="connsiteX144" fmla="*/ 485443 w 1080483"/>
              <a:gd name="connsiteY144" fmla="*/ 136125 h 193634"/>
              <a:gd name="connsiteX145" fmla="*/ 478666 w 1080483"/>
              <a:gd name="connsiteY145" fmla="*/ 130122 h 193634"/>
              <a:gd name="connsiteX146" fmla="*/ 474212 w 1080483"/>
              <a:gd name="connsiteY146" fmla="*/ 122571 h 193634"/>
              <a:gd name="connsiteX147" fmla="*/ 471695 w 1080483"/>
              <a:gd name="connsiteY147" fmla="*/ 113082 h 193634"/>
              <a:gd name="connsiteX148" fmla="*/ 470920 w 1080483"/>
              <a:gd name="connsiteY148" fmla="*/ 100496 h 193634"/>
              <a:gd name="connsiteX149" fmla="*/ 470920 w 1080483"/>
              <a:gd name="connsiteY149" fmla="*/ 91008 h 193634"/>
              <a:gd name="connsiteX150" fmla="*/ 459109 w 1080483"/>
              <a:gd name="connsiteY150" fmla="*/ 150260 h 193634"/>
              <a:gd name="connsiteX151" fmla="*/ 471307 w 1080483"/>
              <a:gd name="connsiteY151" fmla="*/ 150260 h 193634"/>
              <a:gd name="connsiteX152" fmla="*/ 471307 w 1080483"/>
              <a:gd name="connsiteY152" fmla="*/ 135544 h 193634"/>
              <a:gd name="connsiteX153" fmla="*/ 487960 w 1080483"/>
              <a:gd name="connsiteY153" fmla="*/ 149679 h 193634"/>
              <a:gd name="connsiteX154" fmla="*/ 506936 w 1080483"/>
              <a:gd name="connsiteY154" fmla="*/ 153746 h 193634"/>
              <a:gd name="connsiteX155" fmla="*/ 527074 w 1080483"/>
              <a:gd name="connsiteY155" fmla="*/ 149679 h 193634"/>
              <a:gd name="connsiteX156" fmla="*/ 542372 w 1080483"/>
              <a:gd name="connsiteY156" fmla="*/ 138061 h 193634"/>
              <a:gd name="connsiteX157" fmla="*/ 552247 w 1080483"/>
              <a:gd name="connsiteY157" fmla="*/ 119666 h 193634"/>
              <a:gd name="connsiteX158" fmla="*/ 555732 w 1080483"/>
              <a:gd name="connsiteY158" fmla="*/ 94881 h 193634"/>
              <a:gd name="connsiteX159" fmla="*/ 552828 w 1080483"/>
              <a:gd name="connsiteY159" fmla="*/ 72613 h 193634"/>
              <a:gd name="connsiteX160" fmla="*/ 544114 w 1080483"/>
              <a:gd name="connsiteY160" fmla="*/ 54799 h 193634"/>
              <a:gd name="connsiteX161" fmla="*/ 529398 w 1080483"/>
              <a:gd name="connsiteY161" fmla="*/ 42987 h 193634"/>
              <a:gd name="connsiteX162" fmla="*/ 508679 w 1080483"/>
              <a:gd name="connsiteY162" fmla="*/ 38727 h 193634"/>
              <a:gd name="connsiteX163" fmla="*/ 487186 w 1080483"/>
              <a:gd name="connsiteY163" fmla="*/ 43955 h 193634"/>
              <a:gd name="connsiteX164" fmla="*/ 470920 w 1080483"/>
              <a:gd name="connsiteY164" fmla="*/ 58284 h 193634"/>
              <a:gd name="connsiteX165" fmla="*/ 470920 w 1080483"/>
              <a:gd name="connsiteY165" fmla="*/ 194 h 193634"/>
              <a:gd name="connsiteX166" fmla="*/ 458721 w 1080483"/>
              <a:gd name="connsiteY166" fmla="*/ 194 h 193634"/>
              <a:gd name="connsiteX167" fmla="*/ 458721 w 1080483"/>
              <a:gd name="connsiteY167" fmla="*/ 150260 h 193634"/>
              <a:gd name="connsiteX168" fmla="*/ 274768 w 1080483"/>
              <a:gd name="connsiteY168" fmla="*/ 150260 h 193634"/>
              <a:gd name="connsiteX169" fmla="*/ 286967 w 1080483"/>
              <a:gd name="connsiteY169" fmla="*/ 150260 h 193634"/>
              <a:gd name="connsiteX170" fmla="*/ 286967 w 1080483"/>
              <a:gd name="connsiteY170" fmla="*/ 86167 h 193634"/>
              <a:gd name="connsiteX171" fmla="*/ 288129 w 1080483"/>
              <a:gd name="connsiteY171" fmla="*/ 76486 h 193634"/>
              <a:gd name="connsiteX172" fmla="*/ 291033 w 1080483"/>
              <a:gd name="connsiteY172" fmla="*/ 69127 h 193634"/>
              <a:gd name="connsiteX173" fmla="*/ 294906 w 1080483"/>
              <a:gd name="connsiteY173" fmla="*/ 63706 h 193634"/>
              <a:gd name="connsiteX174" fmla="*/ 298972 w 1080483"/>
              <a:gd name="connsiteY174" fmla="*/ 59639 h 193634"/>
              <a:gd name="connsiteX175" fmla="*/ 310010 w 1080483"/>
              <a:gd name="connsiteY175" fmla="*/ 52088 h 193634"/>
              <a:gd name="connsiteX176" fmla="*/ 321821 w 1080483"/>
              <a:gd name="connsiteY176" fmla="*/ 49377 h 193634"/>
              <a:gd name="connsiteX177" fmla="*/ 338474 w 1080483"/>
              <a:gd name="connsiteY177" fmla="*/ 55960 h 193634"/>
              <a:gd name="connsiteX178" fmla="*/ 343896 w 1080483"/>
              <a:gd name="connsiteY178" fmla="*/ 78422 h 193634"/>
              <a:gd name="connsiteX179" fmla="*/ 343896 w 1080483"/>
              <a:gd name="connsiteY179" fmla="*/ 150260 h 193634"/>
              <a:gd name="connsiteX180" fmla="*/ 356095 w 1080483"/>
              <a:gd name="connsiteY180" fmla="*/ 150260 h 193634"/>
              <a:gd name="connsiteX181" fmla="*/ 356095 w 1080483"/>
              <a:gd name="connsiteY181" fmla="*/ 80939 h 193634"/>
              <a:gd name="connsiteX182" fmla="*/ 359387 w 1080483"/>
              <a:gd name="connsiteY182" fmla="*/ 67578 h 193634"/>
              <a:gd name="connsiteX183" fmla="*/ 367713 w 1080483"/>
              <a:gd name="connsiteY183" fmla="*/ 57897 h 193634"/>
              <a:gd name="connsiteX184" fmla="*/ 379525 w 1080483"/>
              <a:gd name="connsiteY184" fmla="*/ 51313 h 193634"/>
              <a:gd name="connsiteX185" fmla="*/ 390562 w 1080483"/>
              <a:gd name="connsiteY185" fmla="*/ 49570 h 193634"/>
              <a:gd name="connsiteX186" fmla="*/ 400437 w 1080483"/>
              <a:gd name="connsiteY186" fmla="*/ 50926 h 193634"/>
              <a:gd name="connsiteX187" fmla="*/ 407408 w 1080483"/>
              <a:gd name="connsiteY187" fmla="*/ 55573 h 193634"/>
              <a:gd name="connsiteX188" fmla="*/ 411668 w 1080483"/>
              <a:gd name="connsiteY188" fmla="*/ 64480 h 193634"/>
              <a:gd name="connsiteX189" fmla="*/ 413023 w 1080483"/>
              <a:gd name="connsiteY189" fmla="*/ 78422 h 193634"/>
              <a:gd name="connsiteX190" fmla="*/ 413023 w 1080483"/>
              <a:gd name="connsiteY190" fmla="*/ 150454 h 193634"/>
              <a:gd name="connsiteX191" fmla="*/ 425222 w 1080483"/>
              <a:gd name="connsiteY191" fmla="*/ 150454 h 193634"/>
              <a:gd name="connsiteX192" fmla="*/ 425222 w 1080483"/>
              <a:gd name="connsiteY192" fmla="*/ 73968 h 193634"/>
              <a:gd name="connsiteX193" fmla="*/ 416315 w 1080483"/>
              <a:gd name="connsiteY193" fmla="*/ 47053 h 193634"/>
              <a:gd name="connsiteX194" fmla="*/ 391917 w 1080483"/>
              <a:gd name="connsiteY194" fmla="*/ 38533 h 193634"/>
              <a:gd name="connsiteX195" fmla="*/ 370617 w 1080483"/>
              <a:gd name="connsiteY195" fmla="*/ 44149 h 193634"/>
              <a:gd name="connsiteX196" fmla="*/ 353384 w 1080483"/>
              <a:gd name="connsiteY196" fmla="*/ 59833 h 193634"/>
              <a:gd name="connsiteX197" fmla="*/ 342347 w 1080483"/>
              <a:gd name="connsiteY197" fmla="*/ 44149 h 193634"/>
              <a:gd name="connsiteX198" fmla="*/ 322402 w 1080483"/>
              <a:gd name="connsiteY198" fmla="*/ 38533 h 193634"/>
              <a:gd name="connsiteX199" fmla="*/ 303813 w 1080483"/>
              <a:gd name="connsiteY199" fmla="*/ 43761 h 193634"/>
              <a:gd name="connsiteX200" fmla="*/ 286580 w 1080483"/>
              <a:gd name="connsiteY200" fmla="*/ 59833 h 193634"/>
              <a:gd name="connsiteX201" fmla="*/ 286580 w 1080483"/>
              <a:gd name="connsiteY201" fmla="*/ 42019 h 193634"/>
              <a:gd name="connsiteX202" fmla="*/ 274381 w 1080483"/>
              <a:gd name="connsiteY202" fmla="*/ 42019 h 193634"/>
              <a:gd name="connsiteX203" fmla="*/ 274381 w 1080483"/>
              <a:gd name="connsiteY203" fmla="*/ 150260 h 193634"/>
              <a:gd name="connsiteX204" fmla="*/ 214935 w 1080483"/>
              <a:gd name="connsiteY204" fmla="*/ 149679 h 193634"/>
              <a:gd name="connsiteX205" fmla="*/ 231200 w 1080483"/>
              <a:gd name="connsiteY205" fmla="*/ 137868 h 193634"/>
              <a:gd name="connsiteX206" fmla="*/ 241463 w 1080483"/>
              <a:gd name="connsiteY206" fmla="*/ 119472 h 193634"/>
              <a:gd name="connsiteX207" fmla="*/ 245142 w 1080483"/>
              <a:gd name="connsiteY207" fmla="*/ 95462 h 193634"/>
              <a:gd name="connsiteX208" fmla="*/ 241656 w 1080483"/>
              <a:gd name="connsiteY208" fmla="*/ 72032 h 193634"/>
              <a:gd name="connsiteX209" fmla="*/ 231587 w 1080483"/>
              <a:gd name="connsiteY209" fmla="*/ 54024 h 193634"/>
              <a:gd name="connsiteX210" fmla="*/ 215516 w 1080483"/>
              <a:gd name="connsiteY210" fmla="*/ 42600 h 193634"/>
              <a:gd name="connsiteX211" fmla="*/ 194216 w 1080483"/>
              <a:gd name="connsiteY211" fmla="*/ 38533 h 193634"/>
              <a:gd name="connsiteX212" fmla="*/ 172916 w 1080483"/>
              <a:gd name="connsiteY212" fmla="*/ 42600 h 193634"/>
              <a:gd name="connsiteX213" fmla="*/ 156844 w 1080483"/>
              <a:gd name="connsiteY213" fmla="*/ 54218 h 193634"/>
              <a:gd name="connsiteX214" fmla="*/ 146582 w 1080483"/>
              <a:gd name="connsiteY214" fmla="*/ 72613 h 193634"/>
              <a:gd name="connsiteX215" fmla="*/ 142903 w 1080483"/>
              <a:gd name="connsiteY215" fmla="*/ 96624 h 193634"/>
              <a:gd name="connsiteX216" fmla="*/ 146388 w 1080483"/>
              <a:gd name="connsiteY216" fmla="*/ 120247 h 193634"/>
              <a:gd name="connsiteX217" fmla="*/ 156263 w 1080483"/>
              <a:gd name="connsiteY217" fmla="*/ 138255 h 193634"/>
              <a:gd name="connsiteX218" fmla="*/ 171948 w 1080483"/>
              <a:gd name="connsiteY218" fmla="*/ 149679 h 193634"/>
              <a:gd name="connsiteX219" fmla="*/ 193248 w 1080483"/>
              <a:gd name="connsiteY219" fmla="*/ 153746 h 193634"/>
              <a:gd name="connsiteX220" fmla="*/ 214935 w 1080483"/>
              <a:gd name="connsiteY220" fmla="*/ 149679 h 193634"/>
              <a:gd name="connsiteX221" fmla="*/ 176401 w 1080483"/>
              <a:gd name="connsiteY221" fmla="*/ 139417 h 193634"/>
              <a:gd name="connsiteX222" fmla="*/ 164590 w 1080483"/>
              <a:gd name="connsiteY222" fmla="*/ 129348 h 193634"/>
              <a:gd name="connsiteX223" fmla="*/ 158006 w 1080483"/>
              <a:gd name="connsiteY223" fmla="*/ 114438 h 193634"/>
              <a:gd name="connsiteX224" fmla="*/ 155876 w 1080483"/>
              <a:gd name="connsiteY224" fmla="*/ 95849 h 193634"/>
              <a:gd name="connsiteX225" fmla="*/ 158006 w 1080483"/>
              <a:gd name="connsiteY225" fmla="*/ 77454 h 193634"/>
              <a:gd name="connsiteX226" fmla="*/ 164590 w 1080483"/>
              <a:gd name="connsiteY226" fmla="*/ 62544 h 193634"/>
              <a:gd name="connsiteX227" fmla="*/ 176401 w 1080483"/>
              <a:gd name="connsiteY227" fmla="*/ 52475 h 193634"/>
              <a:gd name="connsiteX228" fmla="*/ 193829 w 1080483"/>
              <a:gd name="connsiteY228" fmla="*/ 48796 h 193634"/>
              <a:gd name="connsiteX229" fmla="*/ 211256 w 1080483"/>
              <a:gd name="connsiteY229" fmla="*/ 52475 h 193634"/>
              <a:gd name="connsiteX230" fmla="*/ 223067 w 1080483"/>
              <a:gd name="connsiteY230" fmla="*/ 62544 h 193634"/>
              <a:gd name="connsiteX231" fmla="*/ 229845 w 1080483"/>
              <a:gd name="connsiteY231" fmla="*/ 77454 h 193634"/>
              <a:gd name="connsiteX232" fmla="*/ 231975 w 1080483"/>
              <a:gd name="connsiteY232" fmla="*/ 95655 h 193634"/>
              <a:gd name="connsiteX233" fmla="*/ 229845 w 1080483"/>
              <a:gd name="connsiteY233" fmla="*/ 114438 h 193634"/>
              <a:gd name="connsiteX234" fmla="*/ 223067 w 1080483"/>
              <a:gd name="connsiteY234" fmla="*/ 129348 h 193634"/>
              <a:gd name="connsiteX235" fmla="*/ 211256 w 1080483"/>
              <a:gd name="connsiteY235" fmla="*/ 139417 h 193634"/>
              <a:gd name="connsiteX236" fmla="*/ 193829 w 1080483"/>
              <a:gd name="connsiteY236" fmla="*/ 143096 h 193634"/>
              <a:gd name="connsiteX237" fmla="*/ 176401 w 1080483"/>
              <a:gd name="connsiteY237" fmla="*/ 139417 h 193634"/>
              <a:gd name="connsiteX238" fmla="*/ 0 w 1080483"/>
              <a:gd name="connsiteY238" fmla="*/ 150260 h 193634"/>
              <a:gd name="connsiteX239" fmla="*/ 12780 w 1080483"/>
              <a:gd name="connsiteY239" fmla="*/ 150260 h 193634"/>
              <a:gd name="connsiteX240" fmla="*/ 12780 w 1080483"/>
              <a:gd name="connsiteY240" fmla="*/ 78616 h 193634"/>
              <a:gd name="connsiteX241" fmla="*/ 97592 w 1080483"/>
              <a:gd name="connsiteY241" fmla="*/ 78616 h 193634"/>
              <a:gd name="connsiteX242" fmla="*/ 97592 w 1080483"/>
              <a:gd name="connsiteY242" fmla="*/ 150454 h 193634"/>
              <a:gd name="connsiteX243" fmla="*/ 110372 w 1080483"/>
              <a:gd name="connsiteY243" fmla="*/ 150454 h 193634"/>
              <a:gd name="connsiteX244" fmla="*/ 110372 w 1080483"/>
              <a:gd name="connsiteY244" fmla="*/ 0 h 193634"/>
              <a:gd name="connsiteX245" fmla="*/ 97592 w 1080483"/>
              <a:gd name="connsiteY245" fmla="*/ 0 h 193634"/>
              <a:gd name="connsiteX246" fmla="*/ 97592 w 1080483"/>
              <a:gd name="connsiteY246" fmla="*/ 66610 h 193634"/>
              <a:gd name="connsiteX247" fmla="*/ 12780 w 1080483"/>
              <a:gd name="connsiteY247" fmla="*/ 66610 h 193634"/>
              <a:gd name="connsiteX248" fmla="*/ 12780 w 1080483"/>
              <a:gd name="connsiteY248" fmla="*/ 0 h 193634"/>
              <a:gd name="connsiteX249" fmla="*/ 0 w 1080483"/>
              <a:gd name="connsiteY249" fmla="*/ 0 h 193634"/>
              <a:gd name="connsiteX250" fmla="*/ 0 w 1080483"/>
              <a:gd name="connsiteY250" fmla="*/ 150260 h 19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0483" h="193634">
                <a:moveTo>
                  <a:pt x="1026846" y="150260"/>
                </a:moveTo>
                <a:lnTo>
                  <a:pt x="1039045" y="150260"/>
                </a:lnTo>
                <a:lnTo>
                  <a:pt x="1039045" y="85006"/>
                </a:lnTo>
                <a:cubicBezTo>
                  <a:pt x="1039045" y="79584"/>
                  <a:pt x="1040013" y="74743"/>
                  <a:pt x="1042143" y="70870"/>
                </a:cubicBezTo>
                <a:cubicBezTo>
                  <a:pt x="1044273" y="66804"/>
                  <a:pt x="1046984" y="63512"/>
                  <a:pt x="1050082" y="60608"/>
                </a:cubicBezTo>
                <a:cubicBezTo>
                  <a:pt x="1053374" y="57316"/>
                  <a:pt x="1057053" y="55186"/>
                  <a:pt x="1060732" y="53830"/>
                </a:cubicBezTo>
                <a:cubicBezTo>
                  <a:pt x="1064605" y="52475"/>
                  <a:pt x="1068284" y="51894"/>
                  <a:pt x="1071963" y="51894"/>
                </a:cubicBezTo>
                <a:cubicBezTo>
                  <a:pt x="1074093" y="51894"/>
                  <a:pt x="1076417" y="52088"/>
                  <a:pt x="1078934" y="52475"/>
                </a:cubicBezTo>
                <a:lnTo>
                  <a:pt x="1080483" y="40857"/>
                </a:lnTo>
                <a:cubicBezTo>
                  <a:pt x="1078934" y="40663"/>
                  <a:pt x="1077579" y="40470"/>
                  <a:pt x="1076223" y="40276"/>
                </a:cubicBezTo>
                <a:cubicBezTo>
                  <a:pt x="1074868" y="40276"/>
                  <a:pt x="1073512" y="40082"/>
                  <a:pt x="1071963" y="40082"/>
                </a:cubicBezTo>
                <a:cubicBezTo>
                  <a:pt x="1065573" y="40082"/>
                  <a:pt x="1059764" y="41825"/>
                  <a:pt x="1054149" y="45117"/>
                </a:cubicBezTo>
                <a:cubicBezTo>
                  <a:pt x="1048533" y="48409"/>
                  <a:pt x="1043499" y="53249"/>
                  <a:pt x="1039239" y="59446"/>
                </a:cubicBezTo>
                <a:lnTo>
                  <a:pt x="1039239" y="41825"/>
                </a:lnTo>
                <a:lnTo>
                  <a:pt x="1027040" y="41825"/>
                </a:lnTo>
                <a:lnTo>
                  <a:pt x="1027040" y="150260"/>
                </a:lnTo>
                <a:close/>
                <a:moveTo>
                  <a:pt x="913570" y="88685"/>
                </a:moveTo>
                <a:cubicBezTo>
                  <a:pt x="914925" y="75130"/>
                  <a:pt x="918604" y="65061"/>
                  <a:pt x="924994" y="58284"/>
                </a:cubicBezTo>
                <a:cubicBezTo>
                  <a:pt x="931384" y="51700"/>
                  <a:pt x="939710" y="48409"/>
                  <a:pt x="950167" y="48409"/>
                </a:cubicBezTo>
                <a:cubicBezTo>
                  <a:pt x="956169" y="48409"/>
                  <a:pt x="961398" y="49377"/>
                  <a:pt x="965658" y="51313"/>
                </a:cubicBezTo>
                <a:cubicBezTo>
                  <a:pt x="969918" y="53249"/>
                  <a:pt x="973597" y="55960"/>
                  <a:pt x="976114" y="59639"/>
                </a:cubicBezTo>
                <a:cubicBezTo>
                  <a:pt x="978825" y="63318"/>
                  <a:pt x="980761" y="67385"/>
                  <a:pt x="981923" y="72419"/>
                </a:cubicBezTo>
                <a:cubicBezTo>
                  <a:pt x="983278" y="77260"/>
                  <a:pt x="983859" y="82682"/>
                  <a:pt x="983859" y="88685"/>
                </a:cubicBezTo>
                <a:lnTo>
                  <a:pt x="913570" y="88685"/>
                </a:lnTo>
                <a:close/>
                <a:moveTo>
                  <a:pt x="983085" y="121990"/>
                </a:moveTo>
                <a:cubicBezTo>
                  <a:pt x="982310" y="125281"/>
                  <a:pt x="981148" y="128186"/>
                  <a:pt x="979599" y="130703"/>
                </a:cubicBezTo>
                <a:cubicBezTo>
                  <a:pt x="978050" y="133220"/>
                  <a:pt x="976114" y="135544"/>
                  <a:pt x="973597" y="137480"/>
                </a:cubicBezTo>
                <a:cubicBezTo>
                  <a:pt x="971079" y="139417"/>
                  <a:pt x="967981" y="140966"/>
                  <a:pt x="964109" y="141934"/>
                </a:cubicBezTo>
                <a:cubicBezTo>
                  <a:pt x="960236" y="142902"/>
                  <a:pt x="955589" y="143483"/>
                  <a:pt x="950167" y="143483"/>
                </a:cubicBezTo>
                <a:cubicBezTo>
                  <a:pt x="944164" y="143483"/>
                  <a:pt x="938742" y="142321"/>
                  <a:pt x="934095" y="139998"/>
                </a:cubicBezTo>
                <a:cubicBezTo>
                  <a:pt x="929448" y="137674"/>
                  <a:pt x="925575" y="134576"/>
                  <a:pt x="922477" y="130510"/>
                </a:cubicBezTo>
                <a:cubicBezTo>
                  <a:pt x="919379" y="126443"/>
                  <a:pt x="917055" y="121796"/>
                  <a:pt x="915506" y="116374"/>
                </a:cubicBezTo>
                <a:cubicBezTo>
                  <a:pt x="913957" y="110953"/>
                  <a:pt x="913183" y="105143"/>
                  <a:pt x="913183" y="98947"/>
                </a:cubicBezTo>
                <a:lnTo>
                  <a:pt x="996639" y="98947"/>
                </a:lnTo>
                <a:lnTo>
                  <a:pt x="996639" y="91202"/>
                </a:lnTo>
                <a:cubicBezTo>
                  <a:pt x="996639" y="83844"/>
                  <a:pt x="995865" y="76873"/>
                  <a:pt x="994122" y="70289"/>
                </a:cubicBezTo>
                <a:cubicBezTo>
                  <a:pt x="992379" y="63899"/>
                  <a:pt x="989668" y="58284"/>
                  <a:pt x="985989" y="53637"/>
                </a:cubicBezTo>
                <a:cubicBezTo>
                  <a:pt x="982310" y="48990"/>
                  <a:pt x="977469" y="45310"/>
                  <a:pt x="971660" y="42406"/>
                </a:cubicBezTo>
                <a:cubicBezTo>
                  <a:pt x="965851" y="39695"/>
                  <a:pt x="958687" y="38340"/>
                  <a:pt x="950167" y="38340"/>
                </a:cubicBezTo>
                <a:cubicBezTo>
                  <a:pt x="943002" y="38340"/>
                  <a:pt x="936419" y="39695"/>
                  <a:pt x="930416" y="42212"/>
                </a:cubicBezTo>
                <a:cubicBezTo>
                  <a:pt x="924413" y="44730"/>
                  <a:pt x="919185" y="48409"/>
                  <a:pt x="914925" y="53443"/>
                </a:cubicBezTo>
                <a:cubicBezTo>
                  <a:pt x="910472" y="58478"/>
                  <a:pt x="906986" y="64480"/>
                  <a:pt x="904663" y="71838"/>
                </a:cubicBezTo>
                <a:cubicBezTo>
                  <a:pt x="902145" y="79196"/>
                  <a:pt x="900983" y="87523"/>
                  <a:pt x="900983" y="97011"/>
                </a:cubicBezTo>
                <a:cubicBezTo>
                  <a:pt x="900983" y="114632"/>
                  <a:pt x="905243" y="128380"/>
                  <a:pt x="913957" y="138449"/>
                </a:cubicBezTo>
                <a:cubicBezTo>
                  <a:pt x="922671" y="148518"/>
                  <a:pt x="934676" y="153552"/>
                  <a:pt x="950167" y="153552"/>
                </a:cubicBezTo>
                <a:cubicBezTo>
                  <a:pt x="963721" y="153552"/>
                  <a:pt x="973984" y="150648"/>
                  <a:pt x="981342" y="144645"/>
                </a:cubicBezTo>
                <a:cubicBezTo>
                  <a:pt x="988700" y="138836"/>
                  <a:pt x="993154" y="131090"/>
                  <a:pt x="994896" y="121602"/>
                </a:cubicBezTo>
                <a:lnTo>
                  <a:pt x="983085" y="121602"/>
                </a:lnTo>
                <a:close/>
                <a:moveTo>
                  <a:pt x="858771" y="95849"/>
                </a:moveTo>
                <a:cubicBezTo>
                  <a:pt x="858771" y="104369"/>
                  <a:pt x="857416" y="111533"/>
                  <a:pt x="854898" y="117149"/>
                </a:cubicBezTo>
                <a:cubicBezTo>
                  <a:pt x="852381" y="122764"/>
                  <a:pt x="848508" y="127411"/>
                  <a:pt x="843668" y="131090"/>
                </a:cubicBezTo>
                <a:cubicBezTo>
                  <a:pt x="839988" y="133608"/>
                  <a:pt x="836503" y="135350"/>
                  <a:pt x="833405" y="136319"/>
                </a:cubicBezTo>
                <a:cubicBezTo>
                  <a:pt x="830113" y="137287"/>
                  <a:pt x="826240" y="137868"/>
                  <a:pt x="821593" y="137868"/>
                </a:cubicBezTo>
                <a:cubicBezTo>
                  <a:pt x="817333" y="137868"/>
                  <a:pt x="813267" y="137093"/>
                  <a:pt x="809201" y="135544"/>
                </a:cubicBezTo>
                <a:cubicBezTo>
                  <a:pt x="805134" y="133995"/>
                  <a:pt x="801455" y="131478"/>
                  <a:pt x="798163" y="127992"/>
                </a:cubicBezTo>
                <a:cubicBezTo>
                  <a:pt x="794872" y="124507"/>
                  <a:pt x="792354" y="120053"/>
                  <a:pt x="790224" y="114438"/>
                </a:cubicBezTo>
                <a:cubicBezTo>
                  <a:pt x="788094" y="108823"/>
                  <a:pt x="787126" y="102045"/>
                  <a:pt x="787126" y="93913"/>
                </a:cubicBezTo>
                <a:cubicBezTo>
                  <a:pt x="787126" y="85974"/>
                  <a:pt x="788094" y="79003"/>
                  <a:pt x="789837" y="73387"/>
                </a:cubicBezTo>
                <a:cubicBezTo>
                  <a:pt x="791580" y="67772"/>
                  <a:pt x="794097" y="63125"/>
                  <a:pt x="797389" y="59446"/>
                </a:cubicBezTo>
                <a:cubicBezTo>
                  <a:pt x="800681" y="55767"/>
                  <a:pt x="804360" y="53056"/>
                  <a:pt x="808813" y="51507"/>
                </a:cubicBezTo>
                <a:cubicBezTo>
                  <a:pt x="813073" y="49764"/>
                  <a:pt x="817914" y="48990"/>
                  <a:pt x="823142" y="48990"/>
                </a:cubicBezTo>
                <a:cubicBezTo>
                  <a:pt x="827402" y="48990"/>
                  <a:pt x="831081" y="49570"/>
                  <a:pt x="834373" y="50732"/>
                </a:cubicBezTo>
                <a:cubicBezTo>
                  <a:pt x="837665" y="51894"/>
                  <a:pt x="840957" y="53637"/>
                  <a:pt x="844442" y="56154"/>
                </a:cubicBezTo>
                <a:cubicBezTo>
                  <a:pt x="846959" y="58090"/>
                  <a:pt x="849089" y="60220"/>
                  <a:pt x="851026" y="62157"/>
                </a:cubicBezTo>
                <a:cubicBezTo>
                  <a:pt x="852768" y="64287"/>
                  <a:pt x="854317" y="66610"/>
                  <a:pt x="855479" y="69515"/>
                </a:cubicBezTo>
                <a:cubicBezTo>
                  <a:pt x="856641" y="72226"/>
                  <a:pt x="857416" y="75324"/>
                  <a:pt x="857997" y="79003"/>
                </a:cubicBezTo>
                <a:cubicBezTo>
                  <a:pt x="858577" y="82682"/>
                  <a:pt x="858771" y="86748"/>
                  <a:pt x="858771" y="91783"/>
                </a:cubicBezTo>
                <a:lnTo>
                  <a:pt x="858771" y="95849"/>
                </a:lnTo>
                <a:close/>
                <a:moveTo>
                  <a:pt x="778219" y="162072"/>
                </a:moveTo>
                <a:cubicBezTo>
                  <a:pt x="778993" y="167881"/>
                  <a:pt x="780543" y="172722"/>
                  <a:pt x="783060" y="176788"/>
                </a:cubicBezTo>
                <a:cubicBezTo>
                  <a:pt x="785577" y="180855"/>
                  <a:pt x="788869" y="183953"/>
                  <a:pt x="792935" y="186470"/>
                </a:cubicBezTo>
                <a:cubicBezTo>
                  <a:pt x="797002" y="188987"/>
                  <a:pt x="801649" y="190730"/>
                  <a:pt x="806877" y="191892"/>
                </a:cubicBezTo>
                <a:cubicBezTo>
                  <a:pt x="812105" y="193054"/>
                  <a:pt x="817914" y="193634"/>
                  <a:pt x="824110" y="193634"/>
                </a:cubicBezTo>
                <a:cubicBezTo>
                  <a:pt x="840182" y="193634"/>
                  <a:pt x="851994" y="189374"/>
                  <a:pt x="859546" y="181048"/>
                </a:cubicBezTo>
                <a:cubicBezTo>
                  <a:pt x="867097" y="172722"/>
                  <a:pt x="870776" y="161104"/>
                  <a:pt x="870776" y="146581"/>
                </a:cubicBezTo>
                <a:lnTo>
                  <a:pt x="870776" y="41825"/>
                </a:lnTo>
                <a:lnTo>
                  <a:pt x="858577" y="41825"/>
                </a:lnTo>
                <a:lnTo>
                  <a:pt x="858577" y="56735"/>
                </a:lnTo>
                <a:cubicBezTo>
                  <a:pt x="853349" y="49764"/>
                  <a:pt x="847734" y="45117"/>
                  <a:pt x="841538" y="42600"/>
                </a:cubicBezTo>
                <a:cubicBezTo>
                  <a:pt x="835341" y="40082"/>
                  <a:pt x="829339" y="38727"/>
                  <a:pt x="823142" y="38727"/>
                </a:cubicBezTo>
                <a:cubicBezTo>
                  <a:pt x="815590" y="38727"/>
                  <a:pt x="808813" y="40082"/>
                  <a:pt x="802617" y="42793"/>
                </a:cubicBezTo>
                <a:cubicBezTo>
                  <a:pt x="796614" y="45504"/>
                  <a:pt x="791386" y="49183"/>
                  <a:pt x="787320" y="54024"/>
                </a:cubicBezTo>
                <a:cubicBezTo>
                  <a:pt x="783060" y="58865"/>
                  <a:pt x="779962" y="64674"/>
                  <a:pt x="777638" y="71645"/>
                </a:cubicBezTo>
                <a:cubicBezTo>
                  <a:pt x="775314" y="78616"/>
                  <a:pt x="774346" y="86167"/>
                  <a:pt x="774346" y="94687"/>
                </a:cubicBezTo>
                <a:cubicBezTo>
                  <a:pt x="774346" y="101658"/>
                  <a:pt x="775314" y="108435"/>
                  <a:pt x="777057" y="115019"/>
                </a:cubicBezTo>
                <a:cubicBezTo>
                  <a:pt x="778800" y="121602"/>
                  <a:pt x="781704" y="127411"/>
                  <a:pt x="785383" y="132446"/>
                </a:cubicBezTo>
                <a:cubicBezTo>
                  <a:pt x="789256" y="137480"/>
                  <a:pt x="794097" y="141547"/>
                  <a:pt x="799906" y="144645"/>
                </a:cubicBezTo>
                <a:cubicBezTo>
                  <a:pt x="805715" y="147743"/>
                  <a:pt x="812686" y="149098"/>
                  <a:pt x="820819" y="149098"/>
                </a:cubicBezTo>
                <a:cubicBezTo>
                  <a:pt x="829145" y="149098"/>
                  <a:pt x="836503" y="147356"/>
                  <a:pt x="842699" y="143870"/>
                </a:cubicBezTo>
                <a:cubicBezTo>
                  <a:pt x="848702" y="140385"/>
                  <a:pt x="854124" y="135544"/>
                  <a:pt x="858577" y="129154"/>
                </a:cubicBezTo>
                <a:lnTo>
                  <a:pt x="858577" y="145419"/>
                </a:lnTo>
                <a:cubicBezTo>
                  <a:pt x="858577" y="159167"/>
                  <a:pt x="855867" y="169043"/>
                  <a:pt x="850251" y="174852"/>
                </a:cubicBezTo>
                <a:cubicBezTo>
                  <a:pt x="844636" y="180661"/>
                  <a:pt x="835922" y="183565"/>
                  <a:pt x="823917" y="183565"/>
                </a:cubicBezTo>
                <a:cubicBezTo>
                  <a:pt x="813267" y="183565"/>
                  <a:pt x="805328" y="181823"/>
                  <a:pt x="800100" y="178337"/>
                </a:cubicBezTo>
                <a:cubicBezTo>
                  <a:pt x="794872" y="174852"/>
                  <a:pt x="791580" y="169624"/>
                  <a:pt x="790031" y="162459"/>
                </a:cubicBezTo>
                <a:lnTo>
                  <a:pt x="778219" y="162459"/>
                </a:lnTo>
                <a:close/>
                <a:moveTo>
                  <a:pt x="705799" y="150260"/>
                </a:moveTo>
                <a:lnTo>
                  <a:pt x="717998" y="150260"/>
                </a:lnTo>
                <a:lnTo>
                  <a:pt x="717998" y="85006"/>
                </a:lnTo>
                <a:cubicBezTo>
                  <a:pt x="717998" y="79584"/>
                  <a:pt x="718967" y="74743"/>
                  <a:pt x="721097" y="70870"/>
                </a:cubicBezTo>
                <a:cubicBezTo>
                  <a:pt x="723227" y="66804"/>
                  <a:pt x="725937" y="63512"/>
                  <a:pt x="729036" y="60608"/>
                </a:cubicBezTo>
                <a:cubicBezTo>
                  <a:pt x="732327" y="57316"/>
                  <a:pt x="736007" y="55186"/>
                  <a:pt x="739686" y="53830"/>
                </a:cubicBezTo>
                <a:cubicBezTo>
                  <a:pt x="743558" y="52475"/>
                  <a:pt x="747237" y="51894"/>
                  <a:pt x="750916" y="51894"/>
                </a:cubicBezTo>
                <a:cubicBezTo>
                  <a:pt x="753046" y="51894"/>
                  <a:pt x="755370" y="52088"/>
                  <a:pt x="757887" y="52475"/>
                </a:cubicBezTo>
                <a:lnTo>
                  <a:pt x="759436" y="40857"/>
                </a:lnTo>
                <a:cubicBezTo>
                  <a:pt x="757887" y="40663"/>
                  <a:pt x="756532" y="40470"/>
                  <a:pt x="755176" y="40276"/>
                </a:cubicBezTo>
                <a:cubicBezTo>
                  <a:pt x="753821" y="40276"/>
                  <a:pt x="752465" y="40082"/>
                  <a:pt x="750916" y="40082"/>
                </a:cubicBezTo>
                <a:cubicBezTo>
                  <a:pt x="744526" y="40082"/>
                  <a:pt x="738717" y="41825"/>
                  <a:pt x="733102" y="45117"/>
                </a:cubicBezTo>
                <a:cubicBezTo>
                  <a:pt x="727487" y="48409"/>
                  <a:pt x="722452" y="53249"/>
                  <a:pt x="718192" y="59446"/>
                </a:cubicBezTo>
                <a:lnTo>
                  <a:pt x="718192" y="41825"/>
                </a:lnTo>
                <a:lnTo>
                  <a:pt x="705993" y="41825"/>
                </a:lnTo>
                <a:lnTo>
                  <a:pt x="705993" y="150260"/>
                </a:lnTo>
                <a:close/>
                <a:moveTo>
                  <a:pt x="585358" y="114051"/>
                </a:moveTo>
                <a:cubicBezTo>
                  <a:pt x="585358" y="127024"/>
                  <a:pt x="588069" y="136706"/>
                  <a:pt x="593298" y="143483"/>
                </a:cubicBezTo>
                <a:cubicBezTo>
                  <a:pt x="598719" y="150260"/>
                  <a:pt x="607433" y="153552"/>
                  <a:pt x="619826" y="153552"/>
                </a:cubicBezTo>
                <a:cubicBezTo>
                  <a:pt x="634735" y="153552"/>
                  <a:pt x="647903" y="146581"/>
                  <a:pt x="659133" y="132446"/>
                </a:cubicBezTo>
                <a:lnTo>
                  <a:pt x="659133" y="150067"/>
                </a:lnTo>
                <a:lnTo>
                  <a:pt x="671332" y="150067"/>
                </a:lnTo>
                <a:lnTo>
                  <a:pt x="671332" y="41631"/>
                </a:lnTo>
                <a:lnTo>
                  <a:pt x="659133" y="41631"/>
                </a:lnTo>
                <a:lnTo>
                  <a:pt x="659133" y="105143"/>
                </a:lnTo>
                <a:cubicBezTo>
                  <a:pt x="659133" y="111921"/>
                  <a:pt x="658165" y="117149"/>
                  <a:pt x="656035" y="121021"/>
                </a:cubicBezTo>
                <a:cubicBezTo>
                  <a:pt x="653905" y="124894"/>
                  <a:pt x="650807" y="128573"/>
                  <a:pt x="646741" y="132252"/>
                </a:cubicBezTo>
                <a:cubicBezTo>
                  <a:pt x="642868" y="135544"/>
                  <a:pt x="638608" y="138061"/>
                  <a:pt x="634348" y="139804"/>
                </a:cubicBezTo>
                <a:cubicBezTo>
                  <a:pt x="630088" y="141547"/>
                  <a:pt x="625635" y="142321"/>
                  <a:pt x="621375" y="142321"/>
                </a:cubicBezTo>
                <a:cubicBezTo>
                  <a:pt x="612661" y="142321"/>
                  <a:pt x="606465" y="139804"/>
                  <a:pt x="602979" y="134770"/>
                </a:cubicBezTo>
                <a:cubicBezTo>
                  <a:pt x="599300" y="129735"/>
                  <a:pt x="597558" y="121602"/>
                  <a:pt x="597558" y="110178"/>
                </a:cubicBezTo>
                <a:lnTo>
                  <a:pt x="597558" y="41825"/>
                </a:lnTo>
                <a:lnTo>
                  <a:pt x="585358" y="41825"/>
                </a:lnTo>
                <a:lnTo>
                  <a:pt x="585358" y="114051"/>
                </a:lnTo>
                <a:close/>
                <a:moveTo>
                  <a:pt x="470920" y="91008"/>
                </a:moveTo>
                <a:cubicBezTo>
                  <a:pt x="470920" y="82488"/>
                  <a:pt x="472276" y="75324"/>
                  <a:pt x="474987" y="69902"/>
                </a:cubicBezTo>
                <a:cubicBezTo>
                  <a:pt x="477697" y="64287"/>
                  <a:pt x="481570" y="59833"/>
                  <a:pt x="486411" y="56154"/>
                </a:cubicBezTo>
                <a:cubicBezTo>
                  <a:pt x="489896" y="53443"/>
                  <a:pt x="493382" y="51700"/>
                  <a:pt x="496867" y="50732"/>
                </a:cubicBezTo>
                <a:cubicBezTo>
                  <a:pt x="500353" y="49764"/>
                  <a:pt x="504225" y="49183"/>
                  <a:pt x="508679" y="49183"/>
                </a:cubicBezTo>
                <a:cubicBezTo>
                  <a:pt x="512552" y="49183"/>
                  <a:pt x="516618" y="49958"/>
                  <a:pt x="520684" y="51313"/>
                </a:cubicBezTo>
                <a:cubicBezTo>
                  <a:pt x="524751" y="52862"/>
                  <a:pt x="528430" y="55379"/>
                  <a:pt x="531722" y="58865"/>
                </a:cubicBezTo>
                <a:cubicBezTo>
                  <a:pt x="535013" y="62350"/>
                  <a:pt x="537531" y="67191"/>
                  <a:pt x="539661" y="73000"/>
                </a:cubicBezTo>
                <a:cubicBezTo>
                  <a:pt x="541791" y="78809"/>
                  <a:pt x="542759" y="86167"/>
                  <a:pt x="542759" y="95074"/>
                </a:cubicBezTo>
                <a:cubicBezTo>
                  <a:pt x="542759" y="103788"/>
                  <a:pt x="541791" y="111146"/>
                  <a:pt x="540048" y="117342"/>
                </a:cubicBezTo>
                <a:cubicBezTo>
                  <a:pt x="538305" y="123539"/>
                  <a:pt x="535788" y="128380"/>
                  <a:pt x="532496" y="132252"/>
                </a:cubicBezTo>
                <a:cubicBezTo>
                  <a:pt x="529398" y="136125"/>
                  <a:pt x="525525" y="138836"/>
                  <a:pt x="521265" y="140579"/>
                </a:cubicBezTo>
                <a:cubicBezTo>
                  <a:pt x="517005" y="142321"/>
                  <a:pt x="512164" y="143289"/>
                  <a:pt x="506936" y="143289"/>
                </a:cubicBezTo>
                <a:cubicBezTo>
                  <a:pt x="502676" y="143289"/>
                  <a:pt x="498804" y="142709"/>
                  <a:pt x="495318" y="141547"/>
                </a:cubicBezTo>
                <a:cubicBezTo>
                  <a:pt x="492026" y="140385"/>
                  <a:pt x="488735" y="138642"/>
                  <a:pt x="485443" y="136125"/>
                </a:cubicBezTo>
                <a:cubicBezTo>
                  <a:pt x="482732" y="134382"/>
                  <a:pt x="480602" y="132252"/>
                  <a:pt x="478666" y="130122"/>
                </a:cubicBezTo>
                <a:cubicBezTo>
                  <a:pt x="476923" y="127992"/>
                  <a:pt x="475374" y="125475"/>
                  <a:pt x="474212" y="122571"/>
                </a:cubicBezTo>
                <a:cubicBezTo>
                  <a:pt x="473050" y="119860"/>
                  <a:pt x="472276" y="116568"/>
                  <a:pt x="471695" y="113082"/>
                </a:cubicBezTo>
                <a:cubicBezTo>
                  <a:pt x="471114" y="109403"/>
                  <a:pt x="470920" y="105337"/>
                  <a:pt x="470920" y="100496"/>
                </a:cubicBezTo>
                <a:lnTo>
                  <a:pt x="470920" y="91008"/>
                </a:lnTo>
                <a:close/>
                <a:moveTo>
                  <a:pt x="459109" y="150260"/>
                </a:moveTo>
                <a:lnTo>
                  <a:pt x="471307" y="150260"/>
                </a:lnTo>
                <a:lnTo>
                  <a:pt x="471307" y="135544"/>
                </a:lnTo>
                <a:cubicBezTo>
                  <a:pt x="476342" y="142321"/>
                  <a:pt x="481957" y="146969"/>
                  <a:pt x="487960" y="149679"/>
                </a:cubicBezTo>
                <a:cubicBezTo>
                  <a:pt x="494156" y="152390"/>
                  <a:pt x="500353" y="153746"/>
                  <a:pt x="506936" y="153746"/>
                </a:cubicBezTo>
                <a:cubicBezTo>
                  <a:pt x="514294" y="153746"/>
                  <a:pt x="521072" y="152390"/>
                  <a:pt x="527074" y="149679"/>
                </a:cubicBezTo>
                <a:cubicBezTo>
                  <a:pt x="533077" y="146969"/>
                  <a:pt x="538112" y="143096"/>
                  <a:pt x="542372" y="138061"/>
                </a:cubicBezTo>
                <a:cubicBezTo>
                  <a:pt x="546631" y="133027"/>
                  <a:pt x="549923" y="126831"/>
                  <a:pt x="552247" y="119666"/>
                </a:cubicBezTo>
                <a:cubicBezTo>
                  <a:pt x="554571" y="112502"/>
                  <a:pt x="555732" y="104175"/>
                  <a:pt x="555732" y="94881"/>
                </a:cubicBezTo>
                <a:cubicBezTo>
                  <a:pt x="555732" y="86942"/>
                  <a:pt x="554764" y="79390"/>
                  <a:pt x="552828" y="72613"/>
                </a:cubicBezTo>
                <a:cubicBezTo>
                  <a:pt x="550891" y="65642"/>
                  <a:pt x="547987" y="59833"/>
                  <a:pt x="544114" y="54799"/>
                </a:cubicBezTo>
                <a:cubicBezTo>
                  <a:pt x="540242" y="49764"/>
                  <a:pt x="535401" y="45698"/>
                  <a:pt x="529398" y="42987"/>
                </a:cubicBezTo>
                <a:cubicBezTo>
                  <a:pt x="523589" y="40082"/>
                  <a:pt x="516618" y="38727"/>
                  <a:pt x="508679" y="38727"/>
                </a:cubicBezTo>
                <a:cubicBezTo>
                  <a:pt x="500353" y="38727"/>
                  <a:pt x="493188" y="40470"/>
                  <a:pt x="487186" y="43955"/>
                </a:cubicBezTo>
                <a:cubicBezTo>
                  <a:pt x="481377" y="47440"/>
                  <a:pt x="475955" y="52281"/>
                  <a:pt x="470920" y="58284"/>
                </a:cubicBezTo>
                <a:lnTo>
                  <a:pt x="470920" y="194"/>
                </a:lnTo>
                <a:lnTo>
                  <a:pt x="458721" y="194"/>
                </a:lnTo>
                <a:lnTo>
                  <a:pt x="458721" y="150260"/>
                </a:lnTo>
                <a:close/>
                <a:moveTo>
                  <a:pt x="274768" y="150260"/>
                </a:moveTo>
                <a:lnTo>
                  <a:pt x="286967" y="150260"/>
                </a:lnTo>
                <a:lnTo>
                  <a:pt x="286967" y="86167"/>
                </a:lnTo>
                <a:cubicBezTo>
                  <a:pt x="286967" y="82488"/>
                  <a:pt x="287354" y="79196"/>
                  <a:pt x="288129" y="76486"/>
                </a:cubicBezTo>
                <a:cubicBezTo>
                  <a:pt x="288903" y="73775"/>
                  <a:pt x="289872" y="71257"/>
                  <a:pt x="291033" y="69127"/>
                </a:cubicBezTo>
                <a:cubicBezTo>
                  <a:pt x="292195" y="66998"/>
                  <a:pt x="293551" y="65255"/>
                  <a:pt x="294906" y="63706"/>
                </a:cubicBezTo>
                <a:cubicBezTo>
                  <a:pt x="296455" y="62157"/>
                  <a:pt x="297811" y="60801"/>
                  <a:pt x="298972" y="59639"/>
                </a:cubicBezTo>
                <a:cubicBezTo>
                  <a:pt x="302651" y="56348"/>
                  <a:pt x="306331" y="53830"/>
                  <a:pt x="310010" y="52088"/>
                </a:cubicBezTo>
                <a:cubicBezTo>
                  <a:pt x="313689" y="50345"/>
                  <a:pt x="317755" y="49377"/>
                  <a:pt x="321821" y="49377"/>
                </a:cubicBezTo>
                <a:cubicBezTo>
                  <a:pt x="329179" y="49377"/>
                  <a:pt x="334795" y="51507"/>
                  <a:pt x="338474" y="55960"/>
                </a:cubicBezTo>
                <a:cubicBezTo>
                  <a:pt x="342153" y="60414"/>
                  <a:pt x="343896" y="67772"/>
                  <a:pt x="343896" y="78422"/>
                </a:cubicBezTo>
                <a:lnTo>
                  <a:pt x="343896" y="150260"/>
                </a:lnTo>
                <a:lnTo>
                  <a:pt x="356095" y="150260"/>
                </a:lnTo>
                <a:lnTo>
                  <a:pt x="356095" y="80939"/>
                </a:lnTo>
                <a:cubicBezTo>
                  <a:pt x="356095" y="75905"/>
                  <a:pt x="357257" y="71451"/>
                  <a:pt x="359387" y="67578"/>
                </a:cubicBezTo>
                <a:cubicBezTo>
                  <a:pt x="361516" y="63706"/>
                  <a:pt x="364421" y="60608"/>
                  <a:pt x="367713" y="57897"/>
                </a:cubicBezTo>
                <a:cubicBezTo>
                  <a:pt x="371585" y="54605"/>
                  <a:pt x="375458" y="52475"/>
                  <a:pt x="379525" y="51313"/>
                </a:cubicBezTo>
                <a:cubicBezTo>
                  <a:pt x="383591" y="50151"/>
                  <a:pt x="387270" y="49570"/>
                  <a:pt x="390562" y="49570"/>
                </a:cubicBezTo>
                <a:cubicBezTo>
                  <a:pt x="394434" y="49570"/>
                  <a:pt x="397726" y="49958"/>
                  <a:pt x="400437" y="50926"/>
                </a:cubicBezTo>
                <a:cubicBezTo>
                  <a:pt x="403148" y="51894"/>
                  <a:pt x="405665" y="53443"/>
                  <a:pt x="407408" y="55573"/>
                </a:cubicBezTo>
                <a:cubicBezTo>
                  <a:pt x="409344" y="57897"/>
                  <a:pt x="410700" y="60801"/>
                  <a:pt x="411668" y="64480"/>
                </a:cubicBezTo>
                <a:cubicBezTo>
                  <a:pt x="412636" y="68159"/>
                  <a:pt x="413023" y="72807"/>
                  <a:pt x="413023" y="78422"/>
                </a:cubicBezTo>
                <a:lnTo>
                  <a:pt x="413023" y="150454"/>
                </a:lnTo>
                <a:lnTo>
                  <a:pt x="425222" y="150454"/>
                </a:lnTo>
                <a:lnTo>
                  <a:pt x="425222" y="73968"/>
                </a:lnTo>
                <a:cubicBezTo>
                  <a:pt x="425222" y="61576"/>
                  <a:pt x="422318" y="52669"/>
                  <a:pt x="416315" y="47053"/>
                </a:cubicBezTo>
                <a:cubicBezTo>
                  <a:pt x="410506" y="41438"/>
                  <a:pt x="402180" y="38533"/>
                  <a:pt x="391917" y="38533"/>
                </a:cubicBezTo>
                <a:cubicBezTo>
                  <a:pt x="384365" y="38533"/>
                  <a:pt x="377201" y="40470"/>
                  <a:pt x="370617" y="44149"/>
                </a:cubicBezTo>
                <a:cubicBezTo>
                  <a:pt x="364034" y="47828"/>
                  <a:pt x="358225" y="53056"/>
                  <a:pt x="353384" y="59833"/>
                </a:cubicBezTo>
                <a:cubicBezTo>
                  <a:pt x="351060" y="53056"/>
                  <a:pt x="347381" y="47828"/>
                  <a:pt x="342347" y="44149"/>
                </a:cubicBezTo>
                <a:cubicBezTo>
                  <a:pt x="337312" y="40470"/>
                  <a:pt x="330729" y="38533"/>
                  <a:pt x="322402" y="38533"/>
                </a:cubicBezTo>
                <a:cubicBezTo>
                  <a:pt x="316012" y="38533"/>
                  <a:pt x="309816" y="40276"/>
                  <a:pt x="303813" y="43761"/>
                </a:cubicBezTo>
                <a:cubicBezTo>
                  <a:pt x="297617" y="47247"/>
                  <a:pt x="292002" y="52669"/>
                  <a:pt x="286580" y="59833"/>
                </a:cubicBezTo>
                <a:lnTo>
                  <a:pt x="286580" y="42019"/>
                </a:lnTo>
                <a:lnTo>
                  <a:pt x="274381" y="42019"/>
                </a:lnTo>
                <a:lnTo>
                  <a:pt x="274381" y="150260"/>
                </a:lnTo>
                <a:close/>
                <a:moveTo>
                  <a:pt x="214935" y="149679"/>
                </a:moveTo>
                <a:cubicBezTo>
                  <a:pt x="221325" y="146969"/>
                  <a:pt x="226747" y="143096"/>
                  <a:pt x="231200" y="137868"/>
                </a:cubicBezTo>
                <a:cubicBezTo>
                  <a:pt x="235654" y="132833"/>
                  <a:pt x="238946" y="126637"/>
                  <a:pt x="241463" y="119472"/>
                </a:cubicBezTo>
                <a:cubicBezTo>
                  <a:pt x="243786" y="112308"/>
                  <a:pt x="245142" y="104369"/>
                  <a:pt x="245142" y="95462"/>
                </a:cubicBezTo>
                <a:cubicBezTo>
                  <a:pt x="245142" y="86942"/>
                  <a:pt x="243980" y="79196"/>
                  <a:pt x="241656" y="72032"/>
                </a:cubicBezTo>
                <a:cubicBezTo>
                  <a:pt x="239333" y="65061"/>
                  <a:pt x="236041" y="59058"/>
                  <a:pt x="231587" y="54024"/>
                </a:cubicBezTo>
                <a:cubicBezTo>
                  <a:pt x="227327" y="48990"/>
                  <a:pt x="221906" y="45310"/>
                  <a:pt x="215516" y="42600"/>
                </a:cubicBezTo>
                <a:cubicBezTo>
                  <a:pt x="209126" y="39889"/>
                  <a:pt x="202155" y="38533"/>
                  <a:pt x="194216" y="38533"/>
                </a:cubicBezTo>
                <a:cubicBezTo>
                  <a:pt x="186277" y="38533"/>
                  <a:pt x="179306" y="39889"/>
                  <a:pt x="172916" y="42600"/>
                </a:cubicBezTo>
                <a:cubicBezTo>
                  <a:pt x="166526" y="45310"/>
                  <a:pt x="161298" y="49183"/>
                  <a:pt x="156844" y="54218"/>
                </a:cubicBezTo>
                <a:cubicBezTo>
                  <a:pt x="152391" y="59252"/>
                  <a:pt x="148905" y="65448"/>
                  <a:pt x="146582" y="72613"/>
                </a:cubicBezTo>
                <a:cubicBezTo>
                  <a:pt x="144064" y="79777"/>
                  <a:pt x="142903" y="87716"/>
                  <a:pt x="142903" y="96624"/>
                </a:cubicBezTo>
                <a:cubicBezTo>
                  <a:pt x="142903" y="105337"/>
                  <a:pt x="144064" y="113276"/>
                  <a:pt x="146388" y="120247"/>
                </a:cubicBezTo>
                <a:cubicBezTo>
                  <a:pt x="148712" y="127218"/>
                  <a:pt x="152003" y="133220"/>
                  <a:pt x="156263" y="138255"/>
                </a:cubicBezTo>
                <a:cubicBezTo>
                  <a:pt x="160523" y="143289"/>
                  <a:pt x="165752" y="147162"/>
                  <a:pt x="171948" y="149679"/>
                </a:cubicBezTo>
                <a:cubicBezTo>
                  <a:pt x="178144" y="152390"/>
                  <a:pt x="185309" y="153746"/>
                  <a:pt x="193248" y="153746"/>
                </a:cubicBezTo>
                <a:cubicBezTo>
                  <a:pt x="201380" y="153746"/>
                  <a:pt x="208545" y="152390"/>
                  <a:pt x="214935" y="149679"/>
                </a:cubicBezTo>
                <a:moveTo>
                  <a:pt x="176401" y="139417"/>
                </a:moveTo>
                <a:cubicBezTo>
                  <a:pt x="171561" y="136900"/>
                  <a:pt x="167688" y="133608"/>
                  <a:pt x="164590" y="129348"/>
                </a:cubicBezTo>
                <a:cubicBezTo>
                  <a:pt x="161492" y="125088"/>
                  <a:pt x="159362" y="120247"/>
                  <a:pt x="158006" y="114438"/>
                </a:cubicBezTo>
                <a:cubicBezTo>
                  <a:pt x="156651" y="108629"/>
                  <a:pt x="155876" y="102433"/>
                  <a:pt x="155876" y="95849"/>
                </a:cubicBezTo>
                <a:cubicBezTo>
                  <a:pt x="155876" y="89265"/>
                  <a:pt x="156651" y="83069"/>
                  <a:pt x="158006" y="77454"/>
                </a:cubicBezTo>
                <a:cubicBezTo>
                  <a:pt x="159362" y="71838"/>
                  <a:pt x="161685" y="66804"/>
                  <a:pt x="164590" y="62544"/>
                </a:cubicBezTo>
                <a:cubicBezTo>
                  <a:pt x="167688" y="58284"/>
                  <a:pt x="171561" y="54992"/>
                  <a:pt x="176401" y="52475"/>
                </a:cubicBezTo>
                <a:cubicBezTo>
                  <a:pt x="181242" y="49958"/>
                  <a:pt x="187051" y="48796"/>
                  <a:pt x="193829" y="48796"/>
                </a:cubicBezTo>
                <a:cubicBezTo>
                  <a:pt x="200799" y="48796"/>
                  <a:pt x="206609" y="49958"/>
                  <a:pt x="211256" y="52475"/>
                </a:cubicBezTo>
                <a:cubicBezTo>
                  <a:pt x="216097" y="54992"/>
                  <a:pt x="219969" y="58284"/>
                  <a:pt x="223067" y="62544"/>
                </a:cubicBezTo>
                <a:cubicBezTo>
                  <a:pt x="226166" y="66804"/>
                  <a:pt x="228296" y="71645"/>
                  <a:pt x="229845" y="77454"/>
                </a:cubicBezTo>
                <a:cubicBezTo>
                  <a:pt x="231200" y="83069"/>
                  <a:pt x="231975" y="89265"/>
                  <a:pt x="231975" y="95655"/>
                </a:cubicBezTo>
                <a:cubicBezTo>
                  <a:pt x="231975" y="102433"/>
                  <a:pt x="231200" y="108629"/>
                  <a:pt x="229845" y="114438"/>
                </a:cubicBezTo>
                <a:cubicBezTo>
                  <a:pt x="228489" y="120247"/>
                  <a:pt x="226166" y="125088"/>
                  <a:pt x="223067" y="129348"/>
                </a:cubicBezTo>
                <a:cubicBezTo>
                  <a:pt x="219969" y="133608"/>
                  <a:pt x="216097" y="136900"/>
                  <a:pt x="211256" y="139417"/>
                </a:cubicBezTo>
                <a:cubicBezTo>
                  <a:pt x="206415" y="141934"/>
                  <a:pt x="200606" y="143096"/>
                  <a:pt x="193829" y="143096"/>
                </a:cubicBezTo>
                <a:cubicBezTo>
                  <a:pt x="187051" y="143096"/>
                  <a:pt x="181242" y="141934"/>
                  <a:pt x="176401" y="139417"/>
                </a:cubicBezTo>
                <a:moveTo>
                  <a:pt x="0" y="150260"/>
                </a:moveTo>
                <a:lnTo>
                  <a:pt x="12780" y="150260"/>
                </a:lnTo>
                <a:lnTo>
                  <a:pt x="12780" y="78616"/>
                </a:lnTo>
                <a:lnTo>
                  <a:pt x="97592" y="78616"/>
                </a:lnTo>
                <a:lnTo>
                  <a:pt x="97592" y="150454"/>
                </a:lnTo>
                <a:lnTo>
                  <a:pt x="110372" y="150454"/>
                </a:lnTo>
                <a:lnTo>
                  <a:pt x="110372" y="0"/>
                </a:lnTo>
                <a:lnTo>
                  <a:pt x="97592" y="0"/>
                </a:lnTo>
                <a:lnTo>
                  <a:pt x="97592" y="66610"/>
                </a:lnTo>
                <a:lnTo>
                  <a:pt x="12780" y="66610"/>
                </a:lnTo>
                <a:lnTo>
                  <a:pt x="12780" y="0"/>
                </a:lnTo>
                <a:lnTo>
                  <a:pt x="0" y="0"/>
                </a:lnTo>
                <a:lnTo>
                  <a:pt x="0" y="150260"/>
                </a:lnTo>
                <a:close/>
              </a:path>
            </a:pathLst>
          </a:custGeom>
          <a:solidFill>
            <a:schemeClr val="bg1"/>
          </a:solidFill>
          <a:ln w="1921" cap="flat">
            <a:noFill/>
            <a:prstDash val="solid"/>
            <a:miter/>
          </a:ln>
        </p:spPr>
        <p:txBody>
          <a:bodyPr rtlCol="0" anchor="ctr"/>
          <a:lstStyle/>
          <a:p>
            <a:endParaRPr lang="en-US" dirty="0"/>
          </a:p>
        </p:txBody>
      </p:sp>
      <p:sp>
        <p:nvSpPr>
          <p:cNvPr id="11" name="Textplatzhalter 16">
            <a:extLst>
              <a:ext uri="{FF2B5EF4-FFF2-40B4-BE49-F238E27FC236}">
                <a16:creationId xmlns:a16="http://schemas.microsoft.com/office/drawing/2014/main" id="{65C28180-E55F-4137-90A9-0107C5CF2FDE}"/>
              </a:ext>
            </a:extLst>
          </p:cNvPr>
          <p:cNvSpPr>
            <a:spLocks noGrp="1"/>
          </p:cNvSpPr>
          <p:nvPr>
            <p:ph type="body" sz="quarter" idx="21" hasCustomPrompt="1"/>
          </p:nvPr>
        </p:nvSpPr>
        <p:spPr>
          <a:xfrm>
            <a:off x="334963" y="5954042"/>
            <a:ext cx="5761038" cy="184666"/>
          </a:xfrm>
          <a:prstGeom prst="rect">
            <a:avLst/>
          </a:prstGeom>
        </p:spPr>
        <p:txBody>
          <a:bodyPr anchor="t" anchorCtr="0">
            <a:noAutofit/>
          </a:bodyPr>
          <a:lstStyle>
            <a:lvl1pPr marL="0" indent="0">
              <a:lnSpc>
                <a:spcPct val="100000"/>
              </a:lnSpc>
              <a:spcBef>
                <a:spcPts val="0"/>
              </a:spcBef>
              <a:spcAft>
                <a:spcPts val="0"/>
              </a:spcAft>
              <a:buFontTx/>
              <a:buNone/>
              <a:defRPr sz="1200" b="0">
                <a:solidFill>
                  <a:schemeClr val="bg1"/>
                </a:solidFill>
              </a:defRPr>
            </a:lvl1pPr>
          </a:lstStyle>
          <a:p>
            <a:pPr lvl="0"/>
            <a:r>
              <a:rPr lang="en-US" dirty="0"/>
              <a:t>Autor</a:t>
            </a:r>
          </a:p>
        </p:txBody>
      </p:sp>
    </p:spTree>
    <p:extLst>
      <p:ext uri="{BB962C8B-B14F-4D97-AF65-F5344CB8AC3E}">
        <p14:creationId xmlns:p14="http://schemas.microsoft.com/office/powerpoint/2010/main" val="1472682146"/>
      </p:ext>
    </p:extLst>
  </p:cSld>
  <p:clrMapOvr>
    <a:masterClrMapping/>
  </p:clrMapOvr>
  <p:hf hdr="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Titelfolie zentriert mit Bild" preserve="1" userDrawn="1">
  <p:cSld name="Titelfolie zentriert mit Bild">
    <p:bg>
      <p:bgPr>
        <a:blipFill dpi="0" rotWithShape="1">
          <a:blip r:embed="rId6">
            <a:lum/>
          </a:blip>
          <a:srcRect/>
          <a:stretch>
            <a:fillRect l="-4000" r="-4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447A3-1908-49AF-8A13-C55C4C31B90A}"/>
              </a:ext>
            </a:extLst>
          </p:cNvPr>
          <p:cNvSpPr>
            <a:spLocks noGrp="1"/>
          </p:cNvSpPr>
          <p:nvPr>
            <p:ph type="ctrTitle"/>
          </p:nvPr>
        </p:nvSpPr>
        <p:spPr>
          <a:xfrm>
            <a:off x="2135560" y="1122362"/>
            <a:ext cx="7920880" cy="2479675"/>
          </a:xfrm>
        </p:spPr>
        <p:txBody>
          <a:bodyPr anchor="b"/>
          <a:lstStyle>
            <a:lvl1pPr algn="ctr">
              <a:lnSpc>
                <a:spcPct val="100000"/>
              </a:lnSpc>
              <a:defRPr sz="3000" b="0">
                <a:solidFill>
                  <a:schemeClr val="bg1"/>
                </a:solidFill>
              </a:defRPr>
            </a:lvl1pPr>
          </a:lstStyle>
          <a:p>
            <a:r>
              <a:rPr lang="en-US" dirty="0" err="1"/>
              <a:t>Mastertitelformat</a:t>
            </a:r>
            <a:r>
              <a:rPr lang="en-US" dirty="0"/>
              <a:t> </a:t>
            </a:r>
            <a:r>
              <a:rPr lang="en-US" dirty="0" err="1"/>
              <a:t>bearbeiten</a:t>
            </a:r>
            <a:endParaRPr lang="en-US" dirty="0"/>
          </a:p>
        </p:txBody>
      </p:sp>
      <p:sp>
        <p:nvSpPr>
          <p:cNvPr id="3" name="Subtitle 2">
            <a:extLst>
              <a:ext uri="{FF2B5EF4-FFF2-40B4-BE49-F238E27FC236}">
                <a16:creationId xmlns:a16="http://schemas.microsoft.com/office/drawing/2014/main" id="{08D7740A-619B-49A7-AB15-127E79F1D3A8}"/>
              </a:ext>
            </a:extLst>
          </p:cNvPr>
          <p:cNvSpPr>
            <a:spLocks noGrp="1"/>
          </p:cNvSpPr>
          <p:nvPr>
            <p:ph type="subTitle" idx="1"/>
          </p:nvPr>
        </p:nvSpPr>
        <p:spPr>
          <a:xfrm>
            <a:off x="3215680" y="4077072"/>
            <a:ext cx="5760640" cy="1180728"/>
          </a:xfrm>
        </p:spPr>
        <p:txBody>
          <a:bodyPr/>
          <a:lstStyle>
            <a:lvl1pPr marL="0" indent="0" algn="ctr">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a:t>
            </a:r>
            <a:r>
              <a:rPr lang="en-US" dirty="0" err="1"/>
              <a:t>Untertitelformat</a:t>
            </a:r>
            <a:r>
              <a:rPr lang="en-US" dirty="0"/>
              <a:t> </a:t>
            </a:r>
            <a:r>
              <a:rPr lang="en-US" dirty="0" err="1"/>
              <a:t>bearbeiten</a:t>
            </a:r>
            <a:endParaRPr lang="en-US" dirty="0"/>
          </a:p>
        </p:txBody>
      </p:sp>
      <p:pic>
        <p:nvPicPr>
          <p:cNvPr id="8" name="Graphic 7">
            <a:extLst>
              <a:ext uri="{FF2B5EF4-FFF2-40B4-BE49-F238E27FC236}">
                <a16:creationId xmlns:a16="http://schemas.microsoft.com/office/drawing/2014/main" id="{4B84A7D7-9A41-463F-AC28-92139D377DC8}"/>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1546988" y="6260769"/>
            <a:ext cx="299851" cy="341998"/>
          </a:xfrm>
          <a:prstGeom prst="rect">
            <a:avLst/>
          </a:prstGeom>
        </p:spPr>
      </p:pic>
      <p:sp>
        <p:nvSpPr>
          <p:cNvPr id="6" name="Datumsplatzhalter 5">
            <a:extLst>
              <a:ext uri="{FF2B5EF4-FFF2-40B4-BE49-F238E27FC236}">
                <a16:creationId xmlns:a16="http://schemas.microsoft.com/office/drawing/2014/main" id="{BAC725B5-AFFB-4D1D-B448-8FEE54153E1E}"/>
              </a:ext>
            </a:extLst>
          </p:cNvPr>
          <p:cNvSpPr>
            <a:spLocks noGrp="1"/>
          </p:cNvSpPr>
          <p:nvPr>
            <p:ph type="dt" sz="half" idx="10"/>
          </p:nvPr>
        </p:nvSpPr>
        <p:spPr>
          <a:xfrm>
            <a:off x="335538" y="6487478"/>
            <a:ext cx="2880320" cy="133264"/>
          </a:xfrm>
        </p:spPr>
        <p:txBody>
          <a:bodyPr/>
          <a:lstStyle>
            <a:lvl1pPr>
              <a:defRPr>
                <a:solidFill>
                  <a:schemeClr val="bg1"/>
                </a:solidFill>
              </a:defRPr>
            </a:lvl1pPr>
          </a:lstStyle>
          <a:p>
            <a:r>
              <a:rPr lang="en-US"/>
              <a:t>September 15-16, 2022</a:t>
            </a:r>
            <a:endParaRPr lang="en-US" dirty="0"/>
          </a:p>
        </p:txBody>
      </p:sp>
      <p:sp>
        <p:nvSpPr>
          <p:cNvPr id="4" name="TextBox 3">
            <a:extLst>
              <a:ext uri="{FF2B5EF4-FFF2-40B4-BE49-F238E27FC236}">
                <a16:creationId xmlns:a16="http://schemas.microsoft.com/office/drawing/2014/main" id="{8D7B7E2F-EAC0-417A-9368-C3B30366EC05}"/>
              </a:ext>
            </a:extLst>
          </p:cNvPr>
          <p:cNvSpPr txBox="1">
            <a:spLocks/>
          </p:cNvSpPr>
          <p:nvPr userDrawn="1">
            <p:custDataLst>
              <p:tags r:id="rId3"/>
            </p:custDataLst>
          </p:nvPr>
        </p:nvSpPr>
        <p:spPr>
          <a:xfrm>
            <a:off x="335360" y="6487558"/>
            <a:ext cx="2880320" cy="133264"/>
          </a:xfrm>
          <a:prstGeom prst="rect">
            <a:avLst/>
          </a:prstGeom>
          <a:noFill/>
        </p:spPr>
        <p:txBody>
          <a:bodyPr wrap="none" lIns="0" tIns="0" rIns="0" bIns="0" rtlCol="0" anchor="b" anchorCtr="0">
            <a:noAutofit/>
          </a:bodyPr>
          <a:lstStyle/>
          <a:p>
            <a:endParaRPr lang="en-US" sz="800" dirty="0">
              <a:solidFill>
                <a:schemeClr val="bg1"/>
              </a:solidFill>
            </a:endParaRPr>
          </a:p>
        </p:txBody>
      </p:sp>
      <p:sp>
        <p:nvSpPr>
          <p:cNvPr id="5" name="Grafik 8">
            <a:extLst>
              <a:ext uri="{FF2B5EF4-FFF2-40B4-BE49-F238E27FC236}">
                <a16:creationId xmlns:a16="http://schemas.microsoft.com/office/drawing/2014/main" id="{EAB8F3FE-349E-4EE5-966E-CD966546F989}"/>
              </a:ext>
            </a:extLst>
          </p:cNvPr>
          <p:cNvSpPr/>
          <p:nvPr userDrawn="1">
            <p:custDataLst>
              <p:tags r:id="rId4"/>
            </p:custDataLst>
          </p:nvPr>
        </p:nvSpPr>
        <p:spPr>
          <a:xfrm rot="16200000">
            <a:off x="11255014" y="762554"/>
            <a:ext cx="1080483" cy="193634"/>
          </a:xfrm>
          <a:custGeom>
            <a:avLst/>
            <a:gdLst>
              <a:gd name="connsiteX0" fmla="*/ 1026846 w 1080483"/>
              <a:gd name="connsiteY0" fmla="*/ 150260 h 193634"/>
              <a:gd name="connsiteX1" fmla="*/ 1039045 w 1080483"/>
              <a:gd name="connsiteY1" fmla="*/ 150260 h 193634"/>
              <a:gd name="connsiteX2" fmla="*/ 1039045 w 1080483"/>
              <a:gd name="connsiteY2" fmla="*/ 85006 h 193634"/>
              <a:gd name="connsiteX3" fmla="*/ 1042143 w 1080483"/>
              <a:gd name="connsiteY3" fmla="*/ 70870 h 193634"/>
              <a:gd name="connsiteX4" fmla="*/ 1050082 w 1080483"/>
              <a:gd name="connsiteY4" fmla="*/ 60608 h 193634"/>
              <a:gd name="connsiteX5" fmla="*/ 1060732 w 1080483"/>
              <a:gd name="connsiteY5" fmla="*/ 53830 h 193634"/>
              <a:gd name="connsiteX6" fmla="*/ 1071963 w 1080483"/>
              <a:gd name="connsiteY6" fmla="*/ 51894 h 193634"/>
              <a:gd name="connsiteX7" fmla="*/ 1078934 w 1080483"/>
              <a:gd name="connsiteY7" fmla="*/ 52475 h 193634"/>
              <a:gd name="connsiteX8" fmla="*/ 1080483 w 1080483"/>
              <a:gd name="connsiteY8" fmla="*/ 40857 h 193634"/>
              <a:gd name="connsiteX9" fmla="*/ 1076223 w 1080483"/>
              <a:gd name="connsiteY9" fmla="*/ 40276 h 193634"/>
              <a:gd name="connsiteX10" fmla="*/ 1071963 w 1080483"/>
              <a:gd name="connsiteY10" fmla="*/ 40082 h 193634"/>
              <a:gd name="connsiteX11" fmla="*/ 1054149 w 1080483"/>
              <a:gd name="connsiteY11" fmla="*/ 45117 h 193634"/>
              <a:gd name="connsiteX12" fmla="*/ 1039239 w 1080483"/>
              <a:gd name="connsiteY12" fmla="*/ 59446 h 193634"/>
              <a:gd name="connsiteX13" fmla="*/ 1039239 w 1080483"/>
              <a:gd name="connsiteY13" fmla="*/ 41825 h 193634"/>
              <a:gd name="connsiteX14" fmla="*/ 1027040 w 1080483"/>
              <a:gd name="connsiteY14" fmla="*/ 41825 h 193634"/>
              <a:gd name="connsiteX15" fmla="*/ 1027040 w 1080483"/>
              <a:gd name="connsiteY15" fmla="*/ 150260 h 193634"/>
              <a:gd name="connsiteX16" fmla="*/ 913570 w 1080483"/>
              <a:gd name="connsiteY16" fmla="*/ 88685 h 193634"/>
              <a:gd name="connsiteX17" fmla="*/ 924994 w 1080483"/>
              <a:gd name="connsiteY17" fmla="*/ 58284 h 193634"/>
              <a:gd name="connsiteX18" fmla="*/ 950167 w 1080483"/>
              <a:gd name="connsiteY18" fmla="*/ 48409 h 193634"/>
              <a:gd name="connsiteX19" fmla="*/ 965658 w 1080483"/>
              <a:gd name="connsiteY19" fmla="*/ 51313 h 193634"/>
              <a:gd name="connsiteX20" fmla="*/ 976114 w 1080483"/>
              <a:gd name="connsiteY20" fmla="*/ 59639 h 193634"/>
              <a:gd name="connsiteX21" fmla="*/ 981923 w 1080483"/>
              <a:gd name="connsiteY21" fmla="*/ 72419 h 193634"/>
              <a:gd name="connsiteX22" fmla="*/ 983859 w 1080483"/>
              <a:gd name="connsiteY22" fmla="*/ 88685 h 193634"/>
              <a:gd name="connsiteX23" fmla="*/ 913570 w 1080483"/>
              <a:gd name="connsiteY23" fmla="*/ 88685 h 193634"/>
              <a:gd name="connsiteX24" fmla="*/ 983085 w 1080483"/>
              <a:gd name="connsiteY24" fmla="*/ 121990 h 193634"/>
              <a:gd name="connsiteX25" fmla="*/ 979599 w 1080483"/>
              <a:gd name="connsiteY25" fmla="*/ 130703 h 193634"/>
              <a:gd name="connsiteX26" fmla="*/ 973597 w 1080483"/>
              <a:gd name="connsiteY26" fmla="*/ 137480 h 193634"/>
              <a:gd name="connsiteX27" fmla="*/ 964109 w 1080483"/>
              <a:gd name="connsiteY27" fmla="*/ 141934 h 193634"/>
              <a:gd name="connsiteX28" fmla="*/ 950167 w 1080483"/>
              <a:gd name="connsiteY28" fmla="*/ 143483 h 193634"/>
              <a:gd name="connsiteX29" fmla="*/ 934095 w 1080483"/>
              <a:gd name="connsiteY29" fmla="*/ 139998 h 193634"/>
              <a:gd name="connsiteX30" fmla="*/ 922477 w 1080483"/>
              <a:gd name="connsiteY30" fmla="*/ 130510 h 193634"/>
              <a:gd name="connsiteX31" fmla="*/ 915506 w 1080483"/>
              <a:gd name="connsiteY31" fmla="*/ 116374 h 193634"/>
              <a:gd name="connsiteX32" fmla="*/ 913183 w 1080483"/>
              <a:gd name="connsiteY32" fmla="*/ 98947 h 193634"/>
              <a:gd name="connsiteX33" fmla="*/ 996639 w 1080483"/>
              <a:gd name="connsiteY33" fmla="*/ 98947 h 193634"/>
              <a:gd name="connsiteX34" fmla="*/ 996639 w 1080483"/>
              <a:gd name="connsiteY34" fmla="*/ 91202 h 193634"/>
              <a:gd name="connsiteX35" fmla="*/ 994122 w 1080483"/>
              <a:gd name="connsiteY35" fmla="*/ 70289 h 193634"/>
              <a:gd name="connsiteX36" fmla="*/ 985989 w 1080483"/>
              <a:gd name="connsiteY36" fmla="*/ 53637 h 193634"/>
              <a:gd name="connsiteX37" fmla="*/ 971660 w 1080483"/>
              <a:gd name="connsiteY37" fmla="*/ 42406 h 193634"/>
              <a:gd name="connsiteX38" fmla="*/ 950167 w 1080483"/>
              <a:gd name="connsiteY38" fmla="*/ 38340 h 193634"/>
              <a:gd name="connsiteX39" fmla="*/ 930416 w 1080483"/>
              <a:gd name="connsiteY39" fmla="*/ 42212 h 193634"/>
              <a:gd name="connsiteX40" fmla="*/ 914925 w 1080483"/>
              <a:gd name="connsiteY40" fmla="*/ 53443 h 193634"/>
              <a:gd name="connsiteX41" fmla="*/ 904663 w 1080483"/>
              <a:gd name="connsiteY41" fmla="*/ 71838 h 193634"/>
              <a:gd name="connsiteX42" fmla="*/ 900983 w 1080483"/>
              <a:gd name="connsiteY42" fmla="*/ 97011 h 193634"/>
              <a:gd name="connsiteX43" fmla="*/ 913957 w 1080483"/>
              <a:gd name="connsiteY43" fmla="*/ 138449 h 193634"/>
              <a:gd name="connsiteX44" fmla="*/ 950167 w 1080483"/>
              <a:gd name="connsiteY44" fmla="*/ 153552 h 193634"/>
              <a:gd name="connsiteX45" fmla="*/ 981342 w 1080483"/>
              <a:gd name="connsiteY45" fmla="*/ 144645 h 193634"/>
              <a:gd name="connsiteX46" fmla="*/ 994896 w 1080483"/>
              <a:gd name="connsiteY46" fmla="*/ 121602 h 193634"/>
              <a:gd name="connsiteX47" fmla="*/ 983085 w 1080483"/>
              <a:gd name="connsiteY47" fmla="*/ 121602 h 193634"/>
              <a:gd name="connsiteX48" fmla="*/ 858771 w 1080483"/>
              <a:gd name="connsiteY48" fmla="*/ 95849 h 193634"/>
              <a:gd name="connsiteX49" fmla="*/ 854898 w 1080483"/>
              <a:gd name="connsiteY49" fmla="*/ 117149 h 193634"/>
              <a:gd name="connsiteX50" fmla="*/ 843668 w 1080483"/>
              <a:gd name="connsiteY50" fmla="*/ 131090 h 193634"/>
              <a:gd name="connsiteX51" fmla="*/ 833405 w 1080483"/>
              <a:gd name="connsiteY51" fmla="*/ 136319 h 193634"/>
              <a:gd name="connsiteX52" fmla="*/ 821593 w 1080483"/>
              <a:gd name="connsiteY52" fmla="*/ 137868 h 193634"/>
              <a:gd name="connsiteX53" fmla="*/ 809201 w 1080483"/>
              <a:gd name="connsiteY53" fmla="*/ 135544 h 193634"/>
              <a:gd name="connsiteX54" fmla="*/ 798163 w 1080483"/>
              <a:gd name="connsiteY54" fmla="*/ 127992 h 193634"/>
              <a:gd name="connsiteX55" fmla="*/ 790224 w 1080483"/>
              <a:gd name="connsiteY55" fmla="*/ 114438 h 193634"/>
              <a:gd name="connsiteX56" fmla="*/ 787126 w 1080483"/>
              <a:gd name="connsiteY56" fmla="*/ 93913 h 193634"/>
              <a:gd name="connsiteX57" fmla="*/ 789837 w 1080483"/>
              <a:gd name="connsiteY57" fmla="*/ 73387 h 193634"/>
              <a:gd name="connsiteX58" fmla="*/ 797389 w 1080483"/>
              <a:gd name="connsiteY58" fmla="*/ 59446 h 193634"/>
              <a:gd name="connsiteX59" fmla="*/ 808813 w 1080483"/>
              <a:gd name="connsiteY59" fmla="*/ 51507 h 193634"/>
              <a:gd name="connsiteX60" fmla="*/ 823142 w 1080483"/>
              <a:gd name="connsiteY60" fmla="*/ 48990 h 193634"/>
              <a:gd name="connsiteX61" fmla="*/ 834373 w 1080483"/>
              <a:gd name="connsiteY61" fmla="*/ 50732 h 193634"/>
              <a:gd name="connsiteX62" fmla="*/ 844442 w 1080483"/>
              <a:gd name="connsiteY62" fmla="*/ 56154 h 193634"/>
              <a:gd name="connsiteX63" fmla="*/ 851026 w 1080483"/>
              <a:gd name="connsiteY63" fmla="*/ 62157 h 193634"/>
              <a:gd name="connsiteX64" fmla="*/ 855479 w 1080483"/>
              <a:gd name="connsiteY64" fmla="*/ 69515 h 193634"/>
              <a:gd name="connsiteX65" fmla="*/ 857997 w 1080483"/>
              <a:gd name="connsiteY65" fmla="*/ 79003 h 193634"/>
              <a:gd name="connsiteX66" fmla="*/ 858771 w 1080483"/>
              <a:gd name="connsiteY66" fmla="*/ 91783 h 193634"/>
              <a:gd name="connsiteX67" fmla="*/ 858771 w 1080483"/>
              <a:gd name="connsiteY67" fmla="*/ 95849 h 193634"/>
              <a:gd name="connsiteX68" fmla="*/ 778219 w 1080483"/>
              <a:gd name="connsiteY68" fmla="*/ 162072 h 193634"/>
              <a:gd name="connsiteX69" fmla="*/ 783060 w 1080483"/>
              <a:gd name="connsiteY69" fmla="*/ 176788 h 193634"/>
              <a:gd name="connsiteX70" fmla="*/ 792935 w 1080483"/>
              <a:gd name="connsiteY70" fmla="*/ 186470 h 193634"/>
              <a:gd name="connsiteX71" fmla="*/ 806877 w 1080483"/>
              <a:gd name="connsiteY71" fmla="*/ 191892 h 193634"/>
              <a:gd name="connsiteX72" fmla="*/ 824110 w 1080483"/>
              <a:gd name="connsiteY72" fmla="*/ 193634 h 193634"/>
              <a:gd name="connsiteX73" fmla="*/ 859546 w 1080483"/>
              <a:gd name="connsiteY73" fmla="*/ 181048 h 193634"/>
              <a:gd name="connsiteX74" fmla="*/ 870776 w 1080483"/>
              <a:gd name="connsiteY74" fmla="*/ 146581 h 193634"/>
              <a:gd name="connsiteX75" fmla="*/ 870776 w 1080483"/>
              <a:gd name="connsiteY75" fmla="*/ 41825 h 193634"/>
              <a:gd name="connsiteX76" fmla="*/ 858577 w 1080483"/>
              <a:gd name="connsiteY76" fmla="*/ 41825 h 193634"/>
              <a:gd name="connsiteX77" fmla="*/ 858577 w 1080483"/>
              <a:gd name="connsiteY77" fmla="*/ 56735 h 193634"/>
              <a:gd name="connsiteX78" fmla="*/ 841538 w 1080483"/>
              <a:gd name="connsiteY78" fmla="*/ 42600 h 193634"/>
              <a:gd name="connsiteX79" fmla="*/ 823142 w 1080483"/>
              <a:gd name="connsiteY79" fmla="*/ 38727 h 193634"/>
              <a:gd name="connsiteX80" fmla="*/ 802617 w 1080483"/>
              <a:gd name="connsiteY80" fmla="*/ 42793 h 193634"/>
              <a:gd name="connsiteX81" fmla="*/ 787320 w 1080483"/>
              <a:gd name="connsiteY81" fmla="*/ 54024 h 193634"/>
              <a:gd name="connsiteX82" fmla="*/ 777638 w 1080483"/>
              <a:gd name="connsiteY82" fmla="*/ 71645 h 193634"/>
              <a:gd name="connsiteX83" fmla="*/ 774346 w 1080483"/>
              <a:gd name="connsiteY83" fmla="*/ 94687 h 193634"/>
              <a:gd name="connsiteX84" fmla="*/ 777057 w 1080483"/>
              <a:gd name="connsiteY84" fmla="*/ 115019 h 193634"/>
              <a:gd name="connsiteX85" fmla="*/ 785383 w 1080483"/>
              <a:gd name="connsiteY85" fmla="*/ 132446 h 193634"/>
              <a:gd name="connsiteX86" fmla="*/ 799906 w 1080483"/>
              <a:gd name="connsiteY86" fmla="*/ 144645 h 193634"/>
              <a:gd name="connsiteX87" fmla="*/ 820819 w 1080483"/>
              <a:gd name="connsiteY87" fmla="*/ 149098 h 193634"/>
              <a:gd name="connsiteX88" fmla="*/ 842699 w 1080483"/>
              <a:gd name="connsiteY88" fmla="*/ 143870 h 193634"/>
              <a:gd name="connsiteX89" fmla="*/ 858577 w 1080483"/>
              <a:gd name="connsiteY89" fmla="*/ 129154 h 193634"/>
              <a:gd name="connsiteX90" fmla="*/ 858577 w 1080483"/>
              <a:gd name="connsiteY90" fmla="*/ 145419 h 193634"/>
              <a:gd name="connsiteX91" fmla="*/ 850251 w 1080483"/>
              <a:gd name="connsiteY91" fmla="*/ 174852 h 193634"/>
              <a:gd name="connsiteX92" fmla="*/ 823917 w 1080483"/>
              <a:gd name="connsiteY92" fmla="*/ 183565 h 193634"/>
              <a:gd name="connsiteX93" fmla="*/ 800100 w 1080483"/>
              <a:gd name="connsiteY93" fmla="*/ 178337 h 193634"/>
              <a:gd name="connsiteX94" fmla="*/ 790031 w 1080483"/>
              <a:gd name="connsiteY94" fmla="*/ 162459 h 193634"/>
              <a:gd name="connsiteX95" fmla="*/ 778219 w 1080483"/>
              <a:gd name="connsiteY95" fmla="*/ 162459 h 193634"/>
              <a:gd name="connsiteX96" fmla="*/ 705799 w 1080483"/>
              <a:gd name="connsiteY96" fmla="*/ 150260 h 193634"/>
              <a:gd name="connsiteX97" fmla="*/ 717998 w 1080483"/>
              <a:gd name="connsiteY97" fmla="*/ 150260 h 193634"/>
              <a:gd name="connsiteX98" fmla="*/ 717998 w 1080483"/>
              <a:gd name="connsiteY98" fmla="*/ 85006 h 193634"/>
              <a:gd name="connsiteX99" fmla="*/ 721097 w 1080483"/>
              <a:gd name="connsiteY99" fmla="*/ 70870 h 193634"/>
              <a:gd name="connsiteX100" fmla="*/ 729036 w 1080483"/>
              <a:gd name="connsiteY100" fmla="*/ 60608 h 193634"/>
              <a:gd name="connsiteX101" fmla="*/ 739686 w 1080483"/>
              <a:gd name="connsiteY101" fmla="*/ 53830 h 193634"/>
              <a:gd name="connsiteX102" fmla="*/ 750916 w 1080483"/>
              <a:gd name="connsiteY102" fmla="*/ 51894 h 193634"/>
              <a:gd name="connsiteX103" fmla="*/ 757887 w 1080483"/>
              <a:gd name="connsiteY103" fmla="*/ 52475 h 193634"/>
              <a:gd name="connsiteX104" fmla="*/ 759436 w 1080483"/>
              <a:gd name="connsiteY104" fmla="*/ 40857 h 193634"/>
              <a:gd name="connsiteX105" fmla="*/ 755176 w 1080483"/>
              <a:gd name="connsiteY105" fmla="*/ 40276 h 193634"/>
              <a:gd name="connsiteX106" fmla="*/ 750916 w 1080483"/>
              <a:gd name="connsiteY106" fmla="*/ 40082 h 193634"/>
              <a:gd name="connsiteX107" fmla="*/ 733102 w 1080483"/>
              <a:gd name="connsiteY107" fmla="*/ 45117 h 193634"/>
              <a:gd name="connsiteX108" fmla="*/ 718192 w 1080483"/>
              <a:gd name="connsiteY108" fmla="*/ 59446 h 193634"/>
              <a:gd name="connsiteX109" fmla="*/ 718192 w 1080483"/>
              <a:gd name="connsiteY109" fmla="*/ 41825 h 193634"/>
              <a:gd name="connsiteX110" fmla="*/ 705993 w 1080483"/>
              <a:gd name="connsiteY110" fmla="*/ 41825 h 193634"/>
              <a:gd name="connsiteX111" fmla="*/ 705993 w 1080483"/>
              <a:gd name="connsiteY111" fmla="*/ 150260 h 193634"/>
              <a:gd name="connsiteX112" fmla="*/ 585358 w 1080483"/>
              <a:gd name="connsiteY112" fmla="*/ 114051 h 193634"/>
              <a:gd name="connsiteX113" fmla="*/ 593298 w 1080483"/>
              <a:gd name="connsiteY113" fmla="*/ 143483 h 193634"/>
              <a:gd name="connsiteX114" fmla="*/ 619826 w 1080483"/>
              <a:gd name="connsiteY114" fmla="*/ 153552 h 193634"/>
              <a:gd name="connsiteX115" fmla="*/ 659133 w 1080483"/>
              <a:gd name="connsiteY115" fmla="*/ 132446 h 193634"/>
              <a:gd name="connsiteX116" fmla="*/ 659133 w 1080483"/>
              <a:gd name="connsiteY116" fmla="*/ 150067 h 193634"/>
              <a:gd name="connsiteX117" fmla="*/ 671332 w 1080483"/>
              <a:gd name="connsiteY117" fmla="*/ 150067 h 193634"/>
              <a:gd name="connsiteX118" fmla="*/ 671332 w 1080483"/>
              <a:gd name="connsiteY118" fmla="*/ 41631 h 193634"/>
              <a:gd name="connsiteX119" fmla="*/ 659133 w 1080483"/>
              <a:gd name="connsiteY119" fmla="*/ 41631 h 193634"/>
              <a:gd name="connsiteX120" fmla="*/ 659133 w 1080483"/>
              <a:gd name="connsiteY120" fmla="*/ 105143 h 193634"/>
              <a:gd name="connsiteX121" fmla="*/ 656035 w 1080483"/>
              <a:gd name="connsiteY121" fmla="*/ 121021 h 193634"/>
              <a:gd name="connsiteX122" fmla="*/ 646741 w 1080483"/>
              <a:gd name="connsiteY122" fmla="*/ 132252 h 193634"/>
              <a:gd name="connsiteX123" fmla="*/ 634348 w 1080483"/>
              <a:gd name="connsiteY123" fmla="*/ 139804 h 193634"/>
              <a:gd name="connsiteX124" fmla="*/ 621375 w 1080483"/>
              <a:gd name="connsiteY124" fmla="*/ 142321 h 193634"/>
              <a:gd name="connsiteX125" fmla="*/ 602979 w 1080483"/>
              <a:gd name="connsiteY125" fmla="*/ 134770 h 193634"/>
              <a:gd name="connsiteX126" fmla="*/ 597558 w 1080483"/>
              <a:gd name="connsiteY126" fmla="*/ 110178 h 193634"/>
              <a:gd name="connsiteX127" fmla="*/ 597558 w 1080483"/>
              <a:gd name="connsiteY127" fmla="*/ 41825 h 193634"/>
              <a:gd name="connsiteX128" fmla="*/ 585358 w 1080483"/>
              <a:gd name="connsiteY128" fmla="*/ 41825 h 193634"/>
              <a:gd name="connsiteX129" fmla="*/ 585358 w 1080483"/>
              <a:gd name="connsiteY129" fmla="*/ 114051 h 193634"/>
              <a:gd name="connsiteX130" fmla="*/ 470920 w 1080483"/>
              <a:gd name="connsiteY130" fmla="*/ 91008 h 193634"/>
              <a:gd name="connsiteX131" fmla="*/ 474987 w 1080483"/>
              <a:gd name="connsiteY131" fmla="*/ 69902 h 193634"/>
              <a:gd name="connsiteX132" fmla="*/ 486411 w 1080483"/>
              <a:gd name="connsiteY132" fmla="*/ 56154 h 193634"/>
              <a:gd name="connsiteX133" fmla="*/ 496867 w 1080483"/>
              <a:gd name="connsiteY133" fmla="*/ 50732 h 193634"/>
              <a:gd name="connsiteX134" fmla="*/ 508679 w 1080483"/>
              <a:gd name="connsiteY134" fmla="*/ 49183 h 193634"/>
              <a:gd name="connsiteX135" fmla="*/ 520684 w 1080483"/>
              <a:gd name="connsiteY135" fmla="*/ 51313 h 193634"/>
              <a:gd name="connsiteX136" fmla="*/ 531722 w 1080483"/>
              <a:gd name="connsiteY136" fmla="*/ 58865 h 193634"/>
              <a:gd name="connsiteX137" fmla="*/ 539661 w 1080483"/>
              <a:gd name="connsiteY137" fmla="*/ 73000 h 193634"/>
              <a:gd name="connsiteX138" fmla="*/ 542759 w 1080483"/>
              <a:gd name="connsiteY138" fmla="*/ 95074 h 193634"/>
              <a:gd name="connsiteX139" fmla="*/ 540048 w 1080483"/>
              <a:gd name="connsiteY139" fmla="*/ 117342 h 193634"/>
              <a:gd name="connsiteX140" fmla="*/ 532496 w 1080483"/>
              <a:gd name="connsiteY140" fmla="*/ 132252 h 193634"/>
              <a:gd name="connsiteX141" fmla="*/ 521265 w 1080483"/>
              <a:gd name="connsiteY141" fmla="*/ 140579 h 193634"/>
              <a:gd name="connsiteX142" fmla="*/ 506936 w 1080483"/>
              <a:gd name="connsiteY142" fmla="*/ 143289 h 193634"/>
              <a:gd name="connsiteX143" fmla="*/ 495318 w 1080483"/>
              <a:gd name="connsiteY143" fmla="*/ 141547 h 193634"/>
              <a:gd name="connsiteX144" fmla="*/ 485443 w 1080483"/>
              <a:gd name="connsiteY144" fmla="*/ 136125 h 193634"/>
              <a:gd name="connsiteX145" fmla="*/ 478666 w 1080483"/>
              <a:gd name="connsiteY145" fmla="*/ 130122 h 193634"/>
              <a:gd name="connsiteX146" fmla="*/ 474212 w 1080483"/>
              <a:gd name="connsiteY146" fmla="*/ 122571 h 193634"/>
              <a:gd name="connsiteX147" fmla="*/ 471695 w 1080483"/>
              <a:gd name="connsiteY147" fmla="*/ 113082 h 193634"/>
              <a:gd name="connsiteX148" fmla="*/ 470920 w 1080483"/>
              <a:gd name="connsiteY148" fmla="*/ 100496 h 193634"/>
              <a:gd name="connsiteX149" fmla="*/ 470920 w 1080483"/>
              <a:gd name="connsiteY149" fmla="*/ 91008 h 193634"/>
              <a:gd name="connsiteX150" fmla="*/ 459109 w 1080483"/>
              <a:gd name="connsiteY150" fmla="*/ 150260 h 193634"/>
              <a:gd name="connsiteX151" fmla="*/ 471307 w 1080483"/>
              <a:gd name="connsiteY151" fmla="*/ 150260 h 193634"/>
              <a:gd name="connsiteX152" fmla="*/ 471307 w 1080483"/>
              <a:gd name="connsiteY152" fmla="*/ 135544 h 193634"/>
              <a:gd name="connsiteX153" fmla="*/ 487960 w 1080483"/>
              <a:gd name="connsiteY153" fmla="*/ 149679 h 193634"/>
              <a:gd name="connsiteX154" fmla="*/ 506936 w 1080483"/>
              <a:gd name="connsiteY154" fmla="*/ 153746 h 193634"/>
              <a:gd name="connsiteX155" fmla="*/ 527074 w 1080483"/>
              <a:gd name="connsiteY155" fmla="*/ 149679 h 193634"/>
              <a:gd name="connsiteX156" fmla="*/ 542372 w 1080483"/>
              <a:gd name="connsiteY156" fmla="*/ 138061 h 193634"/>
              <a:gd name="connsiteX157" fmla="*/ 552247 w 1080483"/>
              <a:gd name="connsiteY157" fmla="*/ 119666 h 193634"/>
              <a:gd name="connsiteX158" fmla="*/ 555732 w 1080483"/>
              <a:gd name="connsiteY158" fmla="*/ 94881 h 193634"/>
              <a:gd name="connsiteX159" fmla="*/ 552828 w 1080483"/>
              <a:gd name="connsiteY159" fmla="*/ 72613 h 193634"/>
              <a:gd name="connsiteX160" fmla="*/ 544114 w 1080483"/>
              <a:gd name="connsiteY160" fmla="*/ 54799 h 193634"/>
              <a:gd name="connsiteX161" fmla="*/ 529398 w 1080483"/>
              <a:gd name="connsiteY161" fmla="*/ 42987 h 193634"/>
              <a:gd name="connsiteX162" fmla="*/ 508679 w 1080483"/>
              <a:gd name="connsiteY162" fmla="*/ 38727 h 193634"/>
              <a:gd name="connsiteX163" fmla="*/ 487186 w 1080483"/>
              <a:gd name="connsiteY163" fmla="*/ 43955 h 193634"/>
              <a:gd name="connsiteX164" fmla="*/ 470920 w 1080483"/>
              <a:gd name="connsiteY164" fmla="*/ 58284 h 193634"/>
              <a:gd name="connsiteX165" fmla="*/ 470920 w 1080483"/>
              <a:gd name="connsiteY165" fmla="*/ 194 h 193634"/>
              <a:gd name="connsiteX166" fmla="*/ 458721 w 1080483"/>
              <a:gd name="connsiteY166" fmla="*/ 194 h 193634"/>
              <a:gd name="connsiteX167" fmla="*/ 458721 w 1080483"/>
              <a:gd name="connsiteY167" fmla="*/ 150260 h 193634"/>
              <a:gd name="connsiteX168" fmla="*/ 274768 w 1080483"/>
              <a:gd name="connsiteY168" fmla="*/ 150260 h 193634"/>
              <a:gd name="connsiteX169" fmla="*/ 286967 w 1080483"/>
              <a:gd name="connsiteY169" fmla="*/ 150260 h 193634"/>
              <a:gd name="connsiteX170" fmla="*/ 286967 w 1080483"/>
              <a:gd name="connsiteY170" fmla="*/ 86167 h 193634"/>
              <a:gd name="connsiteX171" fmla="*/ 288129 w 1080483"/>
              <a:gd name="connsiteY171" fmla="*/ 76486 h 193634"/>
              <a:gd name="connsiteX172" fmla="*/ 291033 w 1080483"/>
              <a:gd name="connsiteY172" fmla="*/ 69127 h 193634"/>
              <a:gd name="connsiteX173" fmla="*/ 294906 w 1080483"/>
              <a:gd name="connsiteY173" fmla="*/ 63706 h 193634"/>
              <a:gd name="connsiteX174" fmla="*/ 298972 w 1080483"/>
              <a:gd name="connsiteY174" fmla="*/ 59639 h 193634"/>
              <a:gd name="connsiteX175" fmla="*/ 310010 w 1080483"/>
              <a:gd name="connsiteY175" fmla="*/ 52088 h 193634"/>
              <a:gd name="connsiteX176" fmla="*/ 321821 w 1080483"/>
              <a:gd name="connsiteY176" fmla="*/ 49377 h 193634"/>
              <a:gd name="connsiteX177" fmla="*/ 338474 w 1080483"/>
              <a:gd name="connsiteY177" fmla="*/ 55960 h 193634"/>
              <a:gd name="connsiteX178" fmla="*/ 343896 w 1080483"/>
              <a:gd name="connsiteY178" fmla="*/ 78422 h 193634"/>
              <a:gd name="connsiteX179" fmla="*/ 343896 w 1080483"/>
              <a:gd name="connsiteY179" fmla="*/ 150260 h 193634"/>
              <a:gd name="connsiteX180" fmla="*/ 356095 w 1080483"/>
              <a:gd name="connsiteY180" fmla="*/ 150260 h 193634"/>
              <a:gd name="connsiteX181" fmla="*/ 356095 w 1080483"/>
              <a:gd name="connsiteY181" fmla="*/ 80939 h 193634"/>
              <a:gd name="connsiteX182" fmla="*/ 359387 w 1080483"/>
              <a:gd name="connsiteY182" fmla="*/ 67578 h 193634"/>
              <a:gd name="connsiteX183" fmla="*/ 367713 w 1080483"/>
              <a:gd name="connsiteY183" fmla="*/ 57897 h 193634"/>
              <a:gd name="connsiteX184" fmla="*/ 379525 w 1080483"/>
              <a:gd name="connsiteY184" fmla="*/ 51313 h 193634"/>
              <a:gd name="connsiteX185" fmla="*/ 390562 w 1080483"/>
              <a:gd name="connsiteY185" fmla="*/ 49570 h 193634"/>
              <a:gd name="connsiteX186" fmla="*/ 400437 w 1080483"/>
              <a:gd name="connsiteY186" fmla="*/ 50926 h 193634"/>
              <a:gd name="connsiteX187" fmla="*/ 407408 w 1080483"/>
              <a:gd name="connsiteY187" fmla="*/ 55573 h 193634"/>
              <a:gd name="connsiteX188" fmla="*/ 411668 w 1080483"/>
              <a:gd name="connsiteY188" fmla="*/ 64480 h 193634"/>
              <a:gd name="connsiteX189" fmla="*/ 413023 w 1080483"/>
              <a:gd name="connsiteY189" fmla="*/ 78422 h 193634"/>
              <a:gd name="connsiteX190" fmla="*/ 413023 w 1080483"/>
              <a:gd name="connsiteY190" fmla="*/ 150454 h 193634"/>
              <a:gd name="connsiteX191" fmla="*/ 425222 w 1080483"/>
              <a:gd name="connsiteY191" fmla="*/ 150454 h 193634"/>
              <a:gd name="connsiteX192" fmla="*/ 425222 w 1080483"/>
              <a:gd name="connsiteY192" fmla="*/ 73968 h 193634"/>
              <a:gd name="connsiteX193" fmla="*/ 416315 w 1080483"/>
              <a:gd name="connsiteY193" fmla="*/ 47053 h 193634"/>
              <a:gd name="connsiteX194" fmla="*/ 391917 w 1080483"/>
              <a:gd name="connsiteY194" fmla="*/ 38533 h 193634"/>
              <a:gd name="connsiteX195" fmla="*/ 370617 w 1080483"/>
              <a:gd name="connsiteY195" fmla="*/ 44149 h 193634"/>
              <a:gd name="connsiteX196" fmla="*/ 353384 w 1080483"/>
              <a:gd name="connsiteY196" fmla="*/ 59833 h 193634"/>
              <a:gd name="connsiteX197" fmla="*/ 342347 w 1080483"/>
              <a:gd name="connsiteY197" fmla="*/ 44149 h 193634"/>
              <a:gd name="connsiteX198" fmla="*/ 322402 w 1080483"/>
              <a:gd name="connsiteY198" fmla="*/ 38533 h 193634"/>
              <a:gd name="connsiteX199" fmla="*/ 303813 w 1080483"/>
              <a:gd name="connsiteY199" fmla="*/ 43761 h 193634"/>
              <a:gd name="connsiteX200" fmla="*/ 286580 w 1080483"/>
              <a:gd name="connsiteY200" fmla="*/ 59833 h 193634"/>
              <a:gd name="connsiteX201" fmla="*/ 286580 w 1080483"/>
              <a:gd name="connsiteY201" fmla="*/ 42019 h 193634"/>
              <a:gd name="connsiteX202" fmla="*/ 274381 w 1080483"/>
              <a:gd name="connsiteY202" fmla="*/ 42019 h 193634"/>
              <a:gd name="connsiteX203" fmla="*/ 274381 w 1080483"/>
              <a:gd name="connsiteY203" fmla="*/ 150260 h 193634"/>
              <a:gd name="connsiteX204" fmla="*/ 214935 w 1080483"/>
              <a:gd name="connsiteY204" fmla="*/ 149679 h 193634"/>
              <a:gd name="connsiteX205" fmla="*/ 231200 w 1080483"/>
              <a:gd name="connsiteY205" fmla="*/ 137868 h 193634"/>
              <a:gd name="connsiteX206" fmla="*/ 241463 w 1080483"/>
              <a:gd name="connsiteY206" fmla="*/ 119472 h 193634"/>
              <a:gd name="connsiteX207" fmla="*/ 245142 w 1080483"/>
              <a:gd name="connsiteY207" fmla="*/ 95462 h 193634"/>
              <a:gd name="connsiteX208" fmla="*/ 241656 w 1080483"/>
              <a:gd name="connsiteY208" fmla="*/ 72032 h 193634"/>
              <a:gd name="connsiteX209" fmla="*/ 231587 w 1080483"/>
              <a:gd name="connsiteY209" fmla="*/ 54024 h 193634"/>
              <a:gd name="connsiteX210" fmla="*/ 215516 w 1080483"/>
              <a:gd name="connsiteY210" fmla="*/ 42600 h 193634"/>
              <a:gd name="connsiteX211" fmla="*/ 194216 w 1080483"/>
              <a:gd name="connsiteY211" fmla="*/ 38533 h 193634"/>
              <a:gd name="connsiteX212" fmla="*/ 172916 w 1080483"/>
              <a:gd name="connsiteY212" fmla="*/ 42600 h 193634"/>
              <a:gd name="connsiteX213" fmla="*/ 156844 w 1080483"/>
              <a:gd name="connsiteY213" fmla="*/ 54218 h 193634"/>
              <a:gd name="connsiteX214" fmla="*/ 146582 w 1080483"/>
              <a:gd name="connsiteY214" fmla="*/ 72613 h 193634"/>
              <a:gd name="connsiteX215" fmla="*/ 142903 w 1080483"/>
              <a:gd name="connsiteY215" fmla="*/ 96624 h 193634"/>
              <a:gd name="connsiteX216" fmla="*/ 146388 w 1080483"/>
              <a:gd name="connsiteY216" fmla="*/ 120247 h 193634"/>
              <a:gd name="connsiteX217" fmla="*/ 156263 w 1080483"/>
              <a:gd name="connsiteY217" fmla="*/ 138255 h 193634"/>
              <a:gd name="connsiteX218" fmla="*/ 171948 w 1080483"/>
              <a:gd name="connsiteY218" fmla="*/ 149679 h 193634"/>
              <a:gd name="connsiteX219" fmla="*/ 193248 w 1080483"/>
              <a:gd name="connsiteY219" fmla="*/ 153746 h 193634"/>
              <a:gd name="connsiteX220" fmla="*/ 214935 w 1080483"/>
              <a:gd name="connsiteY220" fmla="*/ 149679 h 193634"/>
              <a:gd name="connsiteX221" fmla="*/ 176401 w 1080483"/>
              <a:gd name="connsiteY221" fmla="*/ 139417 h 193634"/>
              <a:gd name="connsiteX222" fmla="*/ 164590 w 1080483"/>
              <a:gd name="connsiteY222" fmla="*/ 129348 h 193634"/>
              <a:gd name="connsiteX223" fmla="*/ 158006 w 1080483"/>
              <a:gd name="connsiteY223" fmla="*/ 114438 h 193634"/>
              <a:gd name="connsiteX224" fmla="*/ 155876 w 1080483"/>
              <a:gd name="connsiteY224" fmla="*/ 95849 h 193634"/>
              <a:gd name="connsiteX225" fmla="*/ 158006 w 1080483"/>
              <a:gd name="connsiteY225" fmla="*/ 77454 h 193634"/>
              <a:gd name="connsiteX226" fmla="*/ 164590 w 1080483"/>
              <a:gd name="connsiteY226" fmla="*/ 62544 h 193634"/>
              <a:gd name="connsiteX227" fmla="*/ 176401 w 1080483"/>
              <a:gd name="connsiteY227" fmla="*/ 52475 h 193634"/>
              <a:gd name="connsiteX228" fmla="*/ 193829 w 1080483"/>
              <a:gd name="connsiteY228" fmla="*/ 48796 h 193634"/>
              <a:gd name="connsiteX229" fmla="*/ 211256 w 1080483"/>
              <a:gd name="connsiteY229" fmla="*/ 52475 h 193634"/>
              <a:gd name="connsiteX230" fmla="*/ 223067 w 1080483"/>
              <a:gd name="connsiteY230" fmla="*/ 62544 h 193634"/>
              <a:gd name="connsiteX231" fmla="*/ 229845 w 1080483"/>
              <a:gd name="connsiteY231" fmla="*/ 77454 h 193634"/>
              <a:gd name="connsiteX232" fmla="*/ 231975 w 1080483"/>
              <a:gd name="connsiteY232" fmla="*/ 95655 h 193634"/>
              <a:gd name="connsiteX233" fmla="*/ 229845 w 1080483"/>
              <a:gd name="connsiteY233" fmla="*/ 114438 h 193634"/>
              <a:gd name="connsiteX234" fmla="*/ 223067 w 1080483"/>
              <a:gd name="connsiteY234" fmla="*/ 129348 h 193634"/>
              <a:gd name="connsiteX235" fmla="*/ 211256 w 1080483"/>
              <a:gd name="connsiteY235" fmla="*/ 139417 h 193634"/>
              <a:gd name="connsiteX236" fmla="*/ 193829 w 1080483"/>
              <a:gd name="connsiteY236" fmla="*/ 143096 h 193634"/>
              <a:gd name="connsiteX237" fmla="*/ 176401 w 1080483"/>
              <a:gd name="connsiteY237" fmla="*/ 139417 h 193634"/>
              <a:gd name="connsiteX238" fmla="*/ 0 w 1080483"/>
              <a:gd name="connsiteY238" fmla="*/ 150260 h 193634"/>
              <a:gd name="connsiteX239" fmla="*/ 12780 w 1080483"/>
              <a:gd name="connsiteY239" fmla="*/ 150260 h 193634"/>
              <a:gd name="connsiteX240" fmla="*/ 12780 w 1080483"/>
              <a:gd name="connsiteY240" fmla="*/ 78616 h 193634"/>
              <a:gd name="connsiteX241" fmla="*/ 97592 w 1080483"/>
              <a:gd name="connsiteY241" fmla="*/ 78616 h 193634"/>
              <a:gd name="connsiteX242" fmla="*/ 97592 w 1080483"/>
              <a:gd name="connsiteY242" fmla="*/ 150454 h 193634"/>
              <a:gd name="connsiteX243" fmla="*/ 110372 w 1080483"/>
              <a:gd name="connsiteY243" fmla="*/ 150454 h 193634"/>
              <a:gd name="connsiteX244" fmla="*/ 110372 w 1080483"/>
              <a:gd name="connsiteY244" fmla="*/ 0 h 193634"/>
              <a:gd name="connsiteX245" fmla="*/ 97592 w 1080483"/>
              <a:gd name="connsiteY245" fmla="*/ 0 h 193634"/>
              <a:gd name="connsiteX246" fmla="*/ 97592 w 1080483"/>
              <a:gd name="connsiteY246" fmla="*/ 66610 h 193634"/>
              <a:gd name="connsiteX247" fmla="*/ 12780 w 1080483"/>
              <a:gd name="connsiteY247" fmla="*/ 66610 h 193634"/>
              <a:gd name="connsiteX248" fmla="*/ 12780 w 1080483"/>
              <a:gd name="connsiteY248" fmla="*/ 0 h 193634"/>
              <a:gd name="connsiteX249" fmla="*/ 0 w 1080483"/>
              <a:gd name="connsiteY249" fmla="*/ 0 h 193634"/>
              <a:gd name="connsiteX250" fmla="*/ 0 w 1080483"/>
              <a:gd name="connsiteY250" fmla="*/ 150260 h 19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0483" h="193634">
                <a:moveTo>
                  <a:pt x="1026846" y="150260"/>
                </a:moveTo>
                <a:lnTo>
                  <a:pt x="1039045" y="150260"/>
                </a:lnTo>
                <a:lnTo>
                  <a:pt x="1039045" y="85006"/>
                </a:lnTo>
                <a:cubicBezTo>
                  <a:pt x="1039045" y="79584"/>
                  <a:pt x="1040013" y="74743"/>
                  <a:pt x="1042143" y="70870"/>
                </a:cubicBezTo>
                <a:cubicBezTo>
                  <a:pt x="1044273" y="66804"/>
                  <a:pt x="1046984" y="63512"/>
                  <a:pt x="1050082" y="60608"/>
                </a:cubicBezTo>
                <a:cubicBezTo>
                  <a:pt x="1053374" y="57316"/>
                  <a:pt x="1057053" y="55186"/>
                  <a:pt x="1060732" y="53830"/>
                </a:cubicBezTo>
                <a:cubicBezTo>
                  <a:pt x="1064605" y="52475"/>
                  <a:pt x="1068284" y="51894"/>
                  <a:pt x="1071963" y="51894"/>
                </a:cubicBezTo>
                <a:cubicBezTo>
                  <a:pt x="1074093" y="51894"/>
                  <a:pt x="1076417" y="52088"/>
                  <a:pt x="1078934" y="52475"/>
                </a:cubicBezTo>
                <a:lnTo>
                  <a:pt x="1080483" y="40857"/>
                </a:lnTo>
                <a:cubicBezTo>
                  <a:pt x="1078934" y="40663"/>
                  <a:pt x="1077579" y="40470"/>
                  <a:pt x="1076223" y="40276"/>
                </a:cubicBezTo>
                <a:cubicBezTo>
                  <a:pt x="1074868" y="40276"/>
                  <a:pt x="1073512" y="40082"/>
                  <a:pt x="1071963" y="40082"/>
                </a:cubicBezTo>
                <a:cubicBezTo>
                  <a:pt x="1065573" y="40082"/>
                  <a:pt x="1059764" y="41825"/>
                  <a:pt x="1054149" y="45117"/>
                </a:cubicBezTo>
                <a:cubicBezTo>
                  <a:pt x="1048533" y="48409"/>
                  <a:pt x="1043499" y="53249"/>
                  <a:pt x="1039239" y="59446"/>
                </a:cubicBezTo>
                <a:lnTo>
                  <a:pt x="1039239" y="41825"/>
                </a:lnTo>
                <a:lnTo>
                  <a:pt x="1027040" y="41825"/>
                </a:lnTo>
                <a:lnTo>
                  <a:pt x="1027040" y="150260"/>
                </a:lnTo>
                <a:close/>
                <a:moveTo>
                  <a:pt x="913570" y="88685"/>
                </a:moveTo>
                <a:cubicBezTo>
                  <a:pt x="914925" y="75130"/>
                  <a:pt x="918604" y="65061"/>
                  <a:pt x="924994" y="58284"/>
                </a:cubicBezTo>
                <a:cubicBezTo>
                  <a:pt x="931384" y="51700"/>
                  <a:pt x="939710" y="48409"/>
                  <a:pt x="950167" y="48409"/>
                </a:cubicBezTo>
                <a:cubicBezTo>
                  <a:pt x="956169" y="48409"/>
                  <a:pt x="961398" y="49377"/>
                  <a:pt x="965658" y="51313"/>
                </a:cubicBezTo>
                <a:cubicBezTo>
                  <a:pt x="969918" y="53249"/>
                  <a:pt x="973597" y="55960"/>
                  <a:pt x="976114" y="59639"/>
                </a:cubicBezTo>
                <a:cubicBezTo>
                  <a:pt x="978825" y="63318"/>
                  <a:pt x="980761" y="67385"/>
                  <a:pt x="981923" y="72419"/>
                </a:cubicBezTo>
                <a:cubicBezTo>
                  <a:pt x="983278" y="77260"/>
                  <a:pt x="983859" y="82682"/>
                  <a:pt x="983859" y="88685"/>
                </a:cubicBezTo>
                <a:lnTo>
                  <a:pt x="913570" y="88685"/>
                </a:lnTo>
                <a:close/>
                <a:moveTo>
                  <a:pt x="983085" y="121990"/>
                </a:moveTo>
                <a:cubicBezTo>
                  <a:pt x="982310" y="125281"/>
                  <a:pt x="981148" y="128186"/>
                  <a:pt x="979599" y="130703"/>
                </a:cubicBezTo>
                <a:cubicBezTo>
                  <a:pt x="978050" y="133220"/>
                  <a:pt x="976114" y="135544"/>
                  <a:pt x="973597" y="137480"/>
                </a:cubicBezTo>
                <a:cubicBezTo>
                  <a:pt x="971079" y="139417"/>
                  <a:pt x="967981" y="140966"/>
                  <a:pt x="964109" y="141934"/>
                </a:cubicBezTo>
                <a:cubicBezTo>
                  <a:pt x="960236" y="142902"/>
                  <a:pt x="955589" y="143483"/>
                  <a:pt x="950167" y="143483"/>
                </a:cubicBezTo>
                <a:cubicBezTo>
                  <a:pt x="944164" y="143483"/>
                  <a:pt x="938742" y="142321"/>
                  <a:pt x="934095" y="139998"/>
                </a:cubicBezTo>
                <a:cubicBezTo>
                  <a:pt x="929448" y="137674"/>
                  <a:pt x="925575" y="134576"/>
                  <a:pt x="922477" y="130510"/>
                </a:cubicBezTo>
                <a:cubicBezTo>
                  <a:pt x="919379" y="126443"/>
                  <a:pt x="917055" y="121796"/>
                  <a:pt x="915506" y="116374"/>
                </a:cubicBezTo>
                <a:cubicBezTo>
                  <a:pt x="913957" y="110953"/>
                  <a:pt x="913183" y="105143"/>
                  <a:pt x="913183" y="98947"/>
                </a:cubicBezTo>
                <a:lnTo>
                  <a:pt x="996639" y="98947"/>
                </a:lnTo>
                <a:lnTo>
                  <a:pt x="996639" y="91202"/>
                </a:lnTo>
                <a:cubicBezTo>
                  <a:pt x="996639" y="83844"/>
                  <a:pt x="995865" y="76873"/>
                  <a:pt x="994122" y="70289"/>
                </a:cubicBezTo>
                <a:cubicBezTo>
                  <a:pt x="992379" y="63899"/>
                  <a:pt x="989668" y="58284"/>
                  <a:pt x="985989" y="53637"/>
                </a:cubicBezTo>
                <a:cubicBezTo>
                  <a:pt x="982310" y="48990"/>
                  <a:pt x="977469" y="45310"/>
                  <a:pt x="971660" y="42406"/>
                </a:cubicBezTo>
                <a:cubicBezTo>
                  <a:pt x="965851" y="39695"/>
                  <a:pt x="958687" y="38340"/>
                  <a:pt x="950167" y="38340"/>
                </a:cubicBezTo>
                <a:cubicBezTo>
                  <a:pt x="943002" y="38340"/>
                  <a:pt x="936419" y="39695"/>
                  <a:pt x="930416" y="42212"/>
                </a:cubicBezTo>
                <a:cubicBezTo>
                  <a:pt x="924413" y="44730"/>
                  <a:pt x="919185" y="48409"/>
                  <a:pt x="914925" y="53443"/>
                </a:cubicBezTo>
                <a:cubicBezTo>
                  <a:pt x="910472" y="58478"/>
                  <a:pt x="906986" y="64480"/>
                  <a:pt x="904663" y="71838"/>
                </a:cubicBezTo>
                <a:cubicBezTo>
                  <a:pt x="902145" y="79196"/>
                  <a:pt x="900983" y="87523"/>
                  <a:pt x="900983" y="97011"/>
                </a:cubicBezTo>
                <a:cubicBezTo>
                  <a:pt x="900983" y="114632"/>
                  <a:pt x="905243" y="128380"/>
                  <a:pt x="913957" y="138449"/>
                </a:cubicBezTo>
                <a:cubicBezTo>
                  <a:pt x="922671" y="148518"/>
                  <a:pt x="934676" y="153552"/>
                  <a:pt x="950167" y="153552"/>
                </a:cubicBezTo>
                <a:cubicBezTo>
                  <a:pt x="963721" y="153552"/>
                  <a:pt x="973984" y="150648"/>
                  <a:pt x="981342" y="144645"/>
                </a:cubicBezTo>
                <a:cubicBezTo>
                  <a:pt x="988700" y="138836"/>
                  <a:pt x="993154" y="131090"/>
                  <a:pt x="994896" y="121602"/>
                </a:cubicBezTo>
                <a:lnTo>
                  <a:pt x="983085" y="121602"/>
                </a:lnTo>
                <a:close/>
                <a:moveTo>
                  <a:pt x="858771" y="95849"/>
                </a:moveTo>
                <a:cubicBezTo>
                  <a:pt x="858771" y="104369"/>
                  <a:pt x="857416" y="111533"/>
                  <a:pt x="854898" y="117149"/>
                </a:cubicBezTo>
                <a:cubicBezTo>
                  <a:pt x="852381" y="122764"/>
                  <a:pt x="848508" y="127411"/>
                  <a:pt x="843668" y="131090"/>
                </a:cubicBezTo>
                <a:cubicBezTo>
                  <a:pt x="839988" y="133608"/>
                  <a:pt x="836503" y="135350"/>
                  <a:pt x="833405" y="136319"/>
                </a:cubicBezTo>
                <a:cubicBezTo>
                  <a:pt x="830113" y="137287"/>
                  <a:pt x="826240" y="137868"/>
                  <a:pt x="821593" y="137868"/>
                </a:cubicBezTo>
                <a:cubicBezTo>
                  <a:pt x="817333" y="137868"/>
                  <a:pt x="813267" y="137093"/>
                  <a:pt x="809201" y="135544"/>
                </a:cubicBezTo>
                <a:cubicBezTo>
                  <a:pt x="805134" y="133995"/>
                  <a:pt x="801455" y="131478"/>
                  <a:pt x="798163" y="127992"/>
                </a:cubicBezTo>
                <a:cubicBezTo>
                  <a:pt x="794872" y="124507"/>
                  <a:pt x="792354" y="120053"/>
                  <a:pt x="790224" y="114438"/>
                </a:cubicBezTo>
                <a:cubicBezTo>
                  <a:pt x="788094" y="108823"/>
                  <a:pt x="787126" y="102045"/>
                  <a:pt x="787126" y="93913"/>
                </a:cubicBezTo>
                <a:cubicBezTo>
                  <a:pt x="787126" y="85974"/>
                  <a:pt x="788094" y="79003"/>
                  <a:pt x="789837" y="73387"/>
                </a:cubicBezTo>
                <a:cubicBezTo>
                  <a:pt x="791580" y="67772"/>
                  <a:pt x="794097" y="63125"/>
                  <a:pt x="797389" y="59446"/>
                </a:cubicBezTo>
                <a:cubicBezTo>
                  <a:pt x="800681" y="55767"/>
                  <a:pt x="804360" y="53056"/>
                  <a:pt x="808813" y="51507"/>
                </a:cubicBezTo>
                <a:cubicBezTo>
                  <a:pt x="813073" y="49764"/>
                  <a:pt x="817914" y="48990"/>
                  <a:pt x="823142" y="48990"/>
                </a:cubicBezTo>
                <a:cubicBezTo>
                  <a:pt x="827402" y="48990"/>
                  <a:pt x="831081" y="49570"/>
                  <a:pt x="834373" y="50732"/>
                </a:cubicBezTo>
                <a:cubicBezTo>
                  <a:pt x="837665" y="51894"/>
                  <a:pt x="840957" y="53637"/>
                  <a:pt x="844442" y="56154"/>
                </a:cubicBezTo>
                <a:cubicBezTo>
                  <a:pt x="846959" y="58090"/>
                  <a:pt x="849089" y="60220"/>
                  <a:pt x="851026" y="62157"/>
                </a:cubicBezTo>
                <a:cubicBezTo>
                  <a:pt x="852768" y="64287"/>
                  <a:pt x="854317" y="66610"/>
                  <a:pt x="855479" y="69515"/>
                </a:cubicBezTo>
                <a:cubicBezTo>
                  <a:pt x="856641" y="72226"/>
                  <a:pt x="857416" y="75324"/>
                  <a:pt x="857997" y="79003"/>
                </a:cubicBezTo>
                <a:cubicBezTo>
                  <a:pt x="858577" y="82682"/>
                  <a:pt x="858771" y="86748"/>
                  <a:pt x="858771" y="91783"/>
                </a:cubicBezTo>
                <a:lnTo>
                  <a:pt x="858771" y="95849"/>
                </a:lnTo>
                <a:close/>
                <a:moveTo>
                  <a:pt x="778219" y="162072"/>
                </a:moveTo>
                <a:cubicBezTo>
                  <a:pt x="778993" y="167881"/>
                  <a:pt x="780543" y="172722"/>
                  <a:pt x="783060" y="176788"/>
                </a:cubicBezTo>
                <a:cubicBezTo>
                  <a:pt x="785577" y="180855"/>
                  <a:pt x="788869" y="183953"/>
                  <a:pt x="792935" y="186470"/>
                </a:cubicBezTo>
                <a:cubicBezTo>
                  <a:pt x="797002" y="188987"/>
                  <a:pt x="801649" y="190730"/>
                  <a:pt x="806877" y="191892"/>
                </a:cubicBezTo>
                <a:cubicBezTo>
                  <a:pt x="812105" y="193054"/>
                  <a:pt x="817914" y="193634"/>
                  <a:pt x="824110" y="193634"/>
                </a:cubicBezTo>
                <a:cubicBezTo>
                  <a:pt x="840182" y="193634"/>
                  <a:pt x="851994" y="189374"/>
                  <a:pt x="859546" y="181048"/>
                </a:cubicBezTo>
                <a:cubicBezTo>
                  <a:pt x="867097" y="172722"/>
                  <a:pt x="870776" y="161104"/>
                  <a:pt x="870776" y="146581"/>
                </a:cubicBezTo>
                <a:lnTo>
                  <a:pt x="870776" y="41825"/>
                </a:lnTo>
                <a:lnTo>
                  <a:pt x="858577" y="41825"/>
                </a:lnTo>
                <a:lnTo>
                  <a:pt x="858577" y="56735"/>
                </a:lnTo>
                <a:cubicBezTo>
                  <a:pt x="853349" y="49764"/>
                  <a:pt x="847734" y="45117"/>
                  <a:pt x="841538" y="42600"/>
                </a:cubicBezTo>
                <a:cubicBezTo>
                  <a:pt x="835341" y="40082"/>
                  <a:pt x="829339" y="38727"/>
                  <a:pt x="823142" y="38727"/>
                </a:cubicBezTo>
                <a:cubicBezTo>
                  <a:pt x="815590" y="38727"/>
                  <a:pt x="808813" y="40082"/>
                  <a:pt x="802617" y="42793"/>
                </a:cubicBezTo>
                <a:cubicBezTo>
                  <a:pt x="796614" y="45504"/>
                  <a:pt x="791386" y="49183"/>
                  <a:pt x="787320" y="54024"/>
                </a:cubicBezTo>
                <a:cubicBezTo>
                  <a:pt x="783060" y="58865"/>
                  <a:pt x="779962" y="64674"/>
                  <a:pt x="777638" y="71645"/>
                </a:cubicBezTo>
                <a:cubicBezTo>
                  <a:pt x="775314" y="78616"/>
                  <a:pt x="774346" y="86167"/>
                  <a:pt x="774346" y="94687"/>
                </a:cubicBezTo>
                <a:cubicBezTo>
                  <a:pt x="774346" y="101658"/>
                  <a:pt x="775314" y="108435"/>
                  <a:pt x="777057" y="115019"/>
                </a:cubicBezTo>
                <a:cubicBezTo>
                  <a:pt x="778800" y="121602"/>
                  <a:pt x="781704" y="127411"/>
                  <a:pt x="785383" y="132446"/>
                </a:cubicBezTo>
                <a:cubicBezTo>
                  <a:pt x="789256" y="137480"/>
                  <a:pt x="794097" y="141547"/>
                  <a:pt x="799906" y="144645"/>
                </a:cubicBezTo>
                <a:cubicBezTo>
                  <a:pt x="805715" y="147743"/>
                  <a:pt x="812686" y="149098"/>
                  <a:pt x="820819" y="149098"/>
                </a:cubicBezTo>
                <a:cubicBezTo>
                  <a:pt x="829145" y="149098"/>
                  <a:pt x="836503" y="147356"/>
                  <a:pt x="842699" y="143870"/>
                </a:cubicBezTo>
                <a:cubicBezTo>
                  <a:pt x="848702" y="140385"/>
                  <a:pt x="854124" y="135544"/>
                  <a:pt x="858577" y="129154"/>
                </a:cubicBezTo>
                <a:lnTo>
                  <a:pt x="858577" y="145419"/>
                </a:lnTo>
                <a:cubicBezTo>
                  <a:pt x="858577" y="159167"/>
                  <a:pt x="855867" y="169043"/>
                  <a:pt x="850251" y="174852"/>
                </a:cubicBezTo>
                <a:cubicBezTo>
                  <a:pt x="844636" y="180661"/>
                  <a:pt x="835922" y="183565"/>
                  <a:pt x="823917" y="183565"/>
                </a:cubicBezTo>
                <a:cubicBezTo>
                  <a:pt x="813267" y="183565"/>
                  <a:pt x="805328" y="181823"/>
                  <a:pt x="800100" y="178337"/>
                </a:cubicBezTo>
                <a:cubicBezTo>
                  <a:pt x="794872" y="174852"/>
                  <a:pt x="791580" y="169624"/>
                  <a:pt x="790031" y="162459"/>
                </a:cubicBezTo>
                <a:lnTo>
                  <a:pt x="778219" y="162459"/>
                </a:lnTo>
                <a:close/>
                <a:moveTo>
                  <a:pt x="705799" y="150260"/>
                </a:moveTo>
                <a:lnTo>
                  <a:pt x="717998" y="150260"/>
                </a:lnTo>
                <a:lnTo>
                  <a:pt x="717998" y="85006"/>
                </a:lnTo>
                <a:cubicBezTo>
                  <a:pt x="717998" y="79584"/>
                  <a:pt x="718967" y="74743"/>
                  <a:pt x="721097" y="70870"/>
                </a:cubicBezTo>
                <a:cubicBezTo>
                  <a:pt x="723227" y="66804"/>
                  <a:pt x="725937" y="63512"/>
                  <a:pt x="729036" y="60608"/>
                </a:cubicBezTo>
                <a:cubicBezTo>
                  <a:pt x="732327" y="57316"/>
                  <a:pt x="736007" y="55186"/>
                  <a:pt x="739686" y="53830"/>
                </a:cubicBezTo>
                <a:cubicBezTo>
                  <a:pt x="743558" y="52475"/>
                  <a:pt x="747237" y="51894"/>
                  <a:pt x="750916" y="51894"/>
                </a:cubicBezTo>
                <a:cubicBezTo>
                  <a:pt x="753046" y="51894"/>
                  <a:pt x="755370" y="52088"/>
                  <a:pt x="757887" y="52475"/>
                </a:cubicBezTo>
                <a:lnTo>
                  <a:pt x="759436" y="40857"/>
                </a:lnTo>
                <a:cubicBezTo>
                  <a:pt x="757887" y="40663"/>
                  <a:pt x="756532" y="40470"/>
                  <a:pt x="755176" y="40276"/>
                </a:cubicBezTo>
                <a:cubicBezTo>
                  <a:pt x="753821" y="40276"/>
                  <a:pt x="752465" y="40082"/>
                  <a:pt x="750916" y="40082"/>
                </a:cubicBezTo>
                <a:cubicBezTo>
                  <a:pt x="744526" y="40082"/>
                  <a:pt x="738717" y="41825"/>
                  <a:pt x="733102" y="45117"/>
                </a:cubicBezTo>
                <a:cubicBezTo>
                  <a:pt x="727487" y="48409"/>
                  <a:pt x="722452" y="53249"/>
                  <a:pt x="718192" y="59446"/>
                </a:cubicBezTo>
                <a:lnTo>
                  <a:pt x="718192" y="41825"/>
                </a:lnTo>
                <a:lnTo>
                  <a:pt x="705993" y="41825"/>
                </a:lnTo>
                <a:lnTo>
                  <a:pt x="705993" y="150260"/>
                </a:lnTo>
                <a:close/>
                <a:moveTo>
                  <a:pt x="585358" y="114051"/>
                </a:moveTo>
                <a:cubicBezTo>
                  <a:pt x="585358" y="127024"/>
                  <a:pt x="588069" y="136706"/>
                  <a:pt x="593298" y="143483"/>
                </a:cubicBezTo>
                <a:cubicBezTo>
                  <a:pt x="598719" y="150260"/>
                  <a:pt x="607433" y="153552"/>
                  <a:pt x="619826" y="153552"/>
                </a:cubicBezTo>
                <a:cubicBezTo>
                  <a:pt x="634735" y="153552"/>
                  <a:pt x="647903" y="146581"/>
                  <a:pt x="659133" y="132446"/>
                </a:cubicBezTo>
                <a:lnTo>
                  <a:pt x="659133" y="150067"/>
                </a:lnTo>
                <a:lnTo>
                  <a:pt x="671332" y="150067"/>
                </a:lnTo>
                <a:lnTo>
                  <a:pt x="671332" y="41631"/>
                </a:lnTo>
                <a:lnTo>
                  <a:pt x="659133" y="41631"/>
                </a:lnTo>
                <a:lnTo>
                  <a:pt x="659133" y="105143"/>
                </a:lnTo>
                <a:cubicBezTo>
                  <a:pt x="659133" y="111921"/>
                  <a:pt x="658165" y="117149"/>
                  <a:pt x="656035" y="121021"/>
                </a:cubicBezTo>
                <a:cubicBezTo>
                  <a:pt x="653905" y="124894"/>
                  <a:pt x="650807" y="128573"/>
                  <a:pt x="646741" y="132252"/>
                </a:cubicBezTo>
                <a:cubicBezTo>
                  <a:pt x="642868" y="135544"/>
                  <a:pt x="638608" y="138061"/>
                  <a:pt x="634348" y="139804"/>
                </a:cubicBezTo>
                <a:cubicBezTo>
                  <a:pt x="630088" y="141547"/>
                  <a:pt x="625635" y="142321"/>
                  <a:pt x="621375" y="142321"/>
                </a:cubicBezTo>
                <a:cubicBezTo>
                  <a:pt x="612661" y="142321"/>
                  <a:pt x="606465" y="139804"/>
                  <a:pt x="602979" y="134770"/>
                </a:cubicBezTo>
                <a:cubicBezTo>
                  <a:pt x="599300" y="129735"/>
                  <a:pt x="597558" y="121602"/>
                  <a:pt x="597558" y="110178"/>
                </a:cubicBezTo>
                <a:lnTo>
                  <a:pt x="597558" y="41825"/>
                </a:lnTo>
                <a:lnTo>
                  <a:pt x="585358" y="41825"/>
                </a:lnTo>
                <a:lnTo>
                  <a:pt x="585358" y="114051"/>
                </a:lnTo>
                <a:close/>
                <a:moveTo>
                  <a:pt x="470920" y="91008"/>
                </a:moveTo>
                <a:cubicBezTo>
                  <a:pt x="470920" y="82488"/>
                  <a:pt x="472276" y="75324"/>
                  <a:pt x="474987" y="69902"/>
                </a:cubicBezTo>
                <a:cubicBezTo>
                  <a:pt x="477697" y="64287"/>
                  <a:pt x="481570" y="59833"/>
                  <a:pt x="486411" y="56154"/>
                </a:cubicBezTo>
                <a:cubicBezTo>
                  <a:pt x="489896" y="53443"/>
                  <a:pt x="493382" y="51700"/>
                  <a:pt x="496867" y="50732"/>
                </a:cubicBezTo>
                <a:cubicBezTo>
                  <a:pt x="500353" y="49764"/>
                  <a:pt x="504225" y="49183"/>
                  <a:pt x="508679" y="49183"/>
                </a:cubicBezTo>
                <a:cubicBezTo>
                  <a:pt x="512552" y="49183"/>
                  <a:pt x="516618" y="49958"/>
                  <a:pt x="520684" y="51313"/>
                </a:cubicBezTo>
                <a:cubicBezTo>
                  <a:pt x="524751" y="52862"/>
                  <a:pt x="528430" y="55379"/>
                  <a:pt x="531722" y="58865"/>
                </a:cubicBezTo>
                <a:cubicBezTo>
                  <a:pt x="535013" y="62350"/>
                  <a:pt x="537531" y="67191"/>
                  <a:pt x="539661" y="73000"/>
                </a:cubicBezTo>
                <a:cubicBezTo>
                  <a:pt x="541791" y="78809"/>
                  <a:pt x="542759" y="86167"/>
                  <a:pt x="542759" y="95074"/>
                </a:cubicBezTo>
                <a:cubicBezTo>
                  <a:pt x="542759" y="103788"/>
                  <a:pt x="541791" y="111146"/>
                  <a:pt x="540048" y="117342"/>
                </a:cubicBezTo>
                <a:cubicBezTo>
                  <a:pt x="538305" y="123539"/>
                  <a:pt x="535788" y="128380"/>
                  <a:pt x="532496" y="132252"/>
                </a:cubicBezTo>
                <a:cubicBezTo>
                  <a:pt x="529398" y="136125"/>
                  <a:pt x="525525" y="138836"/>
                  <a:pt x="521265" y="140579"/>
                </a:cubicBezTo>
                <a:cubicBezTo>
                  <a:pt x="517005" y="142321"/>
                  <a:pt x="512164" y="143289"/>
                  <a:pt x="506936" y="143289"/>
                </a:cubicBezTo>
                <a:cubicBezTo>
                  <a:pt x="502676" y="143289"/>
                  <a:pt x="498804" y="142709"/>
                  <a:pt x="495318" y="141547"/>
                </a:cubicBezTo>
                <a:cubicBezTo>
                  <a:pt x="492026" y="140385"/>
                  <a:pt x="488735" y="138642"/>
                  <a:pt x="485443" y="136125"/>
                </a:cubicBezTo>
                <a:cubicBezTo>
                  <a:pt x="482732" y="134382"/>
                  <a:pt x="480602" y="132252"/>
                  <a:pt x="478666" y="130122"/>
                </a:cubicBezTo>
                <a:cubicBezTo>
                  <a:pt x="476923" y="127992"/>
                  <a:pt x="475374" y="125475"/>
                  <a:pt x="474212" y="122571"/>
                </a:cubicBezTo>
                <a:cubicBezTo>
                  <a:pt x="473050" y="119860"/>
                  <a:pt x="472276" y="116568"/>
                  <a:pt x="471695" y="113082"/>
                </a:cubicBezTo>
                <a:cubicBezTo>
                  <a:pt x="471114" y="109403"/>
                  <a:pt x="470920" y="105337"/>
                  <a:pt x="470920" y="100496"/>
                </a:cubicBezTo>
                <a:lnTo>
                  <a:pt x="470920" y="91008"/>
                </a:lnTo>
                <a:close/>
                <a:moveTo>
                  <a:pt x="459109" y="150260"/>
                </a:moveTo>
                <a:lnTo>
                  <a:pt x="471307" y="150260"/>
                </a:lnTo>
                <a:lnTo>
                  <a:pt x="471307" y="135544"/>
                </a:lnTo>
                <a:cubicBezTo>
                  <a:pt x="476342" y="142321"/>
                  <a:pt x="481957" y="146969"/>
                  <a:pt x="487960" y="149679"/>
                </a:cubicBezTo>
                <a:cubicBezTo>
                  <a:pt x="494156" y="152390"/>
                  <a:pt x="500353" y="153746"/>
                  <a:pt x="506936" y="153746"/>
                </a:cubicBezTo>
                <a:cubicBezTo>
                  <a:pt x="514294" y="153746"/>
                  <a:pt x="521072" y="152390"/>
                  <a:pt x="527074" y="149679"/>
                </a:cubicBezTo>
                <a:cubicBezTo>
                  <a:pt x="533077" y="146969"/>
                  <a:pt x="538112" y="143096"/>
                  <a:pt x="542372" y="138061"/>
                </a:cubicBezTo>
                <a:cubicBezTo>
                  <a:pt x="546631" y="133027"/>
                  <a:pt x="549923" y="126831"/>
                  <a:pt x="552247" y="119666"/>
                </a:cubicBezTo>
                <a:cubicBezTo>
                  <a:pt x="554571" y="112502"/>
                  <a:pt x="555732" y="104175"/>
                  <a:pt x="555732" y="94881"/>
                </a:cubicBezTo>
                <a:cubicBezTo>
                  <a:pt x="555732" y="86942"/>
                  <a:pt x="554764" y="79390"/>
                  <a:pt x="552828" y="72613"/>
                </a:cubicBezTo>
                <a:cubicBezTo>
                  <a:pt x="550891" y="65642"/>
                  <a:pt x="547987" y="59833"/>
                  <a:pt x="544114" y="54799"/>
                </a:cubicBezTo>
                <a:cubicBezTo>
                  <a:pt x="540242" y="49764"/>
                  <a:pt x="535401" y="45698"/>
                  <a:pt x="529398" y="42987"/>
                </a:cubicBezTo>
                <a:cubicBezTo>
                  <a:pt x="523589" y="40082"/>
                  <a:pt x="516618" y="38727"/>
                  <a:pt x="508679" y="38727"/>
                </a:cubicBezTo>
                <a:cubicBezTo>
                  <a:pt x="500353" y="38727"/>
                  <a:pt x="493188" y="40470"/>
                  <a:pt x="487186" y="43955"/>
                </a:cubicBezTo>
                <a:cubicBezTo>
                  <a:pt x="481377" y="47440"/>
                  <a:pt x="475955" y="52281"/>
                  <a:pt x="470920" y="58284"/>
                </a:cubicBezTo>
                <a:lnTo>
                  <a:pt x="470920" y="194"/>
                </a:lnTo>
                <a:lnTo>
                  <a:pt x="458721" y="194"/>
                </a:lnTo>
                <a:lnTo>
                  <a:pt x="458721" y="150260"/>
                </a:lnTo>
                <a:close/>
                <a:moveTo>
                  <a:pt x="274768" y="150260"/>
                </a:moveTo>
                <a:lnTo>
                  <a:pt x="286967" y="150260"/>
                </a:lnTo>
                <a:lnTo>
                  <a:pt x="286967" y="86167"/>
                </a:lnTo>
                <a:cubicBezTo>
                  <a:pt x="286967" y="82488"/>
                  <a:pt x="287354" y="79196"/>
                  <a:pt x="288129" y="76486"/>
                </a:cubicBezTo>
                <a:cubicBezTo>
                  <a:pt x="288903" y="73775"/>
                  <a:pt x="289872" y="71257"/>
                  <a:pt x="291033" y="69127"/>
                </a:cubicBezTo>
                <a:cubicBezTo>
                  <a:pt x="292195" y="66998"/>
                  <a:pt x="293551" y="65255"/>
                  <a:pt x="294906" y="63706"/>
                </a:cubicBezTo>
                <a:cubicBezTo>
                  <a:pt x="296455" y="62157"/>
                  <a:pt x="297811" y="60801"/>
                  <a:pt x="298972" y="59639"/>
                </a:cubicBezTo>
                <a:cubicBezTo>
                  <a:pt x="302651" y="56348"/>
                  <a:pt x="306331" y="53830"/>
                  <a:pt x="310010" y="52088"/>
                </a:cubicBezTo>
                <a:cubicBezTo>
                  <a:pt x="313689" y="50345"/>
                  <a:pt x="317755" y="49377"/>
                  <a:pt x="321821" y="49377"/>
                </a:cubicBezTo>
                <a:cubicBezTo>
                  <a:pt x="329179" y="49377"/>
                  <a:pt x="334795" y="51507"/>
                  <a:pt x="338474" y="55960"/>
                </a:cubicBezTo>
                <a:cubicBezTo>
                  <a:pt x="342153" y="60414"/>
                  <a:pt x="343896" y="67772"/>
                  <a:pt x="343896" y="78422"/>
                </a:cubicBezTo>
                <a:lnTo>
                  <a:pt x="343896" y="150260"/>
                </a:lnTo>
                <a:lnTo>
                  <a:pt x="356095" y="150260"/>
                </a:lnTo>
                <a:lnTo>
                  <a:pt x="356095" y="80939"/>
                </a:lnTo>
                <a:cubicBezTo>
                  <a:pt x="356095" y="75905"/>
                  <a:pt x="357257" y="71451"/>
                  <a:pt x="359387" y="67578"/>
                </a:cubicBezTo>
                <a:cubicBezTo>
                  <a:pt x="361516" y="63706"/>
                  <a:pt x="364421" y="60608"/>
                  <a:pt x="367713" y="57897"/>
                </a:cubicBezTo>
                <a:cubicBezTo>
                  <a:pt x="371585" y="54605"/>
                  <a:pt x="375458" y="52475"/>
                  <a:pt x="379525" y="51313"/>
                </a:cubicBezTo>
                <a:cubicBezTo>
                  <a:pt x="383591" y="50151"/>
                  <a:pt x="387270" y="49570"/>
                  <a:pt x="390562" y="49570"/>
                </a:cubicBezTo>
                <a:cubicBezTo>
                  <a:pt x="394434" y="49570"/>
                  <a:pt x="397726" y="49958"/>
                  <a:pt x="400437" y="50926"/>
                </a:cubicBezTo>
                <a:cubicBezTo>
                  <a:pt x="403148" y="51894"/>
                  <a:pt x="405665" y="53443"/>
                  <a:pt x="407408" y="55573"/>
                </a:cubicBezTo>
                <a:cubicBezTo>
                  <a:pt x="409344" y="57897"/>
                  <a:pt x="410700" y="60801"/>
                  <a:pt x="411668" y="64480"/>
                </a:cubicBezTo>
                <a:cubicBezTo>
                  <a:pt x="412636" y="68159"/>
                  <a:pt x="413023" y="72807"/>
                  <a:pt x="413023" y="78422"/>
                </a:cubicBezTo>
                <a:lnTo>
                  <a:pt x="413023" y="150454"/>
                </a:lnTo>
                <a:lnTo>
                  <a:pt x="425222" y="150454"/>
                </a:lnTo>
                <a:lnTo>
                  <a:pt x="425222" y="73968"/>
                </a:lnTo>
                <a:cubicBezTo>
                  <a:pt x="425222" y="61576"/>
                  <a:pt x="422318" y="52669"/>
                  <a:pt x="416315" y="47053"/>
                </a:cubicBezTo>
                <a:cubicBezTo>
                  <a:pt x="410506" y="41438"/>
                  <a:pt x="402180" y="38533"/>
                  <a:pt x="391917" y="38533"/>
                </a:cubicBezTo>
                <a:cubicBezTo>
                  <a:pt x="384365" y="38533"/>
                  <a:pt x="377201" y="40470"/>
                  <a:pt x="370617" y="44149"/>
                </a:cubicBezTo>
                <a:cubicBezTo>
                  <a:pt x="364034" y="47828"/>
                  <a:pt x="358225" y="53056"/>
                  <a:pt x="353384" y="59833"/>
                </a:cubicBezTo>
                <a:cubicBezTo>
                  <a:pt x="351060" y="53056"/>
                  <a:pt x="347381" y="47828"/>
                  <a:pt x="342347" y="44149"/>
                </a:cubicBezTo>
                <a:cubicBezTo>
                  <a:pt x="337312" y="40470"/>
                  <a:pt x="330729" y="38533"/>
                  <a:pt x="322402" y="38533"/>
                </a:cubicBezTo>
                <a:cubicBezTo>
                  <a:pt x="316012" y="38533"/>
                  <a:pt x="309816" y="40276"/>
                  <a:pt x="303813" y="43761"/>
                </a:cubicBezTo>
                <a:cubicBezTo>
                  <a:pt x="297617" y="47247"/>
                  <a:pt x="292002" y="52669"/>
                  <a:pt x="286580" y="59833"/>
                </a:cubicBezTo>
                <a:lnTo>
                  <a:pt x="286580" y="42019"/>
                </a:lnTo>
                <a:lnTo>
                  <a:pt x="274381" y="42019"/>
                </a:lnTo>
                <a:lnTo>
                  <a:pt x="274381" y="150260"/>
                </a:lnTo>
                <a:close/>
                <a:moveTo>
                  <a:pt x="214935" y="149679"/>
                </a:moveTo>
                <a:cubicBezTo>
                  <a:pt x="221325" y="146969"/>
                  <a:pt x="226747" y="143096"/>
                  <a:pt x="231200" y="137868"/>
                </a:cubicBezTo>
                <a:cubicBezTo>
                  <a:pt x="235654" y="132833"/>
                  <a:pt x="238946" y="126637"/>
                  <a:pt x="241463" y="119472"/>
                </a:cubicBezTo>
                <a:cubicBezTo>
                  <a:pt x="243786" y="112308"/>
                  <a:pt x="245142" y="104369"/>
                  <a:pt x="245142" y="95462"/>
                </a:cubicBezTo>
                <a:cubicBezTo>
                  <a:pt x="245142" y="86942"/>
                  <a:pt x="243980" y="79196"/>
                  <a:pt x="241656" y="72032"/>
                </a:cubicBezTo>
                <a:cubicBezTo>
                  <a:pt x="239333" y="65061"/>
                  <a:pt x="236041" y="59058"/>
                  <a:pt x="231587" y="54024"/>
                </a:cubicBezTo>
                <a:cubicBezTo>
                  <a:pt x="227327" y="48990"/>
                  <a:pt x="221906" y="45310"/>
                  <a:pt x="215516" y="42600"/>
                </a:cubicBezTo>
                <a:cubicBezTo>
                  <a:pt x="209126" y="39889"/>
                  <a:pt x="202155" y="38533"/>
                  <a:pt x="194216" y="38533"/>
                </a:cubicBezTo>
                <a:cubicBezTo>
                  <a:pt x="186277" y="38533"/>
                  <a:pt x="179306" y="39889"/>
                  <a:pt x="172916" y="42600"/>
                </a:cubicBezTo>
                <a:cubicBezTo>
                  <a:pt x="166526" y="45310"/>
                  <a:pt x="161298" y="49183"/>
                  <a:pt x="156844" y="54218"/>
                </a:cubicBezTo>
                <a:cubicBezTo>
                  <a:pt x="152391" y="59252"/>
                  <a:pt x="148905" y="65448"/>
                  <a:pt x="146582" y="72613"/>
                </a:cubicBezTo>
                <a:cubicBezTo>
                  <a:pt x="144064" y="79777"/>
                  <a:pt x="142903" y="87716"/>
                  <a:pt x="142903" y="96624"/>
                </a:cubicBezTo>
                <a:cubicBezTo>
                  <a:pt x="142903" y="105337"/>
                  <a:pt x="144064" y="113276"/>
                  <a:pt x="146388" y="120247"/>
                </a:cubicBezTo>
                <a:cubicBezTo>
                  <a:pt x="148712" y="127218"/>
                  <a:pt x="152003" y="133220"/>
                  <a:pt x="156263" y="138255"/>
                </a:cubicBezTo>
                <a:cubicBezTo>
                  <a:pt x="160523" y="143289"/>
                  <a:pt x="165752" y="147162"/>
                  <a:pt x="171948" y="149679"/>
                </a:cubicBezTo>
                <a:cubicBezTo>
                  <a:pt x="178144" y="152390"/>
                  <a:pt x="185309" y="153746"/>
                  <a:pt x="193248" y="153746"/>
                </a:cubicBezTo>
                <a:cubicBezTo>
                  <a:pt x="201380" y="153746"/>
                  <a:pt x="208545" y="152390"/>
                  <a:pt x="214935" y="149679"/>
                </a:cubicBezTo>
                <a:moveTo>
                  <a:pt x="176401" y="139417"/>
                </a:moveTo>
                <a:cubicBezTo>
                  <a:pt x="171561" y="136900"/>
                  <a:pt x="167688" y="133608"/>
                  <a:pt x="164590" y="129348"/>
                </a:cubicBezTo>
                <a:cubicBezTo>
                  <a:pt x="161492" y="125088"/>
                  <a:pt x="159362" y="120247"/>
                  <a:pt x="158006" y="114438"/>
                </a:cubicBezTo>
                <a:cubicBezTo>
                  <a:pt x="156651" y="108629"/>
                  <a:pt x="155876" y="102433"/>
                  <a:pt x="155876" y="95849"/>
                </a:cubicBezTo>
                <a:cubicBezTo>
                  <a:pt x="155876" y="89265"/>
                  <a:pt x="156651" y="83069"/>
                  <a:pt x="158006" y="77454"/>
                </a:cubicBezTo>
                <a:cubicBezTo>
                  <a:pt x="159362" y="71838"/>
                  <a:pt x="161685" y="66804"/>
                  <a:pt x="164590" y="62544"/>
                </a:cubicBezTo>
                <a:cubicBezTo>
                  <a:pt x="167688" y="58284"/>
                  <a:pt x="171561" y="54992"/>
                  <a:pt x="176401" y="52475"/>
                </a:cubicBezTo>
                <a:cubicBezTo>
                  <a:pt x="181242" y="49958"/>
                  <a:pt x="187051" y="48796"/>
                  <a:pt x="193829" y="48796"/>
                </a:cubicBezTo>
                <a:cubicBezTo>
                  <a:pt x="200799" y="48796"/>
                  <a:pt x="206609" y="49958"/>
                  <a:pt x="211256" y="52475"/>
                </a:cubicBezTo>
                <a:cubicBezTo>
                  <a:pt x="216097" y="54992"/>
                  <a:pt x="219969" y="58284"/>
                  <a:pt x="223067" y="62544"/>
                </a:cubicBezTo>
                <a:cubicBezTo>
                  <a:pt x="226166" y="66804"/>
                  <a:pt x="228296" y="71645"/>
                  <a:pt x="229845" y="77454"/>
                </a:cubicBezTo>
                <a:cubicBezTo>
                  <a:pt x="231200" y="83069"/>
                  <a:pt x="231975" y="89265"/>
                  <a:pt x="231975" y="95655"/>
                </a:cubicBezTo>
                <a:cubicBezTo>
                  <a:pt x="231975" y="102433"/>
                  <a:pt x="231200" y="108629"/>
                  <a:pt x="229845" y="114438"/>
                </a:cubicBezTo>
                <a:cubicBezTo>
                  <a:pt x="228489" y="120247"/>
                  <a:pt x="226166" y="125088"/>
                  <a:pt x="223067" y="129348"/>
                </a:cubicBezTo>
                <a:cubicBezTo>
                  <a:pt x="219969" y="133608"/>
                  <a:pt x="216097" y="136900"/>
                  <a:pt x="211256" y="139417"/>
                </a:cubicBezTo>
                <a:cubicBezTo>
                  <a:pt x="206415" y="141934"/>
                  <a:pt x="200606" y="143096"/>
                  <a:pt x="193829" y="143096"/>
                </a:cubicBezTo>
                <a:cubicBezTo>
                  <a:pt x="187051" y="143096"/>
                  <a:pt x="181242" y="141934"/>
                  <a:pt x="176401" y="139417"/>
                </a:cubicBezTo>
                <a:moveTo>
                  <a:pt x="0" y="150260"/>
                </a:moveTo>
                <a:lnTo>
                  <a:pt x="12780" y="150260"/>
                </a:lnTo>
                <a:lnTo>
                  <a:pt x="12780" y="78616"/>
                </a:lnTo>
                <a:lnTo>
                  <a:pt x="97592" y="78616"/>
                </a:lnTo>
                <a:lnTo>
                  <a:pt x="97592" y="150454"/>
                </a:lnTo>
                <a:lnTo>
                  <a:pt x="110372" y="150454"/>
                </a:lnTo>
                <a:lnTo>
                  <a:pt x="110372" y="0"/>
                </a:lnTo>
                <a:lnTo>
                  <a:pt x="97592" y="0"/>
                </a:lnTo>
                <a:lnTo>
                  <a:pt x="97592" y="66610"/>
                </a:lnTo>
                <a:lnTo>
                  <a:pt x="12780" y="66610"/>
                </a:lnTo>
                <a:lnTo>
                  <a:pt x="12780" y="0"/>
                </a:lnTo>
                <a:lnTo>
                  <a:pt x="0" y="0"/>
                </a:lnTo>
                <a:lnTo>
                  <a:pt x="0" y="150260"/>
                </a:lnTo>
                <a:close/>
              </a:path>
            </a:pathLst>
          </a:custGeom>
          <a:solidFill>
            <a:schemeClr val="bg1"/>
          </a:solidFill>
          <a:ln w="1921" cap="flat">
            <a:noFill/>
            <a:prstDash val="solid"/>
            <a:miter/>
          </a:ln>
        </p:spPr>
        <p:txBody>
          <a:bodyPr rtlCol="0" anchor="ctr"/>
          <a:lstStyle/>
          <a:p>
            <a:endParaRPr lang="en-US" dirty="0"/>
          </a:p>
        </p:txBody>
      </p:sp>
      <p:sp>
        <p:nvSpPr>
          <p:cNvPr id="10" name="Textplatzhalter 16">
            <a:extLst>
              <a:ext uri="{FF2B5EF4-FFF2-40B4-BE49-F238E27FC236}">
                <a16:creationId xmlns:a16="http://schemas.microsoft.com/office/drawing/2014/main" id="{B392F854-D957-4C3C-BF11-141EB64F1DAC}"/>
              </a:ext>
            </a:extLst>
          </p:cNvPr>
          <p:cNvSpPr>
            <a:spLocks noGrp="1"/>
          </p:cNvSpPr>
          <p:nvPr>
            <p:ph type="body" sz="quarter" idx="21" hasCustomPrompt="1"/>
          </p:nvPr>
        </p:nvSpPr>
        <p:spPr>
          <a:xfrm>
            <a:off x="334963" y="5954042"/>
            <a:ext cx="5761038" cy="184666"/>
          </a:xfrm>
          <a:prstGeom prst="rect">
            <a:avLst/>
          </a:prstGeom>
        </p:spPr>
        <p:txBody>
          <a:bodyPr anchor="t" anchorCtr="0">
            <a:noAutofit/>
          </a:bodyPr>
          <a:lstStyle>
            <a:lvl1pPr marL="0" indent="0">
              <a:lnSpc>
                <a:spcPct val="100000"/>
              </a:lnSpc>
              <a:spcBef>
                <a:spcPts val="0"/>
              </a:spcBef>
              <a:spcAft>
                <a:spcPts val="0"/>
              </a:spcAft>
              <a:buFontTx/>
              <a:buNone/>
              <a:defRPr sz="1200" b="0">
                <a:solidFill>
                  <a:schemeClr val="bg1"/>
                </a:solidFill>
              </a:defRPr>
            </a:lvl1pPr>
          </a:lstStyle>
          <a:p>
            <a:pPr lvl="0"/>
            <a:r>
              <a:rPr lang="en-US" dirty="0"/>
              <a:t>Autor</a:t>
            </a:r>
          </a:p>
        </p:txBody>
      </p:sp>
    </p:spTree>
    <p:extLst>
      <p:ext uri="{BB962C8B-B14F-4D97-AF65-F5344CB8AC3E}">
        <p14:creationId xmlns:p14="http://schemas.microsoft.com/office/powerpoint/2010/main" val="849207464"/>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41" Type="http://schemas.openxmlformats.org/officeDocument/2006/relationships/image" Target="../media/image1.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theme" Target="../theme/theme2.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8" Type="http://schemas.openxmlformats.org/officeDocument/2006/relationships/slideLayout" Target="../slideLayouts/slideLayout25.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theme" Target="../theme/theme3.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4.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50" Type="http://schemas.openxmlformats.org/officeDocument/2006/relationships/slideLayout" Target="../slideLayouts/slideLayout146.xml"/><Relationship Id="rId55" Type="http://schemas.openxmlformats.org/officeDocument/2006/relationships/slideLayout" Target="../slideLayouts/slideLayout151.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3" Type="http://schemas.openxmlformats.org/officeDocument/2006/relationships/slideLayout" Target="../slideLayouts/slideLayout149.xml"/><Relationship Id="rId58" Type="http://schemas.openxmlformats.org/officeDocument/2006/relationships/slideLayout" Target="../slideLayouts/slideLayout154.xml"/><Relationship Id="rId5" Type="http://schemas.openxmlformats.org/officeDocument/2006/relationships/slideLayout" Target="../slideLayouts/slideLayout101.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slideLayout" Target="../slideLayouts/slideLayout144.xml"/><Relationship Id="rId56" Type="http://schemas.openxmlformats.org/officeDocument/2006/relationships/slideLayout" Target="../slideLayouts/slideLayout152.xml"/><Relationship Id="rId8" Type="http://schemas.openxmlformats.org/officeDocument/2006/relationships/slideLayout" Target="../slideLayouts/slideLayout104.xml"/><Relationship Id="rId51" Type="http://schemas.openxmlformats.org/officeDocument/2006/relationships/slideLayout" Target="../slideLayouts/slideLayout147.xml"/><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59" Type="http://schemas.openxmlformats.org/officeDocument/2006/relationships/theme" Target="../theme/theme5.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54" Type="http://schemas.openxmlformats.org/officeDocument/2006/relationships/slideLayout" Target="../slideLayouts/slideLayout150.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slideLayout" Target="../slideLayouts/slideLayout145.xml"/><Relationship Id="rId57" Type="http://schemas.openxmlformats.org/officeDocument/2006/relationships/slideLayout" Target="../slideLayouts/slideLayout153.xml"/><Relationship Id="rId10" Type="http://schemas.openxmlformats.org/officeDocument/2006/relationships/slideLayout" Target="../slideLayouts/slideLayout106.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52" Type="http://schemas.openxmlformats.org/officeDocument/2006/relationships/slideLayout" Target="../slideLayouts/slideLayout148.xml"/><Relationship Id="rId60" Type="http://schemas.openxmlformats.org/officeDocument/2006/relationships/tags" Target="../tags/tag10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6.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7" name="Grafik 6">
            <a:extLst>
              <a:ext uri="{FF2B5EF4-FFF2-40B4-BE49-F238E27FC236}">
                <a16:creationId xmlns:a16="http://schemas.microsoft.com/office/drawing/2014/main" id="{B62C0810-FC90-47D2-9AD4-52C58574F93F}"/>
              </a:ext>
            </a:extLst>
          </p:cNvPr>
          <p:cNvSpPr/>
          <p:nvPr userDrawn="1">
            <p:custDataLst>
              <p:tags r:id="rId19"/>
            </p:custDataLst>
          </p:nvPr>
        </p:nvSpPr>
        <p:spPr>
          <a:xfrm>
            <a:off x="360049" y="6369728"/>
            <a:ext cx="352800" cy="190800"/>
          </a:xfrm>
          <a:custGeom>
            <a:avLst/>
            <a:gdLst>
              <a:gd name="connsiteX0" fmla="*/ 0 w 1385100"/>
              <a:gd name="connsiteY0" fmla="*/ 0 h 726505"/>
              <a:gd name="connsiteX1" fmla="*/ 222789 w 1385100"/>
              <a:gd name="connsiteY1" fmla="*/ 721131 h 726505"/>
              <a:gd name="connsiteX2" fmla="*/ 224254 w 1385100"/>
              <a:gd name="connsiteY2" fmla="*/ 726506 h 726505"/>
              <a:gd name="connsiteX3" fmla="*/ 344931 w 1385100"/>
              <a:gd name="connsiteY3" fmla="*/ 726506 h 726505"/>
              <a:gd name="connsiteX4" fmla="*/ 513977 w 1385100"/>
              <a:gd name="connsiteY4" fmla="*/ 181749 h 726505"/>
              <a:gd name="connsiteX5" fmla="*/ 682046 w 1385100"/>
              <a:gd name="connsiteY5" fmla="*/ 726506 h 726505"/>
              <a:gd name="connsiteX6" fmla="*/ 803700 w 1385100"/>
              <a:gd name="connsiteY6" fmla="*/ 726506 h 726505"/>
              <a:gd name="connsiteX7" fmla="*/ 991800 w 1385100"/>
              <a:gd name="connsiteY7" fmla="*/ 108463 h 726505"/>
              <a:gd name="connsiteX8" fmla="*/ 1123714 w 1385100"/>
              <a:gd name="connsiteY8" fmla="*/ 108463 h 726505"/>
              <a:gd name="connsiteX9" fmla="*/ 1123714 w 1385100"/>
              <a:gd name="connsiteY9" fmla="*/ 726506 h 726505"/>
              <a:gd name="connsiteX10" fmla="*/ 1239017 w 1385100"/>
              <a:gd name="connsiteY10" fmla="*/ 726506 h 726505"/>
              <a:gd name="connsiteX11" fmla="*/ 1239017 w 1385100"/>
              <a:gd name="connsiteY11" fmla="*/ 108463 h 726505"/>
              <a:gd name="connsiteX12" fmla="*/ 1385100 w 1385100"/>
              <a:gd name="connsiteY12" fmla="*/ 108463 h 726505"/>
              <a:gd name="connsiteX13" fmla="*/ 1385100 w 1385100"/>
              <a:gd name="connsiteY13" fmla="*/ 0 h 726505"/>
              <a:gd name="connsiteX14" fmla="*/ 1024534 w 1385100"/>
              <a:gd name="connsiteY14" fmla="*/ 0 h 726505"/>
              <a:gd name="connsiteX15" fmla="*/ 1025023 w 1385100"/>
              <a:gd name="connsiteY15" fmla="*/ 0 h 726505"/>
              <a:gd name="connsiteX16" fmla="*/ 906300 w 1385100"/>
              <a:gd name="connsiteY16" fmla="*/ 0 h 726505"/>
              <a:gd name="connsiteX17" fmla="*/ 742629 w 1385100"/>
              <a:gd name="connsiteY17" fmla="*/ 555506 h 726505"/>
              <a:gd name="connsiteX18" fmla="*/ 576026 w 1385100"/>
              <a:gd name="connsiteY18" fmla="*/ 0 h 726505"/>
              <a:gd name="connsiteX19" fmla="*/ 456326 w 1385100"/>
              <a:gd name="connsiteY19" fmla="*/ 0 h 726505"/>
              <a:gd name="connsiteX20" fmla="*/ 289234 w 1385100"/>
              <a:gd name="connsiteY20" fmla="*/ 555506 h 726505"/>
              <a:gd name="connsiteX21" fmla="*/ 124097 w 1385100"/>
              <a:gd name="connsiteY21" fmla="*/ 0 h 726505"/>
              <a:gd name="connsiteX22" fmla="*/ 0 w 1385100"/>
              <a:gd name="connsiteY22" fmla="*/ 0 h 72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5100" h="726505">
                <a:moveTo>
                  <a:pt x="0" y="0"/>
                </a:moveTo>
                <a:lnTo>
                  <a:pt x="222789" y="721131"/>
                </a:lnTo>
                <a:lnTo>
                  <a:pt x="224254" y="726506"/>
                </a:lnTo>
                <a:lnTo>
                  <a:pt x="344931" y="726506"/>
                </a:lnTo>
                <a:lnTo>
                  <a:pt x="513977" y="181749"/>
                </a:lnTo>
                <a:lnTo>
                  <a:pt x="682046" y="726506"/>
                </a:lnTo>
                <a:lnTo>
                  <a:pt x="803700" y="726506"/>
                </a:lnTo>
                <a:lnTo>
                  <a:pt x="991800" y="108463"/>
                </a:lnTo>
                <a:lnTo>
                  <a:pt x="1123714" y="108463"/>
                </a:lnTo>
                <a:lnTo>
                  <a:pt x="1123714" y="726506"/>
                </a:lnTo>
                <a:lnTo>
                  <a:pt x="1239017" y="726506"/>
                </a:lnTo>
                <a:lnTo>
                  <a:pt x="1239017" y="108463"/>
                </a:lnTo>
                <a:lnTo>
                  <a:pt x="1385100" y="108463"/>
                </a:lnTo>
                <a:lnTo>
                  <a:pt x="1385100" y="0"/>
                </a:lnTo>
                <a:lnTo>
                  <a:pt x="1024534" y="0"/>
                </a:lnTo>
                <a:lnTo>
                  <a:pt x="1025023" y="0"/>
                </a:lnTo>
                <a:lnTo>
                  <a:pt x="906300" y="0"/>
                </a:lnTo>
                <a:lnTo>
                  <a:pt x="742629" y="555506"/>
                </a:lnTo>
                <a:lnTo>
                  <a:pt x="576026" y="0"/>
                </a:lnTo>
                <a:lnTo>
                  <a:pt x="456326" y="0"/>
                </a:lnTo>
                <a:lnTo>
                  <a:pt x="289234" y="555506"/>
                </a:lnTo>
                <a:lnTo>
                  <a:pt x="124097" y="0"/>
                </a:lnTo>
                <a:lnTo>
                  <a:pt x="0" y="0"/>
                </a:lnTo>
                <a:close/>
              </a:path>
            </a:pathLst>
          </a:custGeom>
          <a:solidFill>
            <a:schemeClr val="tx1"/>
          </a:solidFill>
          <a:ln w="48646" cap="flat">
            <a:noFill/>
            <a:prstDash val="solid"/>
            <a:miter/>
          </a:ln>
        </p:spPr>
        <p:txBody>
          <a:bodyPr rtlCol="0" anchor="ctr"/>
          <a:lstStyle/>
          <a:p>
            <a:endParaRPr lang="en-GB" dirty="0"/>
          </a:p>
        </p:txBody>
      </p:sp>
      <p:sp>
        <p:nvSpPr>
          <p:cNvPr id="4" name="Datumsplatzhalter 3">
            <a:extLst>
              <a:ext uri="{FF2B5EF4-FFF2-40B4-BE49-F238E27FC236}">
                <a16:creationId xmlns:a16="http://schemas.microsoft.com/office/drawing/2014/main" id="{5303DBF9-3257-4AA8-8D9B-0A49DAF33418}"/>
              </a:ext>
            </a:extLst>
          </p:cNvPr>
          <p:cNvSpPr>
            <a:spLocks noGrp="1"/>
          </p:cNvSpPr>
          <p:nvPr>
            <p:ph type="dt" sz="half" idx="2"/>
            <p:custDataLst>
              <p:tags r:id="rId20"/>
            </p:custDataLst>
          </p:nvPr>
        </p:nvSpPr>
        <p:spPr>
          <a:xfrm>
            <a:off x="10565196" y="6321412"/>
            <a:ext cx="679451" cy="285751"/>
          </a:xfrm>
          <a:prstGeom prst="rect">
            <a:avLst/>
          </a:prstGeom>
        </p:spPr>
        <p:txBody>
          <a:bodyPr vert="horz" lIns="0" tIns="0" rIns="0" bIns="0" rtlCol="0" anchor="ctr"/>
          <a:lstStyle>
            <a:lvl1pPr algn="r">
              <a:defRPr lang="en-GB" dirty="0"/>
            </a:lvl1pPr>
          </a:lstStyle>
          <a:p>
            <a:endParaRPr lang="de-AT"/>
          </a:p>
        </p:txBody>
      </p:sp>
      <p:sp>
        <p:nvSpPr>
          <p:cNvPr id="6" name="Foliennummernplatzhalter 5">
            <a:extLst>
              <a:ext uri="{FF2B5EF4-FFF2-40B4-BE49-F238E27FC236}">
                <a16:creationId xmlns:a16="http://schemas.microsoft.com/office/drawing/2014/main" id="{6A8D273D-D659-49AE-A496-3B5BE6159FF8}"/>
              </a:ext>
            </a:extLst>
          </p:cNvPr>
          <p:cNvSpPr>
            <a:spLocks noGrp="1"/>
          </p:cNvSpPr>
          <p:nvPr>
            <p:ph type="sldNum" sz="quarter" idx="4"/>
            <p:custDataLst>
              <p:tags r:id="rId21"/>
            </p:custDataLst>
          </p:nvPr>
        </p:nvSpPr>
        <p:spPr>
          <a:xfrm>
            <a:off x="11324901" y="6321412"/>
            <a:ext cx="424187" cy="285751"/>
          </a:xfrm>
          <a:prstGeom prst="rect">
            <a:avLst/>
          </a:prstGeom>
        </p:spPr>
        <p:txBody>
          <a:bodyPr vert="horz" lIns="0" tIns="0" rIns="0" bIns="0" rtlCol="0" anchor="ctr"/>
          <a:lstStyle>
            <a:lvl1pPr algn="l">
              <a:defRPr sz="1000">
                <a:solidFill>
                  <a:schemeClr val="tx1">
                    <a:tint val="75000"/>
                  </a:schemeClr>
                </a:solidFill>
              </a:defRPr>
            </a:lvl1pPr>
          </a:lstStyle>
          <a:p>
            <a:fld id="{B459E51B-A277-4897-9DDF-ABA4750400EB}" type="slidenum">
              <a:rPr lang="en-GB" smtClean="0"/>
              <a:pPr/>
              <a:t>‹Nr.›</a:t>
            </a:fld>
            <a:endParaRPr lang="en-GB" dirty="0"/>
          </a:p>
        </p:txBody>
      </p:sp>
      <p:sp>
        <p:nvSpPr>
          <p:cNvPr id="9" name="Title Placeholder 8">
            <a:extLst>
              <a:ext uri="{FF2B5EF4-FFF2-40B4-BE49-F238E27FC236}">
                <a16:creationId xmlns:a16="http://schemas.microsoft.com/office/drawing/2014/main" id="{AFA5146E-F828-40DD-A981-4FDEE3E5A251}"/>
              </a:ext>
            </a:extLst>
          </p:cNvPr>
          <p:cNvSpPr>
            <a:spLocks noGrp="1"/>
          </p:cNvSpPr>
          <p:nvPr>
            <p:ph type="title"/>
            <p:custDataLst>
              <p:tags r:id="rId22"/>
            </p:custDataLst>
          </p:nvPr>
        </p:nvSpPr>
        <p:spPr>
          <a:xfrm>
            <a:off x="461639" y="488272"/>
            <a:ext cx="9847587" cy="417250"/>
          </a:xfrm>
          <a:prstGeom prst="rect">
            <a:avLst/>
          </a:prstGeom>
        </p:spPr>
        <p:txBody>
          <a:bodyPr vert="horz" lIns="0" tIns="0" rIns="0" bIns="0" rtlCol="0" anchor="ctr">
            <a:normAutofit/>
          </a:bodyPr>
          <a:lstStyle/>
          <a:p>
            <a:r>
              <a:rPr lang="en-US"/>
              <a:t>Click to edit Master title style</a:t>
            </a:r>
            <a:endParaRPr lang="en-GB" dirty="0"/>
          </a:p>
        </p:txBody>
      </p:sp>
      <p:sp>
        <p:nvSpPr>
          <p:cNvPr id="10" name="Text Placeholder 9">
            <a:extLst>
              <a:ext uri="{FF2B5EF4-FFF2-40B4-BE49-F238E27FC236}">
                <a16:creationId xmlns:a16="http://schemas.microsoft.com/office/drawing/2014/main" id="{65467A1B-30F3-4D6E-9C0E-39027765EFF3}"/>
              </a:ext>
            </a:extLst>
          </p:cNvPr>
          <p:cNvSpPr>
            <a:spLocks noGrp="1"/>
          </p:cNvSpPr>
          <p:nvPr>
            <p:ph type="body" idx="1"/>
            <p:custDataLst>
              <p:tags r:id="rId23"/>
            </p:custDataLst>
          </p:nvPr>
        </p:nvSpPr>
        <p:spPr>
          <a:xfrm>
            <a:off x="461640" y="1592263"/>
            <a:ext cx="9839325" cy="415321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1031628"/>
      </p:ext>
    </p:extLst>
  </p:cSld>
  <p:clrMap bg1="lt1" tx1="dk1" bg2="lt2" tx2="dk2" accent1="accent1" accent2="accent2" accent3="accent3" accent4="accent4" accent5="accent5" accent6="accent6" hlink="hlink" folHlink="folHlink"/>
  <p:sldLayoutIdLst>
    <p:sldLayoutId id="2147483695" r:id="rId1"/>
    <p:sldLayoutId id="2147483722" r:id="rId2"/>
    <p:sldLayoutId id="2147483727" r:id="rId3"/>
    <p:sldLayoutId id="2147483650" r:id="rId4"/>
    <p:sldLayoutId id="2147483721" r:id="rId5"/>
    <p:sldLayoutId id="2147483652" r:id="rId6"/>
    <p:sldLayoutId id="2147483728" r:id="rId7"/>
    <p:sldLayoutId id="2147483726" r:id="rId8"/>
    <p:sldLayoutId id="2147483671" r:id="rId9"/>
    <p:sldLayoutId id="2147483672" r:id="rId10"/>
    <p:sldLayoutId id="2147483716" r:id="rId11"/>
    <p:sldLayoutId id="2147483719" r:id="rId12"/>
    <p:sldLayoutId id="2147483654" r:id="rId13"/>
    <p:sldLayoutId id="2147483729" r:id="rId14"/>
    <p:sldLayoutId id="2147483730" r:id="rId15"/>
    <p:sldLayoutId id="2147483776" r:id="rId16"/>
    <p:sldLayoutId id="2147483777" r:id="rId17"/>
  </p:sldLayoutIdLst>
  <p:hf hdr="0" ftr="0" dt="0"/>
  <p:txStyles>
    <p:titleStyle>
      <a:lvl1pPr algn="l" defTabSz="914377"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9FCC3B"/>
          </p15:clr>
        </p15:guide>
        <p15:guide id="2" pos="7680" userDrawn="1">
          <p15:clr>
            <a:srgbClr val="9FCC3B"/>
          </p15:clr>
        </p15:guide>
        <p15:guide id="3" pos="295" userDrawn="1">
          <p15:clr>
            <a:srgbClr val="F26B43"/>
          </p15:clr>
        </p15:guide>
        <p15:guide id="4" pos="1625" userDrawn="1">
          <p15:clr>
            <a:srgbClr val="F26B43"/>
          </p15:clr>
        </p15:guide>
        <p15:guide id="5" pos="1920" userDrawn="1">
          <p15:clr>
            <a:srgbClr val="F26B43"/>
          </p15:clr>
        </p15:guide>
        <p15:guide id="6" pos="3251" userDrawn="1">
          <p15:clr>
            <a:srgbClr val="F26B43"/>
          </p15:clr>
        </p15:guide>
        <p15:guide id="7" pos="3545" userDrawn="1">
          <p15:clr>
            <a:srgbClr val="F26B43"/>
          </p15:clr>
        </p15:guide>
        <p15:guide id="8" pos="4875" userDrawn="1">
          <p15:clr>
            <a:srgbClr val="F26B43"/>
          </p15:clr>
        </p15:guide>
        <p15:guide id="9" pos="5171" userDrawn="1">
          <p15:clr>
            <a:srgbClr val="F26B43"/>
          </p15:clr>
        </p15:guide>
        <p15:guide id="10" pos="6500" userDrawn="1">
          <p15:clr>
            <a:srgbClr val="F26B43"/>
          </p15:clr>
        </p15:guide>
        <p15:guide id="11" orient="horz" userDrawn="1">
          <p15:clr>
            <a:srgbClr val="9FCC3B"/>
          </p15:clr>
        </p15:guide>
        <p15:guide id="12" orient="horz" pos="4320" userDrawn="1">
          <p15:clr>
            <a:srgbClr val="9FCC3B"/>
          </p15:clr>
        </p15:guide>
        <p15:guide id="13" orient="horz" pos="1003" userDrawn="1">
          <p15:clr>
            <a:srgbClr val="F26B43"/>
          </p15:clr>
        </p15:guide>
        <p15:guide id="14" orient="horz" pos="2160" userDrawn="1">
          <p15:clr>
            <a:srgbClr val="F26B43"/>
          </p15:clr>
        </p15:guide>
        <p15:guide id="15" orient="horz" pos="2250" userDrawn="1">
          <p15:clr>
            <a:srgbClr val="F26B43"/>
          </p15:clr>
        </p15:guide>
        <p15:guide id="16" orient="horz" pos="3612" userDrawn="1">
          <p15:clr>
            <a:srgbClr val="F26B43"/>
          </p15:clr>
        </p15:guide>
        <p15:guide id="17" pos="7401" userDrawn="1">
          <p15:clr>
            <a:srgbClr val="F26B43"/>
          </p15:clr>
        </p15:guide>
        <p15:guide id="18" pos="3840" userDrawn="1">
          <p15:clr>
            <a:srgbClr val="A4A3A4"/>
          </p15:clr>
        </p15:guide>
        <p15:guide id="19" pos="3399"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Box 11"/>
          <p:cNvSpPr txBox="1"/>
          <p:nvPr userDrawn="1"/>
        </p:nvSpPr>
        <p:spPr>
          <a:xfrm>
            <a:off x="838200" y="980728"/>
            <a:ext cx="2864919" cy="215444"/>
          </a:xfrm>
          <a:prstGeom prst="rect">
            <a:avLst/>
          </a:prstGeom>
          <a:noFill/>
        </p:spPr>
        <p:txBody>
          <a:bodyPr wrap="square" rtlCol="0">
            <a:spAutoFit/>
          </a:bodyPr>
          <a:lstStyle/>
          <a:p>
            <a:r>
              <a:rPr lang="en-GB" sz="800" baseline="0" dirty="0">
                <a:solidFill>
                  <a:schemeClr val="bg1"/>
                </a:solidFill>
              </a:rPr>
              <a:t>letscreatetracking</a:t>
            </a:r>
          </a:p>
        </p:txBody>
      </p:sp>
      <p:sp>
        <p:nvSpPr>
          <p:cNvPr id="3" name="Heading">
            <a:extLst>
              <a:ext uri="{FF2B5EF4-FFF2-40B4-BE49-F238E27FC236}">
                <a16:creationId xmlns:a16="http://schemas.microsoft.com/office/drawing/2014/main" id="{56F26684-9A9A-4049-B10A-2DA4B9FE3D96}"/>
              </a:ext>
            </a:extLst>
          </p:cNvPr>
          <p:cNvSpPr>
            <a:spLocks noGrp="1"/>
          </p:cNvSpPr>
          <p:nvPr>
            <p:ph type="body" idx="1"/>
          </p:nvPr>
        </p:nvSpPr>
        <p:spPr>
          <a:xfrm>
            <a:off x="803792" y="1412776"/>
            <a:ext cx="10593748" cy="4643803"/>
          </a:xfrm>
          <a:prstGeom prst="rect">
            <a:avLst/>
          </a:prstGeom>
        </p:spPr>
        <p:txBody>
          <a:bodyPr vert="horz" wrap="square" lIns="0" tIns="0" rIns="0" bIns="72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rth level</a:t>
            </a:r>
          </a:p>
          <a:p>
            <a:pPr lvl="4"/>
            <a:r>
              <a:rPr lang="en-US" dirty="0"/>
              <a:t>Fifth level</a:t>
            </a:r>
          </a:p>
        </p:txBody>
      </p:sp>
      <p:pic>
        <p:nvPicPr>
          <p:cNvPr id="8" name="Logo">
            <a:extLst>
              <a:ext uri="{FF2B5EF4-FFF2-40B4-BE49-F238E27FC236}">
                <a16:creationId xmlns:a16="http://schemas.microsoft.com/office/drawing/2014/main" id="{ADEC23BE-D80A-47F7-A2C7-C19EB776F507}"/>
              </a:ext>
            </a:extLst>
          </p:cNvPr>
          <p:cNvPicPr>
            <a:picLocks noChangeAspect="1"/>
          </p:cNvPicPr>
          <p:nvPr userDrawn="1"/>
        </p:nvPicPr>
        <p:blipFill>
          <a:blip r:embed="rId41">
            <a:extLst>
              <a:ext uri="{28A0092B-C50C-407E-A947-70E740481C1C}">
                <a14:useLocalDpi xmlns:a14="http://schemas.microsoft.com/office/drawing/2010/main" val="0"/>
              </a:ext>
            </a:extLst>
          </a:blip>
          <a:srcRect/>
          <a:stretch/>
        </p:blipFill>
        <p:spPr>
          <a:xfrm>
            <a:off x="9172785" y="403201"/>
            <a:ext cx="2255262" cy="748309"/>
          </a:xfrm>
          <a:prstGeom prst="rect">
            <a:avLst/>
          </a:prstGeom>
        </p:spPr>
      </p:pic>
      <p:cxnSp>
        <p:nvCxnSpPr>
          <p:cNvPr id="10" name="Footer line">
            <a:extLst>
              <a:ext uri="{FF2B5EF4-FFF2-40B4-BE49-F238E27FC236}">
                <a16:creationId xmlns:a16="http://schemas.microsoft.com/office/drawing/2014/main" id="{A55F717F-0E25-4F66-B254-326F2ED729DA}"/>
              </a:ext>
            </a:extLst>
          </p:cNvPr>
          <p:cNvCxnSpPr>
            <a:cxnSpLocks/>
          </p:cNvCxnSpPr>
          <p:nvPr userDrawn="1"/>
        </p:nvCxnSpPr>
        <p:spPr>
          <a:xfrm>
            <a:off x="771770" y="6455672"/>
            <a:ext cx="106338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Title line">
            <a:extLst>
              <a:ext uri="{FF2B5EF4-FFF2-40B4-BE49-F238E27FC236}">
                <a16:creationId xmlns:a16="http://schemas.microsoft.com/office/drawing/2014/main" id="{679742C2-4030-4A11-9F64-F6B503A722B1}"/>
              </a:ext>
            </a:extLst>
          </p:cNvPr>
          <p:cNvCxnSpPr>
            <a:cxnSpLocks/>
          </p:cNvCxnSpPr>
          <p:nvPr userDrawn="1"/>
        </p:nvCxnSpPr>
        <p:spPr>
          <a:xfrm>
            <a:off x="777631" y="896400"/>
            <a:ext cx="828553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2"/>
          <p:cNvSpPr txBox="1">
            <a:spLocks/>
          </p:cNvSpPr>
          <p:nvPr userDrawn="1"/>
        </p:nvSpPr>
        <p:spPr>
          <a:xfrm>
            <a:off x="730312" y="6468689"/>
            <a:ext cx="5550100" cy="186353"/>
          </a:xfrm>
          <a:prstGeom prst="rect">
            <a:avLst/>
          </a:prstGeom>
        </p:spPr>
        <p:txBody>
          <a:bodyPr/>
          <a:lstStyle>
            <a:lvl1pPr marL="0" indent="0" algn="just" defTabSz="914400" rtl="0" eaLnBrk="1" latinLnBrk="0" hangingPunct="1">
              <a:lnSpc>
                <a:spcPct val="100000"/>
              </a:lnSpc>
              <a:spcBef>
                <a:spcPts val="1000"/>
              </a:spcBef>
              <a:buFontTx/>
              <a:buNone/>
              <a:defRPr lang="en-GB" sz="800" b="0" kern="1200" cap="none" baseline="0" smtClean="0">
                <a:solidFill>
                  <a:srgbClr val="D9D9D9"/>
                </a:solidFill>
                <a:effectLst/>
                <a:latin typeface="+mj-lt"/>
                <a:ea typeface="+mn-ea"/>
                <a:cs typeface="+mn-cs"/>
              </a:defRPr>
            </a:lvl1pPr>
            <a:lvl2pPr marL="0" indent="0" algn="just" defTabSz="914400" rtl="0" eaLnBrk="1" latinLnBrk="0" hangingPunct="1">
              <a:lnSpc>
                <a:spcPct val="102000"/>
              </a:lnSpc>
              <a:spcBef>
                <a:spcPts val="500"/>
              </a:spcBef>
              <a:buFontTx/>
              <a:buNone/>
              <a:defRPr sz="1100" kern="1200">
                <a:solidFill>
                  <a:schemeClr val="tx1"/>
                </a:solidFill>
                <a:latin typeface="+mn-lt"/>
                <a:ea typeface="+mn-ea"/>
                <a:cs typeface="+mn-cs"/>
              </a:defRPr>
            </a:lvl2pPr>
            <a:lvl3pPr marL="216000" indent="-216000" algn="just" defTabSz="914400" rtl="0" eaLnBrk="1" latinLnBrk="0" hangingPunct="1">
              <a:lnSpc>
                <a:spcPct val="102000"/>
              </a:lnSpc>
              <a:spcBef>
                <a:spcPts val="500"/>
              </a:spcBef>
              <a:buFont typeface="Wingdings" panose="05000000000000000000" pitchFamily="2" charset="2"/>
              <a:buChar char="§"/>
              <a:defRPr sz="1100" kern="1200">
                <a:solidFill>
                  <a:schemeClr val="tx1"/>
                </a:solidFill>
                <a:latin typeface="+mn-lt"/>
                <a:ea typeface="+mn-ea"/>
                <a:cs typeface="+mn-cs"/>
              </a:defRPr>
            </a:lvl3pPr>
            <a:lvl4pPr marL="432000" indent="-216000" algn="just" defTabSz="914400" rtl="0" eaLnBrk="1" latinLnBrk="0" hangingPunct="1">
              <a:lnSpc>
                <a:spcPct val="102000"/>
              </a:lnSpc>
              <a:spcBef>
                <a:spcPts val="500"/>
              </a:spcBef>
              <a:buFont typeface="Corporate S Light" pitchFamily="50" charset="0"/>
              <a:buChar char="–"/>
              <a:defRPr sz="1100" kern="1200">
                <a:solidFill>
                  <a:schemeClr val="tx1"/>
                </a:solidFill>
                <a:latin typeface="+mn-lt"/>
                <a:ea typeface="+mn-ea"/>
                <a:cs typeface="+mn-cs"/>
              </a:defRPr>
            </a:lvl4pPr>
            <a:lvl5pPr marL="648000" indent="-216000" algn="just" defTabSz="914400" rtl="0" eaLnBrk="1" latinLnBrk="0" hangingPunct="1">
              <a:lnSpc>
                <a:spcPct val="102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800" baseline="0" dirty="0">
                <a:solidFill>
                  <a:srgbClr val="505050"/>
                </a:solidFill>
                <a:latin typeface="Corporate S" pitchFamily="50" charset="0"/>
                <a:ea typeface="SimSun" panose="02010600030101010101" pitchFamily="2" charset="-122"/>
                <a:cs typeface="Times New Roman" panose="02020603050405020304" pitchFamily="18" charset="0"/>
              </a:rPr>
              <a:t>All references to "Matheson" shall mean "Matheson LLP".</a:t>
            </a:r>
            <a:endParaRPr lang="en-GB" sz="800" baseline="0" dirty="0">
              <a:solidFill>
                <a:srgbClr val="505050"/>
              </a:solidFill>
            </a:endParaRPr>
          </a:p>
        </p:txBody>
      </p:sp>
      <p:sp>
        <p:nvSpPr>
          <p:cNvPr id="20" name="Slide Number">
            <a:extLst>
              <a:ext uri="{FF2B5EF4-FFF2-40B4-BE49-F238E27FC236}">
                <a16:creationId xmlns:a16="http://schemas.microsoft.com/office/drawing/2014/main" id="{7E3091D8-6184-44E8-A90F-9540A9306FFB}"/>
              </a:ext>
            </a:extLst>
          </p:cNvPr>
          <p:cNvSpPr>
            <a:spLocks noGrp="1"/>
          </p:cNvSpPr>
          <p:nvPr>
            <p:ph type="sldNum" sz="quarter" idx="4"/>
          </p:nvPr>
        </p:nvSpPr>
        <p:spPr>
          <a:xfrm>
            <a:off x="8440993" y="6474047"/>
            <a:ext cx="2960810" cy="180995"/>
          </a:xfrm>
          <a:prstGeom prst="rect">
            <a:avLst/>
          </a:prstGeom>
        </p:spPr>
        <p:txBody>
          <a:bodyPr vert="horz" lIns="91440" tIns="45720" rIns="0" bIns="45720" rtlCol="0" anchor="ctr"/>
          <a:lstStyle>
            <a:lvl1pPr algn="r">
              <a:defRPr sz="800">
                <a:solidFill>
                  <a:schemeClr val="tx2"/>
                </a:solidFill>
                <a:latin typeface="+mj-lt"/>
              </a:defRPr>
            </a:lvl1pPr>
          </a:lstStyle>
          <a:p>
            <a:endParaRPr lang="en-GB" dirty="0"/>
          </a:p>
        </p:txBody>
      </p:sp>
      <p:sp>
        <p:nvSpPr>
          <p:cNvPr id="21" name="Footer Placeholder 3">
            <a:extLst>
              <a:ext uri="{FF2B5EF4-FFF2-40B4-BE49-F238E27FC236}">
                <a16:creationId xmlns:a16="http://schemas.microsoft.com/office/drawing/2014/main" id="{F49FF290-5293-4060-BCA4-F3EB0F7F6418}"/>
              </a:ext>
            </a:extLst>
          </p:cNvPr>
          <p:cNvSpPr txBox="1">
            <a:spLocks/>
          </p:cNvSpPr>
          <p:nvPr userDrawn="1"/>
        </p:nvSpPr>
        <p:spPr>
          <a:xfrm>
            <a:off x="9421977" y="6447861"/>
            <a:ext cx="5058442" cy="40248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b="0" i="0" baseline="0" dirty="0">
                <a:solidFill>
                  <a:srgbClr val="505050"/>
                </a:solidFill>
                <a:latin typeface="+mj-lt"/>
              </a:rPr>
              <a:t>www.matheson.com</a:t>
            </a:r>
          </a:p>
        </p:txBody>
      </p:sp>
    </p:spTree>
    <p:extLst>
      <p:ext uri="{BB962C8B-B14F-4D97-AF65-F5344CB8AC3E}">
        <p14:creationId xmlns:p14="http://schemas.microsoft.com/office/powerpoint/2010/main" val="361609990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8" r:id="rId34"/>
    <p:sldLayoutId id="2147483769" r:id="rId35"/>
    <p:sldLayoutId id="2147483770" r:id="rId36"/>
    <p:sldLayoutId id="2147483771" r:id="rId37"/>
    <p:sldLayoutId id="2147483773" r:id="rId38"/>
    <p:sldLayoutId id="2147483774" r:id="rId39"/>
  </p:sldLayoutIdLst>
  <p:hf hdr="0" ftr="0" dt="0"/>
  <p:txStyles>
    <p:titleStyle>
      <a:lvl1pPr algn="l" defTabSz="914400" rtl="0" eaLnBrk="1" latinLnBrk="0" hangingPunct="1">
        <a:lnSpc>
          <a:spcPct val="90000"/>
        </a:lnSpc>
        <a:spcBef>
          <a:spcPct val="0"/>
        </a:spcBef>
        <a:buNone/>
        <a:defRPr sz="1400" b="1" kern="1200" cap="all" baseline="0">
          <a:solidFill>
            <a:schemeClr val="tx2"/>
          </a:solidFill>
          <a:latin typeface="+mj-lt"/>
          <a:ea typeface="+mj-ea"/>
          <a:cs typeface="+mj-cs"/>
        </a:defRPr>
      </a:lvl1pPr>
    </p:titleStyle>
    <p:bodyStyle>
      <a:lvl1pPr marL="0" indent="0" algn="just" defTabSz="914400" rtl="0" eaLnBrk="1" latinLnBrk="0" hangingPunct="1">
        <a:lnSpc>
          <a:spcPct val="100000"/>
        </a:lnSpc>
        <a:spcBef>
          <a:spcPts val="1000"/>
        </a:spcBef>
        <a:buFontTx/>
        <a:buNone/>
        <a:defRPr sz="1400" b="0" kern="1200" cap="none" baseline="0">
          <a:solidFill>
            <a:schemeClr val="tx2"/>
          </a:solidFill>
          <a:latin typeface="+mj-lt"/>
          <a:ea typeface="+mn-ea"/>
          <a:cs typeface="+mn-cs"/>
        </a:defRPr>
      </a:lvl1pPr>
      <a:lvl2pPr marL="0" indent="0" algn="just" defTabSz="914400" rtl="0" eaLnBrk="1" latinLnBrk="0" hangingPunct="1">
        <a:lnSpc>
          <a:spcPct val="102000"/>
        </a:lnSpc>
        <a:spcBef>
          <a:spcPts val="500"/>
        </a:spcBef>
        <a:buFontTx/>
        <a:buNone/>
        <a:defRPr sz="1100" kern="1200">
          <a:solidFill>
            <a:schemeClr val="tx1"/>
          </a:solidFill>
          <a:latin typeface="+mn-lt"/>
          <a:ea typeface="+mn-ea"/>
          <a:cs typeface="+mn-cs"/>
        </a:defRPr>
      </a:lvl2pPr>
      <a:lvl3pPr marL="216000" indent="-216000" algn="just" defTabSz="914400" rtl="0" eaLnBrk="1" latinLnBrk="0" hangingPunct="1">
        <a:lnSpc>
          <a:spcPct val="102000"/>
        </a:lnSpc>
        <a:spcBef>
          <a:spcPts val="500"/>
        </a:spcBef>
        <a:buFont typeface="Wingdings" panose="05000000000000000000" pitchFamily="2" charset="2"/>
        <a:buChar char="§"/>
        <a:defRPr sz="1100" kern="1200">
          <a:solidFill>
            <a:schemeClr val="tx1"/>
          </a:solidFill>
          <a:latin typeface="+mn-lt"/>
          <a:ea typeface="+mn-ea"/>
          <a:cs typeface="+mn-cs"/>
        </a:defRPr>
      </a:lvl3pPr>
      <a:lvl4pPr marL="432000" indent="-216000" algn="just" defTabSz="914400" rtl="0" eaLnBrk="1" latinLnBrk="0" hangingPunct="1">
        <a:lnSpc>
          <a:spcPct val="102000"/>
        </a:lnSpc>
        <a:spcBef>
          <a:spcPts val="500"/>
        </a:spcBef>
        <a:buFont typeface="Corporate S Light" pitchFamily="50" charset="0"/>
        <a:buChar char="–"/>
        <a:defRPr sz="1100" kern="1200">
          <a:solidFill>
            <a:schemeClr val="tx1"/>
          </a:solidFill>
          <a:latin typeface="+mn-lt"/>
          <a:ea typeface="+mn-ea"/>
          <a:cs typeface="+mn-cs"/>
        </a:defRPr>
      </a:lvl4pPr>
      <a:lvl5pPr marL="648000" indent="-216000" algn="just" defTabSz="914400" rtl="0" eaLnBrk="1" latinLnBrk="0" hangingPunct="1">
        <a:lnSpc>
          <a:spcPct val="102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5842">
          <p15:clr>
            <a:srgbClr val="F26B43"/>
          </p15:clr>
        </p15:guide>
        <p15:guide id="4" pos="396">
          <p15:clr>
            <a:srgbClr val="F26B43"/>
          </p15:clr>
        </p15:guide>
        <p15:guide id="5" orient="horz" pos="4065">
          <p15:clr>
            <a:srgbClr val="F26B43"/>
          </p15:clr>
        </p15:guide>
        <p15:guide id="6" orient="horz" pos="981">
          <p15:clr>
            <a:srgbClr val="F26B43"/>
          </p15:clr>
        </p15:guide>
        <p15:guide id="7" orient="horz" pos="1139">
          <p15:clr>
            <a:srgbClr val="F26B43"/>
          </p15:clr>
        </p15:guide>
        <p15:guide id="8" orient="horz" pos="82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96E30B3-3188-38BC-8978-318C513461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6BCC596-6AAD-1A61-992D-FF89F975B9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5C95A4C-7C39-2792-A22D-5B61A2F6C72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070492-D67D-4047-80E1-B7719D5FEF12}" type="datetimeFigureOut">
              <a:rPr lang="en-GB" smtClean="0"/>
              <a:t>12/09/2022</a:t>
            </a:fld>
            <a:endParaRPr lang="en-GB"/>
          </a:p>
        </p:txBody>
      </p:sp>
      <p:sp>
        <p:nvSpPr>
          <p:cNvPr id="5" name="Footer Placeholder 4">
            <a:extLst>
              <a:ext uri="{FF2B5EF4-FFF2-40B4-BE49-F238E27FC236}">
                <a16:creationId xmlns:a16="http://schemas.microsoft.com/office/drawing/2014/main" id="{BEB3CEE6-3624-7E37-8740-8E225A9D1E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C7EBE4E-ADFE-982C-81A8-1D6EAD9857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90E4A6-F7FF-42BC-A660-19E78D9D89CD}" type="slidenum">
              <a:rPr lang="en-GB" smtClean="0"/>
              <a:t>‹Nr.›</a:t>
            </a:fld>
            <a:endParaRPr lang="en-GB"/>
          </a:p>
        </p:txBody>
      </p:sp>
    </p:spTree>
    <p:extLst>
      <p:ext uri="{BB962C8B-B14F-4D97-AF65-F5344CB8AC3E}">
        <p14:creationId xmlns:p14="http://schemas.microsoft.com/office/powerpoint/2010/main" val="4155992165"/>
      </p:ext>
    </p:extLst>
  </p:cSld>
  <p:clrMap bg1="lt1" tx1="dk1" bg2="lt2" tx2="dk2" accent1="accent1" accent2="accent2" accent3="accent3" accent4="accent4" accent5="accent5" accent6="accent6" hlink="hlink" folHlink="folHlink"/>
  <p:sldLayoutIdLst>
    <p:sldLayoutId id="2147483793"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790"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809" r:id="rId2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4F7DEB-5D8C-E465-9116-B784BF24F6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B51FFF3-C884-38DD-013B-C0D96DE75E3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7832411-5E86-49A1-E242-BCA812D1DF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BCBFA4-1D26-42D4-A731-204A824B86EC}" type="datetimeFigureOut">
              <a:rPr lang="en-GB" smtClean="0"/>
              <a:t>12/09/2022</a:t>
            </a:fld>
            <a:endParaRPr lang="en-GB"/>
          </a:p>
        </p:txBody>
      </p:sp>
      <p:sp>
        <p:nvSpPr>
          <p:cNvPr id="5" name="Footer Placeholder 4">
            <a:extLst>
              <a:ext uri="{FF2B5EF4-FFF2-40B4-BE49-F238E27FC236}">
                <a16:creationId xmlns:a16="http://schemas.microsoft.com/office/drawing/2014/main" id="{DA682242-8581-015A-AE3F-05ED7B6EFED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878E0DDD-B6B4-36E2-8166-4FD28794DC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F7F07B-37EB-427C-B6AB-5D09D0FEA08D}" type="slidenum">
              <a:rPr lang="en-GB" smtClean="0"/>
              <a:t>‹Nr.›</a:t>
            </a:fld>
            <a:endParaRPr lang="en-GB"/>
          </a:p>
        </p:txBody>
      </p:sp>
    </p:spTree>
    <p:extLst>
      <p:ext uri="{BB962C8B-B14F-4D97-AF65-F5344CB8AC3E}">
        <p14:creationId xmlns:p14="http://schemas.microsoft.com/office/powerpoint/2010/main" val="285392665"/>
      </p:ext>
    </p:extLst>
  </p:cSld>
  <p:clrMap bg1="lt1" tx1="dk1" bg2="lt2" tx2="dk2" accent1="accent1" accent2="accent2" accent3="accent3" accent4="accent4" accent5="accent5" accent6="accent6" hlink="hlink" folHlink="folHlink"/>
  <p:sldLayoutIdLst>
    <p:sldLayoutId id="2147483822"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Grafik 4">
            <a:extLst>
              <a:ext uri="{FF2B5EF4-FFF2-40B4-BE49-F238E27FC236}">
                <a16:creationId xmlns:a16="http://schemas.microsoft.com/office/drawing/2014/main" id="{76381367-01B1-426D-A2CB-4E37195823FD}"/>
              </a:ext>
            </a:extLst>
          </p:cNvPr>
          <p:cNvSpPr>
            <a:spLocks noChangeAspect="1"/>
          </p:cNvSpPr>
          <p:nvPr>
            <p:custDataLst>
              <p:tags r:id="rId60"/>
            </p:custDataLst>
          </p:nvPr>
        </p:nvSpPr>
        <p:spPr>
          <a:xfrm rot="16200000">
            <a:off x="10745621" y="1077637"/>
            <a:ext cx="1406162" cy="252000"/>
          </a:xfrm>
          <a:custGeom>
            <a:avLst/>
            <a:gdLst>
              <a:gd name="connsiteX0" fmla="*/ 834313 w 877892"/>
              <a:gd name="connsiteY0" fmla="*/ 122087 h 157328"/>
              <a:gd name="connsiteX1" fmla="*/ 844224 w 877892"/>
              <a:gd name="connsiteY1" fmla="*/ 122087 h 157328"/>
              <a:gd name="connsiteX2" fmla="*/ 844224 w 877892"/>
              <a:gd name="connsiteY2" fmla="*/ 69067 h 157328"/>
              <a:gd name="connsiteX3" fmla="*/ 846742 w 877892"/>
              <a:gd name="connsiteY3" fmla="*/ 57582 h 157328"/>
              <a:gd name="connsiteX4" fmla="*/ 853192 w 877892"/>
              <a:gd name="connsiteY4" fmla="*/ 49244 h 157328"/>
              <a:gd name="connsiteX5" fmla="*/ 861845 w 877892"/>
              <a:gd name="connsiteY5" fmla="*/ 43737 h 157328"/>
              <a:gd name="connsiteX6" fmla="*/ 870970 w 877892"/>
              <a:gd name="connsiteY6" fmla="*/ 42164 h 157328"/>
              <a:gd name="connsiteX7" fmla="*/ 876634 w 877892"/>
              <a:gd name="connsiteY7" fmla="*/ 42636 h 157328"/>
              <a:gd name="connsiteX8" fmla="*/ 877893 w 877892"/>
              <a:gd name="connsiteY8" fmla="*/ 33196 h 157328"/>
              <a:gd name="connsiteX9" fmla="*/ 874431 w 877892"/>
              <a:gd name="connsiteY9" fmla="*/ 32724 h 157328"/>
              <a:gd name="connsiteX10" fmla="*/ 870970 w 877892"/>
              <a:gd name="connsiteY10" fmla="*/ 32567 h 157328"/>
              <a:gd name="connsiteX11" fmla="*/ 856496 w 877892"/>
              <a:gd name="connsiteY11" fmla="*/ 36658 h 157328"/>
              <a:gd name="connsiteX12" fmla="*/ 844382 w 877892"/>
              <a:gd name="connsiteY12" fmla="*/ 48300 h 157328"/>
              <a:gd name="connsiteX13" fmla="*/ 844382 w 877892"/>
              <a:gd name="connsiteY13" fmla="*/ 33983 h 157328"/>
              <a:gd name="connsiteX14" fmla="*/ 834470 w 877892"/>
              <a:gd name="connsiteY14" fmla="*/ 33983 h 157328"/>
              <a:gd name="connsiteX15" fmla="*/ 834470 w 877892"/>
              <a:gd name="connsiteY15" fmla="*/ 122087 h 157328"/>
              <a:gd name="connsiteX16" fmla="*/ 742275 w 877892"/>
              <a:gd name="connsiteY16" fmla="*/ 72057 h 157328"/>
              <a:gd name="connsiteX17" fmla="*/ 751558 w 877892"/>
              <a:gd name="connsiteY17" fmla="*/ 47356 h 157328"/>
              <a:gd name="connsiteX18" fmla="*/ 772011 w 877892"/>
              <a:gd name="connsiteY18" fmla="*/ 39332 h 157328"/>
              <a:gd name="connsiteX19" fmla="*/ 784597 w 877892"/>
              <a:gd name="connsiteY19" fmla="*/ 41692 h 157328"/>
              <a:gd name="connsiteX20" fmla="*/ 793092 w 877892"/>
              <a:gd name="connsiteY20" fmla="*/ 48457 h 157328"/>
              <a:gd name="connsiteX21" fmla="*/ 797812 w 877892"/>
              <a:gd name="connsiteY21" fmla="*/ 58841 h 157328"/>
              <a:gd name="connsiteX22" fmla="*/ 799386 w 877892"/>
              <a:gd name="connsiteY22" fmla="*/ 72057 h 157328"/>
              <a:gd name="connsiteX23" fmla="*/ 742275 w 877892"/>
              <a:gd name="connsiteY23" fmla="*/ 72057 h 157328"/>
              <a:gd name="connsiteX24" fmla="*/ 798756 w 877892"/>
              <a:gd name="connsiteY24" fmla="*/ 99117 h 157328"/>
              <a:gd name="connsiteX25" fmla="*/ 795924 w 877892"/>
              <a:gd name="connsiteY25" fmla="*/ 106197 h 157328"/>
              <a:gd name="connsiteX26" fmla="*/ 791047 w 877892"/>
              <a:gd name="connsiteY26" fmla="*/ 111703 h 157328"/>
              <a:gd name="connsiteX27" fmla="*/ 783338 w 877892"/>
              <a:gd name="connsiteY27" fmla="*/ 115322 h 157328"/>
              <a:gd name="connsiteX28" fmla="*/ 772011 w 877892"/>
              <a:gd name="connsiteY28" fmla="*/ 116581 h 157328"/>
              <a:gd name="connsiteX29" fmla="*/ 758952 w 877892"/>
              <a:gd name="connsiteY29" fmla="*/ 113749 h 157328"/>
              <a:gd name="connsiteX30" fmla="*/ 749513 w 877892"/>
              <a:gd name="connsiteY30" fmla="*/ 106040 h 157328"/>
              <a:gd name="connsiteX31" fmla="*/ 743849 w 877892"/>
              <a:gd name="connsiteY31" fmla="*/ 94555 h 157328"/>
              <a:gd name="connsiteX32" fmla="*/ 741961 w 877892"/>
              <a:gd name="connsiteY32" fmla="*/ 80395 h 157328"/>
              <a:gd name="connsiteX33" fmla="*/ 809769 w 877892"/>
              <a:gd name="connsiteY33" fmla="*/ 80395 h 157328"/>
              <a:gd name="connsiteX34" fmla="*/ 809769 w 877892"/>
              <a:gd name="connsiteY34" fmla="*/ 74102 h 157328"/>
              <a:gd name="connsiteX35" fmla="*/ 807724 w 877892"/>
              <a:gd name="connsiteY35" fmla="*/ 57110 h 157328"/>
              <a:gd name="connsiteX36" fmla="*/ 801116 w 877892"/>
              <a:gd name="connsiteY36" fmla="*/ 43580 h 157328"/>
              <a:gd name="connsiteX37" fmla="*/ 789474 w 877892"/>
              <a:gd name="connsiteY37" fmla="*/ 34455 h 157328"/>
              <a:gd name="connsiteX38" fmla="*/ 772011 w 877892"/>
              <a:gd name="connsiteY38" fmla="*/ 31151 h 157328"/>
              <a:gd name="connsiteX39" fmla="*/ 755963 w 877892"/>
              <a:gd name="connsiteY39" fmla="*/ 34298 h 157328"/>
              <a:gd name="connsiteX40" fmla="*/ 743377 w 877892"/>
              <a:gd name="connsiteY40" fmla="*/ 43423 h 157328"/>
              <a:gd name="connsiteX41" fmla="*/ 735038 w 877892"/>
              <a:gd name="connsiteY41" fmla="*/ 58369 h 157328"/>
              <a:gd name="connsiteX42" fmla="*/ 732049 w 877892"/>
              <a:gd name="connsiteY42" fmla="*/ 78822 h 157328"/>
              <a:gd name="connsiteX43" fmla="*/ 742590 w 877892"/>
              <a:gd name="connsiteY43" fmla="*/ 112490 h 157328"/>
              <a:gd name="connsiteX44" fmla="*/ 772011 w 877892"/>
              <a:gd name="connsiteY44" fmla="*/ 124762 h 157328"/>
              <a:gd name="connsiteX45" fmla="*/ 797340 w 877892"/>
              <a:gd name="connsiteY45" fmla="*/ 117525 h 157328"/>
              <a:gd name="connsiteX46" fmla="*/ 808353 w 877892"/>
              <a:gd name="connsiteY46" fmla="*/ 98802 h 157328"/>
              <a:gd name="connsiteX47" fmla="*/ 798756 w 877892"/>
              <a:gd name="connsiteY47" fmla="*/ 98802 h 157328"/>
              <a:gd name="connsiteX48" fmla="*/ 697752 w 877892"/>
              <a:gd name="connsiteY48" fmla="*/ 77878 h 157328"/>
              <a:gd name="connsiteX49" fmla="*/ 694605 w 877892"/>
              <a:gd name="connsiteY49" fmla="*/ 95184 h 157328"/>
              <a:gd name="connsiteX50" fmla="*/ 685480 w 877892"/>
              <a:gd name="connsiteY50" fmla="*/ 106512 h 157328"/>
              <a:gd name="connsiteX51" fmla="*/ 677141 w 877892"/>
              <a:gd name="connsiteY51" fmla="*/ 110759 h 157328"/>
              <a:gd name="connsiteX52" fmla="*/ 667544 w 877892"/>
              <a:gd name="connsiteY52" fmla="*/ 112018 h 157328"/>
              <a:gd name="connsiteX53" fmla="*/ 657475 w 877892"/>
              <a:gd name="connsiteY53" fmla="*/ 110130 h 157328"/>
              <a:gd name="connsiteX54" fmla="*/ 648508 w 877892"/>
              <a:gd name="connsiteY54" fmla="*/ 103994 h 157328"/>
              <a:gd name="connsiteX55" fmla="*/ 642057 w 877892"/>
              <a:gd name="connsiteY55" fmla="*/ 92981 h 157328"/>
              <a:gd name="connsiteX56" fmla="*/ 639540 w 877892"/>
              <a:gd name="connsiteY56" fmla="*/ 76304 h 157328"/>
              <a:gd name="connsiteX57" fmla="*/ 641743 w 877892"/>
              <a:gd name="connsiteY57" fmla="*/ 59628 h 157328"/>
              <a:gd name="connsiteX58" fmla="*/ 647878 w 877892"/>
              <a:gd name="connsiteY58" fmla="*/ 48300 h 157328"/>
              <a:gd name="connsiteX59" fmla="*/ 657161 w 877892"/>
              <a:gd name="connsiteY59" fmla="*/ 41849 h 157328"/>
              <a:gd name="connsiteX60" fmla="*/ 668803 w 877892"/>
              <a:gd name="connsiteY60" fmla="*/ 39804 h 157328"/>
              <a:gd name="connsiteX61" fmla="*/ 677928 w 877892"/>
              <a:gd name="connsiteY61" fmla="*/ 41220 h 157328"/>
              <a:gd name="connsiteX62" fmla="*/ 686109 w 877892"/>
              <a:gd name="connsiteY62" fmla="*/ 45625 h 157328"/>
              <a:gd name="connsiteX63" fmla="*/ 691458 w 877892"/>
              <a:gd name="connsiteY63" fmla="*/ 50503 h 157328"/>
              <a:gd name="connsiteX64" fmla="*/ 695077 w 877892"/>
              <a:gd name="connsiteY64" fmla="*/ 56481 h 157328"/>
              <a:gd name="connsiteX65" fmla="*/ 697122 w 877892"/>
              <a:gd name="connsiteY65" fmla="*/ 64190 h 157328"/>
              <a:gd name="connsiteX66" fmla="*/ 697752 w 877892"/>
              <a:gd name="connsiteY66" fmla="*/ 74574 h 157328"/>
              <a:gd name="connsiteX67" fmla="*/ 697752 w 877892"/>
              <a:gd name="connsiteY67" fmla="*/ 77878 h 157328"/>
              <a:gd name="connsiteX68" fmla="*/ 632303 w 877892"/>
              <a:gd name="connsiteY68" fmla="*/ 131684 h 157328"/>
              <a:gd name="connsiteX69" fmla="*/ 636236 w 877892"/>
              <a:gd name="connsiteY69" fmla="*/ 143641 h 157328"/>
              <a:gd name="connsiteX70" fmla="*/ 644260 w 877892"/>
              <a:gd name="connsiteY70" fmla="*/ 151508 h 157328"/>
              <a:gd name="connsiteX71" fmla="*/ 655588 w 877892"/>
              <a:gd name="connsiteY71" fmla="*/ 155913 h 157328"/>
              <a:gd name="connsiteX72" fmla="*/ 669590 w 877892"/>
              <a:gd name="connsiteY72" fmla="*/ 157329 h 157328"/>
              <a:gd name="connsiteX73" fmla="*/ 698381 w 877892"/>
              <a:gd name="connsiteY73" fmla="*/ 147102 h 157328"/>
              <a:gd name="connsiteX74" fmla="*/ 707506 w 877892"/>
              <a:gd name="connsiteY74" fmla="*/ 119098 h 157328"/>
              <a:gd name="connsiteX75" fmla="*/ 707506 w 877892"/>
              <a:gd name="connsiteY75" fmla="*/ 33983 h 157328"/>
              <a:gd name="connsiteX76" fmla="*/ 697594 w 877892"/>
              <a:gd name="connsiteY76" fmla="*/ 33983 h 157328"/>
              <a:gd name="connsiteX77" fmla="*/ 697594 w 877892"/>
              <a:gd name="connsiteY77" fmla="*/ 46097 h 157328"/>
              <a:gd name="connsiteX78" fmla="*/ 683749 w 877892"/>
              <a:gd name="connsiteY78" fmla="*/ 34612 h 157328"/>
              <a:gd name="connsiteX79" fmla="*/ 668803 w 877892"/>
              <a:gd name="connsiteY79" fmla="*/ 31466 h 157328"/>
              <a:gd name="connsiteX80" fmla="*/ 652126 w 877892"/>
              <a:gd name="connsiteY80" fmla="*/ 34770 h 157328"/>
              <a:gd name="connsiteX81" fmla="*/ 639697 w 877892"/>
              <a:gd name="connsiteY81" fmla="*/ 43895 h 157328"/>
              <a:gd name="connsiteX82" fmla="*/ 631831 w 877892"/>
              <a:gd name="connsiteY82" fmla="*/ 58212 h 157328"/>
              <a:gd name="connsiteX83" fmla="*/ 629156 w 877892"/>
              <a:gd name="connsiteY83" fmla="*/ 76934 h 157328"/>
              <a:gd name="connsiteX84" fmla="*/ 631359 w 877892"/>
              <a:gd name="connsiteY84" fmla="*/ 93453 h 157328"/>
              <a:gd name="connsiteX85" fmla="*/ 638124 w 877892"/>
              <a:gd name="connsiteY85" fmla="*/ 107613 h 157328"/>
              <a:gd name="connsiteX86" fmla="*/ 649924 w 877892"/>
              <a:gd name="connsiteY86" fmla="*/ 117525 h 157328"/>
              <a:gd name="connsiteX87" fmla="*/ 666915 w 877892"/>
              <a:gd name="connsiteY87" fmla="*/ 121143 h 157328"/>
              <a:gd name="connsiteX88" fmla="*/ 684693 w 877892"/>
              <a:gd name="connsiteY88" fmla="*/ 116895 h 157328"/>
              <a:gd name="connsiteX89" fmla="*/ 697594 w 877892"/>
              <a:gd name="connsiteY89" fmla="*/ 104938 h 157328"/>
              <a:gd name="connsiteX90" fmla="*/ 697594 w 877892"/>
              <a:gd name="connsiteY90" fmla="*/ 118154 h 157328"/>
              <a:gd name="connsiteX91" fmla="*/ 690829 w 877892"/>
              <a:gd name="connsiteY91" fmla="*/ 142068 h 157328"/>
              <a:gd name="connsiteX92" fmla="*/ 669432 w 877892"/>
              <a:gd name="connsiteY92" fmla="*/ 149148 h 157328"/>
              <a:gd name="connsiteX93" fmla="*/ 650081 w 877892"/>
              <a:gd name="connsiteY93" fmla="*/ 144900 h 157328"/>
              <a:gd name="connsiteX94" fmla="*/ 641900 w 877892"/>
              <a:gd name="connsiteY94" fmla="*/ 131999 h 157328"/>
              <a:gd name="connsiteX95" fmla="*/ 632303 w 877892"/>
              <a:gd name="connsiteY95" fmla="*/ 131999 h 157328"/>
              <a:gd name="connsiteX96" fmla="*/ 573462 w 877892"/>
              <a:gd name="connsiteY96" fmla="*/ 122087 h 157328"/>
              <a:gd name="connsiteX97" fmla="*/ 583374 w 877892"/>
              <a:gd name="connsiteY97" fmla="*/ 122087 h 157328"/>
              <a:gd name="connsiteX98" fmla="*/ 583374 w 877892"/>
              <a:gd name="connsiteY98" fmla="*/ 69067 h 157328"/>
              <a:gd name="connsiteX99" fmla="*/ 585891 w 877892"/>
              <a:gd name="connsiteY99" fmla="*/ 57582 h 157328"/>
              <a:gd name="connsiteX100" fmla="*/ 592341 w 877892"/>
              <a:gd name="connsiteY100" fmla="*/ 49244 h 157328"/>
              <a:gd name="connsiteX101" fmla="*/ 600995 w 877892"/>
              <a:gd name="connsiteY101" fmla="*/ 43737 h 157328"/>
              <a:gd name="connsiteX102" fmla="*/ 610120 w 877892"/>
              <a:gd name="connsiteY102" fmla="*/ 42164 h 157328"/>
              <a:gd name="connsiteX103" fmla="*/ 615783 w 877892"/>
              <a:gd name="connsiteY103" fmla="*/ 42636 h 157328"/>
              <a:gd name="connsiteX104" fmla="*/ 617042 w 877892"/>
              <a:gd name="connsiteY104" fmla="*/ 33196 h 157328"/>
              <a:gd name="connsiteX105" fmla="*/ 613581 w 877892"/>
              <a:gd name="connsiteY105" fmla="*/ 32724 h 157328"/>
              <a:gd name="connsiteX106" fmla="*/ 610120 w 877892"/>
              <a:gd name="connsiteY106" fmla="*/ 32567 h 157328"/>
              <a:gd name="connsiteX107" fmla="*/ 595645 w 877892"/>
              <a:gd name="connsiteY107" fmla="*/ 36658 h 157328"/>
              <a:gd name="connsiteX108" fmla="*/ 583531 w 877892"/>
              <a:gd name="connsiteY108" fmla="*/ 48300 h 157328"/>
              <a:gd name="connsiteX109" fmla="*/ 583531 w 877892"/>
              <a:gd name="connsiteY109" fmla="*/ 33983 h 157328"/>
              <a:gd name="connsiteX110" fmla="*/ 573619 w 877892"/>
              <a:gd name="connsiteY110" fmla="*/ 33983 h 157328"/>
              <a:gd name="connsiteX111" fmla="*/ 573619 w 877892"/>
              <a:gd name="connsiteY111" fmla="*/ 122087 h 157328"/>
              <a:gd name="connsiteX112" fmla="*/ 475604 w 877892"/>
              <a:gd name="connsiteY112" fmla="*/ 92667 h 157328"/>
              <a:gd name="connsiteX113" fmla="*/ 482054 w 877892"/>
              <a:gd name="connsiteY113" fmla="*/ 116581 h 157328"/>
              <a:gd name="connsiteX114" fmla="*/ 503608 w 877892"/>
              <a:gd name="connsiteY114" fmla="*/ 124762 h 157328"/>
              <a:gd name="connsiteX115" fmla="*/ 535546 w 877892"/>
              <a:gd name="connsiteY115" fmla="*/ 107613 h 157328"/>
              <a:gd name="connsiteX116" fmla="*/ 535546 w 877892"/>
              <a:gd name="connsiteY116" fmla="*/ 121930 h 157328"/>
              <a:gd name="connsiteX117" fmla="*/ 545458 w 877892"/>
              <a:gd name="connsiteY117" fmla="*/ 121930 h 157328"/>
              <a:gd name="connsiteX118" fmla="*/ 545458 w 877892"/>
              <a:gd name="connsiteY118" fmla="*/ 33826 h 157328"/>
              <a:gd name="connsiteX119" fmla="*/ 535546 w 877892"/>
              <a:gd name="connsiteY119" fmla="*/ 33826 h 157328"/>
              <a:gd name="connsiteX120" fmla="*/ 535546 w 877892"/>
              <a:gd name="connsiteY120" fmla="*/ 85430 h 157328"/>
              <a:gd name="connsiteX121" fmla="*/ 533029 w 877892"/>
              <a:gd name="connsiteY121" fmla="*/ 98330 h 157328"/>
              <a:gd name="connsiteX122" fmla="*/ 525477 w 877892"/>
              <a:gd name="connsiteY122" fmla="*/ 107456 h 157328"/>
              <a:gd name="connsiteX123" fmla="*/ 515408 w 877892"/>
              <a:gd name="connsiteY123" fmla="*/ 113591 h 157328"/>
              <a:gd name="connsiteX124" fmla="*/ 504867 w 877892"/>
              <a:gd name="connsiteY124" fmla="*/ 115637 h 157328"/>
              <a:gd name="connsiteX125" fmla="*/ 489921 w 877892"/>
              <a:gd name="connsiteY125" fmla="*/ 109501 h 157328"/>
              <a:gd name="connsiteX126" fmla="*/ 485515 w 877892"/>
              <a:gd name="connsiteY126" fmla="*/ 89520 h 157328"/>
              <a:gd name="connsiteX127" fmla="*/ 485515 w 877892"/>
              <a:gd name="connsiteY127" fmla="*/ 33983 h 157328"/>
              <a:gd name="connsiteX128" fmla="*/ 475604 w 877892"/>
              <a:gd name="connsiteY128" fmla="*/ 33983 h 157328"/>
              <a:gd name="connsiteX129" fmla="*/ 475604 w 877892"/>
              <a:gd name="connsiteY129" fmla="*/ 92667 h 157328"/>
              <a:gd name="connsiteX130" fmla="*/ 382623 w 877892"/>
              <a:gd name="connsiteY130" fmla="*/ 73945 h 157328"/>
              <a:gd name="connsiteX131" fmla="*/ 385927 w 877892"/>
              <a:gd name="connsiteY131" fmla="*/ 56796 h 157328"/>
              <a:gd name="connsiteX132" fmla="*/ 395209 w 877892"/>
              <a:gd name="connsiteY132" fmla="*/ 45625 h 157328"/>
              <a:gd name="connsiteX133" fmla="*/ 403705 w 877892"/>
              <a:gd name="connsiteY133" fmla="*/ 41220 h 157328"/>
              <a:gd name="connsiteX134" fmla="*/ 413302 w 877892"/>
              <a:gd name="connsiteY134" fmla="*/ 39962 h 157328"/>
              <a:gd name="connsiteX135" fmla="*/ 423056 w 877892"/>
              <a:gd name="connsiteY135" fmla="*/ 41692 h 157328"/>
              <a:gd name="connsiteX136" fmla="*/ 432024 w 877892"/>
              <a:gd name="connsiteY136" fmla="*/ 47828 h 157328"/>
              <a:gd name="connsiteX137" fmla="*/ 438474 w 877892"/>
              <a:gd name="connsiteY137" fmla="*/ 59313 h 157328"/>
              <a:gd name="connsiteX138" fmla="*/ 440992 w 877892"/>
              <a:gd name="connsiteY138" fmla="*/ 77248 h 157328"/>
              <a:gd name="connsiteX139" fmla="*/ 438789 w 877892"/>
              <a:gd name="connsiteY139" fmla="*/ 95341 h 157328"/>
              <a:gd name="connsiteX140" fmla="*/ 432653 w 877892"/>
              <a:gd name="connsiteY140" fmla="*/ 107456 h 157328"/>
              <a:gd name="connsiteX141" fmla="*/ 423528 w 877892"/>
              <a:gd name="connsiteY141" fmla="*/ 114221 h 157328"/>
              <a:gd name="connsiteX142" fmla="*/ 411886 w 877892"/>
              <a:gd name="connsiteY142" fmla="*/ 116423 h 157328"/>
              <a:gd name="connsiteX143" fmla="*/ 402446 w 877892"/>
              <a:gd name="connsiteY143" fmla="*/ 115007 h 157328"/>
              <a:gd name="connsiteX144" fmla="*/ 394422 w 877892"/>
              <a:gd name="connsiteY144" fmla="*/ 110602 h 157328"/>
              <a:gd name="connsiteX145" fmla="*/ 388916 w 877892"/>
              <a:gd name="connsiteY145" fmla="*/ 105725 h 157328"/>
              <a:gd name="connsiteX146" fmla="*/ 385297 w 877892"/>
              <a:gd name="connsiteY146" fmla="*/ 99589 h 157328"/>
              <a:gd name="connsiteX147" fmla="*/ 383252 w 877892"/>
              <a:gd name="connsiteY147" fmla="*/ 91880 h 157328"/>
              <a:gd name="connsiteX148" fmla="*/ 382623 w 877892"/>
              <a:gd name="connsiteY148" fmla="*/ 81654 h 157328"/>
              <a:gd name="connsiteX149" fmla="*/ 382623 w 877892"/>
              <a:gd name="connsiteY149" fmla="*/ 73945 h 157328"/>
              <a:gd name="connsiteX150" fmla="*/ 373026 w 877892"/>
              <a:gd name="connsiteY150" fmla="*/ 122087 h 157328"/>
              <a:gd name="connsiteX151" fmla="*/ 382937 w 877892"/>
              <a:gd name="connsiteY151" fmla="*/ 122087 h 157328"/>
              <a:gd name="connsiteX152" fmla="*/ 382937 w 877892"/>
              <a:gd name="connsiteY152" fmla="*/ 110130 h 157328"/>
              <a:gd name="connsiteX153" fmla="*/ 396468 w 877892"/>
              <a:gd name="connsiteY153" fmla="*/ 121615 h 157328"/>
              <a:gd name="connsiteX154" fmla="*/ 411886 w 877892"/>
              <a:gd name="connsiteY154" fmla="*/ 124919 h 157328"/>
              <a:gd name="connsiteX155" fmla="*/ 428248 w 877892"/>
              <a:gd name="connsiteY155" fmla="*/ 121615 h 157328"/>
              <a:gd name="connsiteX156" fmla="*/ 440677 w 877892"/>
              <a:gd name="connsiteY156" fmla="*/ 112175 h 157328"/>
              <a:gd name="connsiteX157" fmla="*/ 448701 w 877892"/>
              <a:gd name="connsiteY157" fmla="*/ 97229 h 157328"/>
              <a:gd name="connsiteX158" fmla="*/ 451533 w 877892"/>
              <a:gd name="connsiteY158" fmla="*/ 77091 h 157328"/>
              <a:gd name="connsiteX159" fmla="*/ 449173 w 877892"/>
              <a:gd name="connsiteY159" fmla="*/ 58998 h 157328"/>
              <a:gd name="connsiteX160" fmla="*/ 442093 w 877892"/>
              <a:gd name="connsiteY160" fmla="*/ 44524 h 157328"/>
              <a:gd name="connsiteX161" fmla="*/ 430136 w 877892"/>
              <a:gd name="connsiteY161" fmla="*/ 34927 h 157328"/>
              <a:gd name="connsiteX162" fmla="*/ 413302 w 877892"/>
              <a:gd name="connsiteY162" fmla="*/ 31466 h 157328"/>
              <a:gd name="connsiteX163" fmla="*/ 395838 w 877892"/>
              <a:gd name="connsiteY163" fmla="*/ 35714 h 157328"/>
              <a:gd name="connsiteX164" fmla="*/ 382623 w 877892"/>
              <a:gd name="connsiteY164" fmla="*/ 47356 h 157328"/>
              <a:gd name="connsiteX165" fmla="*/ 382623 w 877892"/>
              <a:gd name="connsiteY165" fmla="*/ 157 h 157328"/>
              <a:gd name="connsiteX166" fmla="*/ 372711 w 877892"/>
              <a:gd name="connsiteY166" fmla="*/ 157 h 157328"/>
              <a:gd name="connsiteX167" fmla="*/ 372711 w 877892"/>
              <a:gd name="connsiteY167" fmla="*/ 122087 h 157328"/>
              <a:gd name="connsiteX168" fmla="*/ 223249 w 877892"/>
              <a:gd name="connsiteY168" fmla="*/ 122087 h 157328"/>
              <a:gd name="connsiteX169" fmla="*/ 233161 w 877892"/>
              <a:gd name="connsiteY169" fmla="*/ 122087 h 157328"/>
              <a:gd name="connsiteX170" fmla="*/ 233161 w 877892"/>
              <a:gd name="connsiteY170" fmla="*/ 70011 h 157328"/>
              <a:gd name="connsiteX171" fmla="*/ 234105 w 877892"/>
              <a:gd name="connsiteY171" fmla="*/ 62145 h 157328"/>
              <a:gd name="connsiteX172" fmla="*/ 236465 w 877892"/>
              <a:gd name="connsiteY172" fmla="*/ 56166 h 157328"/>
              <a:gd name="connsiteX173" fmla="*/ 239611 w 877892"/>
              <a:gd name="connsiteY173" fmla="*/ 51761 h 157328"/>
              <a:gd name="connsiteX174" fmla="*/ 242915 w 877892"/>
              <a:gd name="connsiteY174" fmla="*/ 48457 h 157328"/>
              <a:gd name="connsiteX175" fmla="*/ 251883 w 877892"/>
              <a:gd name="connsiteY175" fmla="*/ 42321 h 157328"/>
              <a:gd name="connsiteX176" fmla="*/ 261480 w 877892"/>
              <a:gd name="connsiteY176" fmla="*/ 40119 h 157328"/>
              <a:gd name="connsiteX177" fmla="*/ 275010 w 877892"/>
              <a:gd name="connsiteY177" fmla="*/ 45468 h 157328"/>
              <a:gd name="connsiteX178" fmla="*/ 279415 w 877892"/>
              <a:gd name="connsiteY178" fmla="*/ 63718 h 157328"/>
              <a:gd name="connsiteX179" fmla="*/ 279415 w 877892"/>
              <a:gd name="connsiteY179" fmla="*/ 122087 h 157328"/>
              <a:gd name="connsiteX180" fmla="*/ 289327 w 877892"/>
              <a:gd name="connsiteY180" fmla="*/ 122087 h 157328"/>
              <a:gd name="connsiteX181" fmla="*/ 289327 w 877892"/>
              <a:gd name="connsiteY181" fmla="*/ 65763 h 157328"/>
              <a:gd name="connsiteX182" fmla="*/ 292002 w 877892"/>
              <a:gd name="connsiteY182" fmla="*/ 54908 h 157328"/>
              <a:gd name="connsiteX183" fmla="*/ 298767 w 877892"/>
              <a:gd name="connsiteY183" fmla="*/ 47041 h 157328"/>
              <a:gd name="connsiteX184" fmla="*/ 308364 w 877892"/>
              <a:gd name="connsiteY184" fmla="*/ 41692 h 157328"/>
              <a:gd name="connsiteX185" fmla="*/ 317331 w 877892"/>
              <a:gd name="connsiteY185" fmla="*/ 40276 h 157328"/>
              <a:gd name="connsiteX186" fmla="*/ 325355 w 877892"/>
              <a:gd name="connsiteY186" fmla="*/ 41377 h 157328"/>
              <a:gd name="connsiteX187" fmla="*/ 331019 w 877892"/>
              <a:gd name="connsiteY187" fmla="*/ 45153 h 157328"/>
              <a:gd name="connsiteX188" fmla="*/ 334480 w 877892"/>
              <a:gd name="connsiteY188" fmla="*/ 52390 h 157328"/>
              <a:gd name="connsiteX189" fmla="*/ 335582 w 877892"/>
              <a:gd name="connsiteY189" fmla="*/ 63718 h 157328"/>
              <a:gd name="connsiteX190" fmla="*/ 335582 w 877892"/>
              <a:gd name="connsiteY190" fmla="*/ 122244 h 157328"/>
              <a:gd name="connsiteX191" fmla="*/ 345493 w 877892"/>
              <a:gd name="connsiteY191" fmla="*/ 122244 h 157328"/>
              <a:gd name="connsiteX192" fmla="*/ 345493 w 877892"/>
              <a:gd name="connsiteY192" fmla="*/ 60100 h 157328"/>
              <a:gd name="connsiteX193" fmla="*/ 338256 w 877892"/>
              <a:gd name="connsiteY193" fmla="*/ 38231 h 157328"/>
              <a:gd name="connsiteX194" fmla="*/ 318433 w 877892"/>
              <a:gd name="connsiteY194" fmla="*/ 31308 h 157328"/>
              <a:gd name="connsiteX195" fmla="*/ 301127 w 877892"/>
              <a:gd name="connsiteY195" fmla="*/ 35871 h 157328"/>
              <a:gd name="connsiteX196" fmla="*/ 287124 w 877892"/>
              <a:gd name="connsiteY196" fmla="*/ 48615 h 157328"/>
              <a:gd name="connsiteX197" fmla="*/ 278157 w 877892"/>
              <a:gd name="connsiteY197" fmla="*/ 35871 h 157328"/>
              <a:gd name="connsiteX198" fmla="*/ 261952 w 877892"/>
              <a:gd name="connsiteY198" fmla="*/ 31308 h 157328"/>
              <a:gd name="connsiteX199" fmla="*/ 246848 w 877892"/>
              <a:gd name="connsiteY199" fmla="*/ 35556 h 157328"/>
              <a:gd name="connsiteX200" fmla="*/ 232846 w 877892"/>
              <a:gd name="connsiteY200" fmla="*/ 48615 h 157328"/>
              <a:gd name="connsiteX201" fmla="*/ 232846 w 877892"/>
              <a:gd name="connsiteY201" fmla="*/ 34140 h 157328"/>
              <a:gd name="connsiteX202" fmla="*/ 222934 w 877892"/>
              <a:gd name="connsiteY202" fmla="*/ 34140 h 157328"/>
              <a:gd name="connsiteX203" fmla="*/ 222934 w 877892"/>
              <a:gd name="connsiteY203" fmla="*/ 122087 h 157328"/>
              <a:gd name="connsiteX204" fmla="*/ 174635 w 877892"/>
              <a:gd name="connsiteY204" fmla="*/ 121615 h 157328"/>
              <a:gd name="connsiteX205" fmla="*/ 187850 w 877892"/>
              <a:gd name="connsiteY205" fmla="*/ 112018 h 157328"/>
              <a:gd name="connsiteX206" fmla="*/ 196189 w 877892"/>
              <a:gd name="connsiteY206" fmla="*/ 97072 h 157328"/>
              <a:gd name="connsiteX207" fmla="*/ 199178 w 877892"/>
              <a:gd name="connsiteY207" fmla="*/ 77563 h 157328"/>
              <a:gd name="connsiteX208" fmla="*/ 196346 w 877892"/>
              <a:gd name="connsiteY208" fmla="*/ 58526 h 157328"/>
              <a:gd name="connsiteX209" fmla="*/ 188165 w 877892"/>
              <a:gd name="connsiteY209" fmla="*/ 43895 h 157328"/>
              <a:gd name="connsiteX210" fmla="*/ 175107 w 877892"/>
              <a:gd name="connsiteY210" fmla="*/ 34612 h 157328"/>
              <a:gd name="connsiteX211" fmla="*/ 157800 w 877892"/>
              <a:gd name="connsiteY211" fmla="*/ 31308 h 157328"/>
              <a:gd name="connsiteX212" fmla="*/ 140494 w 877892"/>
              <a:gd name="connsiteY212" fmla="*/ 34612 h 157328"/>
              <a:gd name="connsiteX213" fmla="*/ 127436 w 877892"/>
              <a:gd name="connsiteY213" fmla="*/ 44052 h 157328"/>
              <a:gd name="connsiteX214" fmla="*/ 119098 w 877892"/>
              <a:gd name="connsiteY214" fmla="*/ 58998 h 157328"/>
              <a:gd name="connsiteX215" fmla="*/ 116108 w 877892"/>
              <a:gd name="connsiteY215" fmla="*/ 78507 h 157328"/>
              <a:gd name="connsiteX216" fmla="*/ 118940 w 877892"/>
              <a:gd name="connsiteY216" fmla="*/ 97701 h 157328"/>
              <a:gd name="connsiteX217" fmla="*/ 126964 w 877892"/>
              <a:gd name="connsiteY217" fmla="*/ 112333 h 157328"/>
              <a:gd name="connsiteX218" fmla="*/ 139708 w 877892"/>
              <a:gd name="connsiteY218" fmla="*/ 121615 h 157328"/>
              <a:gd name="connsiteX219" fmla="*/ 157014 w 877892"/>
              <a:gd name="connsiteY219" fmla="*/ 124919 h 157328"/>
              <a:gd name="connsiteX220" fmla="*/ 174635 w 877892"/>
              <a:gd name="connsiteY220" fmla="*/ 121615 h 157328"/>
              <a:gd name="connsiteX221" fmla="*/ 143326 w 877892"/>
              <a:gd name="connsiteY221" fmla="*/ 113277 h 157328"/>
              <a:gd name="connsiteX222" fmla="*/ 133729 w 877892"/>
              <a:gd name="connsiteY222" fmla="*/ 105096 h 157328"/>
              <a:gd name="connsiteX223" fmla="*/ 128380 w 877892"/>
              <a:gd name="connsiteY223" fmla="*/ 92981 h 157328"/>
              <a:gd name="connsiteX224" fmla="*/ 126649 w 877892"/>
              <a:gd name="connsiteY224" fmla="*/ 77878 h 157328"/>
              <a:gd name="connsiteX225" fmla="*/ 128380 w 877892"/>
              <a:gd name="connsiteY225" fmla="*/ 62932 h 157328"/>
              <a:gd name="connsiteX226" fmla="*/ 133729 w 877892"/>
              <a:gd name="connsiteY226" fmla="*/ 50817 h 157328"/>
              <a:gd name="connsiteX227" fmla="*/ 143326 w 877892"/>
              <a:gd name="connsiteY227" fmla="*/ 42636 h 157328"/>
              <a:gd name="connsiteX228" fmla="*/ 157486 w 877892"/>
              <a:gd name="connsiteY228" fmla="*/ 39647 h 157328"/>
              <a:gd name="connsiteX229" fmla="*/ 171645 w 877892"/>
              <a:gd name="connsiteY229" fmla="*/ 42636 h 157328"/>
              <a:gd name="connsiteX230" fmla="*/ 181242 w 877892"/>
              <a:gd name="connsiteY230" fmla="*/ 50817 h 157328"/>
              <a:gd name="connsiteX231" fmla="*/ 186749 w 877892"/>
              <a:gd name="connsiteY231" fmla="*/ 62932 h 157328"/>
              <a:gd name="connsiteX232" fmla="*/ 188479 w 877892"/>
              <a:gd name="connsiteY232" fmla="*/ 77720 h 157328"/>
              <a:gd name="connsiteX233" fmla="*/ 186749 w 877892"/>
              <a:gd name="connsiteY233" fmla="*/ 92981 h 157328"/>
              <a:gd name="connsiteX234" fmla="*/ 181242 w 877892"/>
              <a:gd name="connsiteY234" fmla="*/ 105096 h 157328"/>
              <a:gd name="connsiteX235" fmla="*/ 171645 w 877892"/>
              <a:gd name="connsiteY235" fmla="*/ 113277 h 157328"/>
              <a:gd name="connsiteX236" fmla="*/ 157486 w 877892"/>
              <a:gd name="connsiteY236" fmla="*/ 116266 h 157328"/>
              <a:gd name="connsiteX237" fmla="*/ 143326 w 877892"/>
              <a:gd name="connsiteY237" fmla="*/ 113277 h 157328"/>
              <a:gd name="connsiteX238" fmla="*/ 0 w 877892"/>
              <a:gd name="connsiteY238" fmla="*/ 122087 h 157328"/>
              <a:gd name="connsiteX239" fmla="*/ 10384 w 877892"/>
              <a:gd name="connsiteY239" fmla="*/ 122087 h 157328"/>
              <a:gd name="connsiteX240" fmla="*/ 10384 w 877892"/>
              <a:gd name="connsiteY240" fmla="*/ 63875 h 157328"/>
              <a:gd name="connsiteX241" fmla="*/ 79294 w 877892"/>
              <a:gd name="connsiteY241" fmla="*/ 63875 h 157328"/>
              <a:gd name="connsiteX242" fmla="*/ 79294 w 877892"/>
              <a:gd name="connsiteY242" fmla="*/ 122244 h 157328"/>
              <a:gd name="connsiteX243" fmla="*/ 89677 w 877892"/>
              <a:gd name="connsiteY243" fmla="*/ 122244 h 157328"/>
              <a:gd name="connsiteX244" fmla="*/ 89677 w 877892"/>
              <a:gd name="connsiteY244" fmla="*/ 0 h 157328"/>
              <a:gd name="connsiteX245" fmla="*/ 79294 w 877892"/>
              <a:gd name="connsiteY245" fmla="*/ 0 h 157328"/>
              <a:gd name="connsiteX246" fmla="*/ 79294 w 877892"/>
              <a:gd name="connsiteY246" fmla="*/ 54121 h 157328"/>
              <a:gd name="connsiteX247" fmla="*/ 10384 w 877892"/>
              <a:gd name="connsiteY247" fmla="*/ 54121 h 157328"/>
              <a:gd name="connsiteX248" fmla="*/ 10384 w 877892"/>
              <a:gd name="connsiteY248" fmla="*/ 0 h 157328"/>
              <a:gd name="connsiteX249" fmla="*/ 0 w 877892"/>
              <a:gd name="connsiteY249" fmla="*/ 0 h 157328"/>
              <a:gd name="connsiteX250" fmla="*/ 0 w 877892"/>
              <a:gd name="connsiteY250" fmla="*/ 122087 h 1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877892" h="157328">
                <a:moveTo>
                  <a:pt x="834313" y="122087"/>
                </a:moveTo>
                <a:lnTo>
                  <a:pt x="844224" y="122087"/>
                </a:lnTo>
                <a:lnTo>
                  <a:pt x="844224" y="69067"/>
                </a:lnTo>
                <a:cubicBezTo>
                  <a:pt x="844224" y="64662"/>
                  <a:pt x="845011" y="60729"/>
                  <a:pt x="846742" y="57582"/>
                </a:cubicBezTo>
                <a:cubicBezTo>
                  <a:pt x="848472" y="54278"/>
                  <a:pt x="850675" y="51604"/>
                  <a:pt x="853192" y="49244"/>
                </a:cubicBezTo>
                <a:cubicBezTo>
                  <a:pt x="855867" y="46569"/>
                  <a:pt x="858856" y="44839"/>
                  <a:pt x="861845" y="43737"/>
                </a:cubicBezTo>
                <a:cubicBezTo>
                  <a:pt x="864992" y="42636"/>
                  <a:pt x="867981" y="42164"/>
                  <a:pt x="870970" y="42164"/>
                </a:cubicBezTo>
                <a:cubicBezTo>
                  <a:pt x="872701" y="42164"/>
                  <a:pt x="874589" y="42321"/>
                  <a:pt x="876634" y="42636"/>
                </a:cubicBezTo>
                <a:lnTo>
                  <a:pt x="877893" y="33196"/>
                </a:lnTo>
                <a:cubicBezTo>
                  <a:pt x="876634" y="33039"/>
                  <a:pt x="875533" y="32882"/>
                  <a:pt x="874431" y="32724"/>
                </a:cubicBezTo>
                <a:cubicBezTo>
                  <a:pt x="873330" y="32724"/>
                  <a:pt x="872229" y="32567"/>
                  <a:pt x="870970" y="32567"/>
                </a:cubicBezTo>
                <a:cubicBezTo>
                  <a:pt x="865778" y="32567"/>
                  <a:pt x="861058" y="33983"/>
                  <a:pt x="856496" y="36658"/>
                </a:cubicBezTo>
                <a:cubicBezTo>
                  <a:pt x="851933" y="39332"/>
                  <a:pt x="847843" y="43265"/>
                  <a:pt x="844382" y="48300"/>
                </a:cubicBezTo>
                <a:lnTo>
                  <a:pt x="844382" y="33983"/>
                </a:lnTo>
                <a:lnTo>
                  <a:pt x="834470" y="33983"/>
                </a:lnTo>
                <a:lnTo>
                  <a:pt x="834470" y="122087"/>
                </a:lnTo>
                <a:close/>
                <a:moveTo>
                  <a:pt x="742275" y="72057"/>
                </a:moveTo>
                <a:cubicBezTo>
                  <a:pt x="743377" y="61044"/>
                  <a:pt x="746366" y="52862"/>
                  <a:pt x="751558" y="47356"/>
                </a:cubicBezTo>
                <a:cubicBezTo>
                  <a:pt x="756750" y="42007"/>
                  <a:pt x="763515" y="39332"/>
                  <a:pt x="772011" y="39332"/>
                </a:cubicBezTo>
                <a:cubicBezTo>
                  <a:pt x="776888" y="39332"/>
                  <a:pt x="781136" y="40119"/>
                  <a:pt x="784597" y="41692"/>
                </a:cubicBezTo>
                <a:cubicBezTo>
                  <a:pt x="788058" y="43265"/>
                  <a:pt x="791047" y="45468"/>
                  <a:pt x="793092" y="48457"/>
                </a:cubicBezTo>
                <a:cubicBezTo>
                  <a:pt x="795295" y="51447"/>
                  <a:pt x="796868" y="54750"/>
                  <a:pt x="797812" y="58841"/>
                </a:cubicBezTo>
                <a:cubicBezTo>
                  <a:pt x="798914" y="62774"/>
                  <a:pt x="799386" y="67179"/>
                  <a:pt x="799386" y="72057"/>
                </a:cubicBezTo>
                <a:lnTo>
                  <a:pt x="742275" y="72057"/>
                </a:lnTo>
                <a:close/>
                <a:moveTo>
                  <a:pt x="798756" y="99117"/>
                </a:moveTo>
                <a:cubicBezTo>
                  <a:pt x="798127" y="101792"/>
                  <a:pt x="797183" y="104152"/>
                  <a:pt x="795924" y="106197"/>
                </a:cubicBezTo>
                <a:cubicBezTo>
                  <a:pt x="794666" y="108242"/>
                  <a:pt x="793092" y="110130"/>
                  <a:pt x="791047" y="111703"/>
                </a:cubicBezTo>
                <a:cubicBezTo>
                  <a:pt x="789002" y="113277"/>
                  <a:pt x="786485" y="114535"/>
                  <a:pt x="783338" y="115322"/>
                </a:cubicBezTo>
                <a:cubicBezTo>
                  <a:pt x="780192" y="116109"/>
                  <a:pt x="776416" y="116581"/>
                  <a:pt x="772011" y="116581"/>
                </a:cubicBezTo>
                <a:cubicBezTo>
                  <a:pt x="767133" y="116581"/>
                  <a:pt x="762728" y="115637"/>
                  <a:pt x="758952" y="113749"/>
                </a:cubicBezTo>
                <a:cubicBezTo>
                  <a:pt x="755176" y="111861"/>
                  <a:pt x="752030" y="109344"/>
                  <a:pt x="749513" y="106040"/>
                </a:cubicBezTo>
                <a:cubicBezTo>
                  <a:pt x="746995" y="102736"/>
                  <a:pt x="745107" y="98960"/>
                  <a:pt x="743849" y="94555"/>
                </a:cubicBezTo>
                <a:cubicBezTo>
                  <a:pt x="742590" y="90149"/>
                  <a:pt x="741961" y="85430"/>
                  <a:pt x="741961" y="80395"/>
                </a:cubicBezTo>
                <a:lnTo>
                  <a:pt x="809769" y="80395"/>
                </a:lnTo>
                <a:lnTo>
                  <a:pt x="809769" y="74102"/>
                </a:lnTo>
                <a:cubicBezTo>
                  <a:pt x="809769" y="68123"/>
                  <a:pt x="809140" y="62460"/>
                  <a:pt x="807724" y="57110"/>
                </a:cubicBezTo>
                <a:cubicBezTo>
                  <a:pt x="806308" y="51919"/>
                  <a:pt x="804105" y="47356"/>
                  <a:pt x="801116" y="43580"/>
                </a:cubicBezTo>
                <a:cubicBezTo>
                  <a:pt x="798127" y="39804"/>
                  <a:pt x="794194" y="36815"/>
                  <a:pt x="789474" y="34455"/>
                </a:cubicBezTo>
                <a:cubicBezTo>
                  <a:pt x="784754" y="32252"/>
                  <a:pt x="778933" y="31151"/>
                  <a:pt x="772011" y="31151"/>
                </a:cubicBezTo>
                <a:cubicBezTo>
                  <a:pt x="766189" y="31151"/>
                  <a:pt x="760840" y="32252"/>
                  <a:pt x="755963" y="34298"/>
                </a:cubicBezTo>
                <a:cubicBezTo>
                  <a:pt x="751086" y="36343"/>
                  <a:pt x="746838" y="39332"/>
                  <a:pt x="743377" y="43423"/>
                </a:cubicBezTo>
                <a:cubicBezTo>
                  <a:pt x="739758" y="47513"/>
                  <a:pt x="736926" y="52390"/>
                  <a:pt x="735038" y="58369"/>
                </a:cubicBezTo>
                <a:cubicBezTo>
                  <a:pt x="732993" y="64347"/>
                  <a:pt x="732049" y="71113"/>
                  <a:pt x="732049" y="78822"/>
                </a:cubicBezTo>
                <a:cubicBezTo>
                  <a:pt x="732049" y="93139"/>
                  <a:pt x="735510" y="104309"/>
                  <a:pt x="742590" y="112490"/>
                </a:cubicBezTo>
                <a:cubicBezTo>
                  <a:pt x="749670" y="120671"/>
                  <a:pt x="759424" y="124762"/>
                  <a:pt x="772011" y="124762"/>
                </a:cubicBezTo>
                <a:cubicBezTo>
                  <a:pt x="783024" y="124762"/>
                  <a:pt x="791362" y="122402"/>
                  <a:pt x="797340" y="117525"/>
                </a:cubicBezTo>
                <a:cubicBezTo>
                  <a:pt x="803319" y="112805"/>
                  <a:pt x="806937" y="106512"/>
                  <a:pt x="808353" y="98802"/>
                </a:cubicBezTo>
                <a:lnTo>
                  <a:pt x="798756" y="98802"/>
                </a:lnTo>
                <a:close/>
                <a:moveTo>
                  <a:pt x="697752" y="77878"/>
                </a:moveTo>
                <a:cubicBezTo>
                  <a:pt x="697752" y="84800"/>
                  <a:pt x="696650" y="90621"/>
                  <a:pt x="694605" y="95184"/>
                </a:cubicBezTo>
                <a:cubicBezTo>
                  <a:pt x="692560" y="99746"/>
                  <a:pt x="689413" y="103522"/>
                  <a:pt x="685480" y="106512"/>
                </a:cubicBezTo>
                <a:cubicBezTo>
                  <a:pt x="682491" y="108557"/>
                  <a:pt x="679659" y="109973"/>
                  <a:pt x="677141" y="110759"/>
                </a:cubicBezTo>
                <a:cubicBezTo>
                  <a:pt x="674467" y="111546"/>
                  <a:pt x="671320" y="112018"/>
                  <a:pt x="667544" y="112018"/>
                </a:cubicBezTo>
                <a:cubicBezTo>
                  <a:pt x="664083" y="112018"/>
                  <a:pt x="660779" y="111389"/>
                  <a:pt x="657475" y="110130"/>
                </a:cubicBezTo>
                <a:cubicBezTo>
                  <a:pt x="654172" y="108872"/>
                  <a:pt x="651182" y="106826"/>
                  <a:pt x="648508" y="103994"/>
                </a:cubicBezTo>
                <a:cubicBezTo>
                  <a:pt x="645833" y="101162"/>
                  <a:pt x="643788" y="97544"/>
                  <a:pt x="642057" y="92981"/>
                </a:cubicBezTo>
                <a:cubicBezTo>
                  <a:pt x="640327" y="88419"/>
                  <a:pt x="639540" y="82912"/>
                  <a:pt x="639540" y="76304"/>
                </a:cubicBezTo>
                <a:cubicBezTo>
                  <a:pt x="639540" y="69854"/>
                  <a:pt x="640327" y="64190"/>
                  <a:pt x="641743" y="59628"/>
                </a:cubicBezTo>
                <a:cubicBezTo>
                  <a:pt x="643159" y="55065"/>
                  <a:pt x="645204" y="51289"/>
                  <a:pt x="647878" y="48300"/>
                </a:cubicBezTo>
                <a:cubicBezTo>
                  <a:pt x="650553" y="45311"/>
                  <a:pt x="653542" y="43108"/>
                  <a:pt x="657161" y="41849"/>
                </a:cubicBezTo>
                <a:cubicBezTo>
                  <a:pt x="660622" y="40434"/>
                  <a:pt x="664555" y="39804"/>
                  <a:pt x="668803" y="39804"/>
                </a:cubicBezTo>
                <a:cubicBezTo>
                  <a:pt x="672264" y="39804"/>
                  <a:pt x="675254" y="40276"/>
                  <a:pt x="677928" y="41220"/>
                </a:cubicBezTo>
                <a:cubicBezTo>
                  <a:pt x="680603" y="42164"/>
                  <a:pt x="683277" y="43580"/>
                  <a:pt x="686109" y="45625"/>
                </a:cubicBezTo>
                <a:cubicBezTo>
                  <a:pt x="688154" y="47199"/>
                  <a:pt x="689885" y="48929"/>
                  <a:pt x="691458" y="50503"/>
                </a:cubicBezTo>
                <a:cubicBezTo>
                  <a:pt x="692874" y="52233"/>
                  <a:pt x="694133" y="54121"/>
                  <a:pt x="695077" y="56481"/>
                </a:cubicBezTo>
                <a:cubicBezTo>
                  <a:pt x="696021" y="58684"/>
                  <a:pt x="696650" y="61201"/>
                  <a:pt x="697122" y="64190"/>
                </a:cubicBezTo>
                <a:cubicBezTo>
                  <a:pt x="697594" y="67179"/>
                  <a:pt x="697752" y="70483"/>
                  <a:pt x="697752" y="74574"/>
                </a:cubicBezTo>
                <a:lnTo>
                  <a:pt x="697752" y="77878"/>
                </a:lnTo>
                <a:close/>
                <a:moveTo>
                  <a:pt x="632303" y="131684"/>
                </a:moveTo>
                <a:cubicBezTo>
                  <a:pt x="632932" y="136404"/>
                  <a:pt x="634191" y="140337"/>
                  <a:pt x="636236" y="143641"/>
                </a:cubicBezTo>
                <a:cubicBezTo>
                  <a:pt x="638281" y="146945"/>
                  <a:pt x="640956" y="149462"/>
                  <a:pt x="644260" y="151508"/>
                </a:cubicBezTo>
                <a:cubicBezTo>
                  <a:pt x="647564" y="153553"/>
                  <a:pt x="651340" y="154969"/>
                  <a:pt x="655588" y="155913"/>
                </a:cubicBezTo>
                <a:cubicBezTo>
                  <a:pt x="659835" y="156857"/>
                  <a:pt x="664555" y="157329"/>
                  <a:pt x="669590" y="157329"/>
                </a:cubicBezTo>
                <a:cubicBezTo>
                  <a:pt x="682648" y="157329"/>
                  <a:pt x="692245" y="153868"/>
                  <a:pt x="698381" y="147102"/>
                </a:cubicBezTo>
                <a:cubicBezTo>
                  <a:pt x="704517" y="140337"/>
                  <a:pt x="707506" y="130898"/>
                  <a:pt x="707506" y="119098"/>
                </a:cubicBezTo>
                <a:lnTo>
                  <a:pt x="707506" y="33983"/>
                </a:lnTo>
                <a:lnTo>
                  <a:pt x="697594" y="33983"/>
                </a:lnTo>
                <a:lnTo>
                  <a:pt x="697594" y="46097"/>
                </a:lnTo>
                <a:cubicBezTo>
                  <a:pt x="693346" y="40434"/>
                  <a:pt x="688784" y="36658"/>
                  <a:pt x="683749" y="34612"/>
                </a:cubicBezTo>
                <a:cubicBezTo>
                  <a:pt x="678715" y="32567"/>
                  <a:pt x="673838" y="31466"/>
                  <a:pt x="668803" y="31466"/>
                </a:cubicBezTo>
                <a:cubicBezTo>
                  <a:pt x="662667" y="31466"/>
                  <a:pt x="657161" y="32567"/>
                  <a:pt x="652126" y="34770"/>
                </a:cubicBezTo>
                <a:cubicBezTo>
                  <a:pt x="647249" y="36972"/>
                  <a:pt x="643001" y="39962"/>
                  <a:pt x="639697" y="43895"/>
                </a:cubicBezTo>
                <a:cubicBezTo>
                  <a:pt x="636236" y="47828"/>
                  <a:pt x="633719" y="52548"/>
                  <a:pt x="631831" y="58212"/>
                </a:cubicBezTo>
                <a:cubicBezTo>
                  <a:pt x="629943" y="63875"/>
                  <a:pt x="629156" y="70011"/>
                  <a:pt x="629156" y="76934"/>
                </a:cubicBezTo>
                <a:cubicBezTo>
                  <a:pt x="629156" y="82598"/>
                  <a:pt x="629943" y="88104"/>
                  <a:pt x="631359" y="93453"/>
                </a:cubicBezTo>
                <a:cubicBezTo>
                  <a:pt x="632775" y="98802"/>
                  <a:pt x="635135" y="103522"/>
                  <a:pt x="638124" y="107613"/>
                </a:cubicBezTo>
                <a:cubicBezTo>
                  <a:pt x="641271" y="111703"/>
                  <a:pt x="645204" y="115007"/>
                  <a:pt x="649924" y="117525"/>
                </a:cubicBezTo>
                <a:cubicBezTo>
                  <a:pt x="654644" y="120042"/>
                  <a:pt x="660307" y="121143"/>
                  <a:pt x="666915" y="121143"/>
                </a:cubicBezTo>
                <a:cubicBezTo>
                  <a:pt x="673680" y="121143"/>
                  <a:pt x="679659" y="119727"/>
                  <a:pt x="684693" y="116895"/>
                </a:cubicBezTo>
                <a:cubicBezTo>
                  <a:pt x="689570" y="114063"/>
                  <a:pt x="693976" y="110130"/>
                  <a:pt x="697594" y="104938"/>
                </a:cubicBezTo>
                <a:lnTo>
                  <a:pt x="697594" y="118154"/>
                </a:lnTo>
                <a:cubicBezTo>
                  <a:pt x="697594" y="129324"/>
                  <a:pt x="695392" y="137348"/>
                  <a:pt x="690829" y="142068"/>
                </a:cubicBezTo>
                <a:cubicBezTo>
                  <a:pt x="686267" y="146788"/>
                  <a:pt x="679187" y="149148"/>
                  <a:pt x="669432" y="149148"/>
                </a:cubicBezTo>
                <a:cubicBezTo>
                  <a:pt x="660779" y="149148"/>
                  <a:pt x="654329" y="147732"/>
                  <a:pt x="650081" y="144900"/>
                </a:cubicBezTo>
                <a:cubicBezTo>
                  <a:pt x="645833" y="142068"/>
                  <a:pt x="643159" y="137820"/>
                  <a:pt x="641900" y="131999"/>
                </a:cubicBezTo>
                <a:lnTo>
                  <a:pt x="632303" y="131999"/>
                </a:lnTo>
                <a:close/>
                <a:moveTo>
                  <a:pt x="573462" y="122087"/>
                </a:moveTo>
                <a:lnTo>
                  <a:pt x="583374" y="122087"/>
                </a:lnTo>
                <a:lnTo>
                  <a:pt x="583374" y="69067"/>
                </a:lnTo>
                <a:cubicBezTo>
                  <a:pt x="583374" y="64662"/>
                  <a:pt x="584160" y="60729"/>
                  <a:pt x="585891" y="57582"/>
                </a:cubicBezTo>
                <a:cubicBezTo>
                  <a:pt x="587622" y="54278"/>
                  <a:pt x="589824" y="51604"/>
                  <a:pt x="592341" y="49244"/>
                </a:cubicBezTo>
                <a:cubicBezTo>
                  <a:pt x="595016" y="46569"/>
                  <a:pt x="598005" y="44839"/>
                  <a:pt x="600995" y="43737"/>
                </a:cubicBezTo>
                <a:cubicBezTo>
                  <a:pt x="604141" y="42636"/>
                  <a:pt x="607130" y="42164"/>
                  <a:pt x="610120" y="42164"/>
                </a:cubicBezTo>
                <a:cubicBezTo>
                  <a:pt x="611850" y="42164"/>
                  <a:pt x="613738" y="42321"/>
                  <a:pt x="615783" y="42636"/>
                </a:cubicBezTo>
                <a:lnTo>
                  <a:pt x="617042" y="33196"/>
                </a:lnTo>
                <a:cubicBezTo>
                  <a:pt x="615783" y="33039"/>
                  <a:pt x="614682" y="32882"/>
                  <a:pt x="613581" y="32724"/>
                </a:cubicBezTo>
                <a:cubicBezTo>
                  <a:pt x="612479" y="32724"/>
                  <a:pt x="611378" y="32567"/>
                  <a:pt x="610120" y="32567"/>
                </a:cubicBezTo>
                <a:cubicBezTo>
                  <a:pt x="604928" y="32567"/>
                  <a:pt x="600208" y="33983"/>
                  <a:pt x="595645" y="36658"/>
                </a:cubicBezTo>
                <a:cubicBezTo>
                  <a:pt x="591083" y="39332"/>
                  <a:pt x="586992" y="43265"/>
                  <a:pt x="583531" y="48300"/>
                </a:cubicBezTo>
                <a:lnTo>
                  <a:pt x="583531" y="33983"/>
                </a:lnTo>
                <a:lnTo>
                  <a:pt x="573619" y="33983"/>
                </a:lnTo>
                <a:lnTo>
                  <a:pt x="573619" y="122087"/>
                </a:lnTo>
                <a:close/>
                <a:moveTo>
                  <a:pt x="475604" y="92667"/>
                </a:moveTo>
                <a:cubicBezTo>
                  <a:pt x="475604" y="103208"/>
                  <a:pt x="477806" y="111074"/>
                  <a:pt x="482054" y="116581"/>
                </a:cubicBezTo>
                <a:cubicBezTo>
                  <a:pt x="486459" y="122087"/>
                  <a:pt x="493539" y="124762"/>
                  <a:pt x="503608" y="124762"/>
                </a:cubicBezTo>
                <a:cubicBezTo>
                  <a:pt x="515723" y="124762"/>
                  <a:pt x="526421" y="119098"/>
                  <a:pt x="535546" y="107613"/>
                </a:cubicBezTo>
                <a:lnTo>
                  <a:pt x="535546" y="121930"/>
                </a:lnTo>
                <a:lnTo>
                  <a:pt x="545458" y="121930"/>
                </a:lnTo>
                <a:lnTo>
                  <a:pt x="545458" y="33826"/>
                </a:lnTo>
                <a:lnTo>
                  <a:pt x="535546" y="33826"/>
                </a:lnTo>
                <a:lnTo>
                  <a:pt x="535546" y="85430"/>
                </a:lnTo>
                <a:cubicBezTo>
                  <a:pt x="535546" y="90936"/>
                  <a:pt x="534759" y="95184"/>
                  <a:pt x="533029" y="98330"/>
                </a:cubicBezTo>
                <a:cubicBezTo>
                  <a:pt x="531298" y="101477"/>
                  <a:pt x="528781" y="104466"/>
                  <a:pt x="525477" y="107456"/>
                </a:cubicBezTo>
                <a:cubicBezTo>
                  <a:pt x="522330" y="110130"/>
                  <a:pt x="518869" y="112175"/>
                  <a:pt x="515408" y="113591"/>
                </a:cubicBezTo>
                <a:cubicBezTo>
                  <a:pt x="511947" y="115007"/>
                  <a:pt x="508328" y="115637"/>
                  <a:pt x="504867" y="115637"/>
                </a:cubicBezTo>
                <a:cubicBezTo>
                  <a:pt x="497787" y="115637"/>
                  <a:pt x="492753" y="113591"/>
                  <a:pt x="489921" y="109501"/>
                </a:cubicBezTo>
                <a:cubicBezTo>
                  <a:pt x="486931" y="105410"/>
                  <a:pt x="485515" y="98802"/>
                  <a:pt x="485515" y="89520"/>
                </a:cubicBezTo>
                <a:lnTo>
                  <a:pt x="485515" y="33983"/>
                </a:lnTo>
                <a:lnTo>
                  <a:pt x="475604" y="33983"/>
                </a:lnTo>
                <a:lnTo>
                  <a:pt x="475604" y="92667"/>
                </a:lnTo>
                <a:close/>
                <a:moveTo>
                  <a:pt x="382623" y="73945"/>
                </a:moveTo>
                <a:cubicBezTo>
                  <a:pt x="382623" y="67022"/>
                  <a:pt x="383724" y="61201"/>
                  <a:pt x="385927" y="56796"/>
                </a:cubicBezTo>
                <a:cubicBezTo>
                  <a:pt x="388129" y="52233"/>
                  <a:pt x="391276" y="48615"/>
                  <a:pt x="395209" y="45625"/>
                </a:cubicBezTo>
                <a:cubicBezTo>
                  <a:pt x="398041" y="43423"/>
                  <a:pt x="400873" y="42007"/>
                  <a:pt x="403705" y="41220"/>
                </a:cubicBezTo>
                <a:cubicBezTo>
                  <a:pt x="406537" y="40434"/>
                  <a:pt x="409683" y="39962"/>
                  <a:pt x="413302" y="39962"/>
                </a:cubicBezTo>
                <a:cubicBezTo>
                  <a:pt x="416448" y="39962"/>
                  <a:pt x="419752" y="40591"/>
                  <a:pt x="423056" y="41692"/>
                </a:cubicBezTo>
                <a:cubicBezTo>
                  <a:pt x="426360" y="42951"/>
                  <a:pt x="429349" y="44996"/>
                  <a:pt x="432024" y="47828"/>
                </a:cubicBezTo>
                <a:cubicBezTo>
                  <a:pt x="434698" y="50660"/>
                  <a:pt x="436744" y="54593"/>
                  <a:pt x="438474" y="59313"/>
                </a:cubicBezTo>
                <a:cubicBezTo>
                  <a:pt x="440205" y="64033"/>
                  <a:pt x="440992" y="70011"/>
                  <a:pt x="440992" y="77248"/>
                </a:cubicBezTo>
                <a:cubicBezTo>
                  <a:pt x="440992" y="84328"/>
                  <a:pt x="440205" y="90307"/>
                  <a:pt x="438789" y="95341"/>
                </a:cubicBezTo>
                <a:cubicBezTo>
                  <a:pt x="437373" y="100376"/>
                  <a:pt x="435328" y="104309"/>
                  <a:pt x="432653" y="107456"/>
                </a:cubicBezTo>
                <a:cubicBezTo>
                  <a:pt x="430136" y="110602"/>
                  <a:pt x="426989" y="112805"/>
                  <a:pt x="423528" y="114221"/>
                </a:cubicBezTo>
                <a:cubicBezTo>
                  <a:pt x="420067" y="115637"/>
                  <a:pt x="416134" y="116423"/>
                  <a:pt x="411886" y="116423"/>
                </a:cubicBezTo>
                <a:cubicBezTo>
                  <a:pt x="408425" y="116423"/>
                  <a:pt x="405278" y="115951"/>
                  <a:pt x="402446" y="115007"/>
                </a:cubicBezTo>
                <a:cubicBezTo>
                  <a:pt x="399771" y="114063"/>
                  <a:pt x="397097" y="112647"/>
                  <a:pt x="394422" y="110602"/>
                </a:cubicBezTo>
                <a:cubicBezTo>
                  <a:pt x="392220" y="109186"/>
                  <a:pt x="390489" y="107456"/>
                  <a:pt x="388916" y="105725"/>
                </a:cubicBezTo>
                <a:cubicBezTo>
                  <a:pt x="387500" y="103994"/>
                  <a:pt x="386241" y="101949"/>
                  <a:pt x="385297" y="99589"/>
                </a:cubicBezTo>
                <a:cubicBezTo>
                  <a:pt x="384353" y="97387"/>
                  <a:pt x="383724" y="94712"/>
                  <a:pt x="383252" y="91880"/>
                </a:cubicBezTo>
                <a:cubicBezTo>
                  <a:pt x="382780" y="88891"/>
                  <a:pt x="382623" y="85587"/>
                  <a:pt x="382623" y="81654"/>
                </a:cubicBezTo>
                <a:lnTo>
                  <a:pt x="382623" y="73945"/>
                </a:lnTo>
                <a:close/>
                <a:moveTo>
                  <a:pt x="373026" y="122087"/>
                </a:moveTo>
                <a:lnTo>
                  <a:pt x="382937" y="122087"/>
                </a:lnTo>
                <a:lnTo>
                  <a:pt x="382937" y="110130"/>
                </a:lnTo>
                <a:cubicBezTo>
                  <a:pt x="387028" y="115637"/>
                  <a:pt x="391590" y="119413"/>
                  <a:pt x="396468" y="121615"/>
                </a:cubicBezTo>
                <a:cubicBezTo>
                  <a:pt x="401502" y="123818"/>
                  <a:pt x="406537" y="124919"/>
                  <a:pt x="411886" y="124919"/>
                </a:cubicBezTo>
                <a:cubicBezTo>
                  <a:pt x="417864" y="124919"/>
                  <a:pt x="423371" y="123818"/>
                  <a:pt x="428248" y="121615"/>
                </a:cubicBezTo>
                <a:cubicBezTo>
                  <a:pt x="433125" y="119413"/>
                  <a:pt x="437216" y="116266"/>
                  <a:pt x="440677" y="112175"/>
                </a:cubicBezTo>
                <a:cubicBezTo>
                  <a:pt x="444138" y="108085"/>
                  <a:pt x="446813" y="103050"/>
                  <a:pt x="448701" y="97229"/>
                </a:cubicBezTo>
                <a:cubicBezTo>
                  <a:pt x="450589" y="91408"/>
                  <a:pt x="451533" y="84643"/>
                  <a:pt x="451533" y="77091"/>
                </a:cubicBezTo>
                <a:cubicBezTo>
                  <a:pt x="451533" y="70641"/>
                  <a:pt x="450746" y="64505"/>
                  <a:pt x="449173" y="58998"/>
                </a:cubicBezTo>
                <a:cubicBezTo>
                  <a:pt x="447599" y="53334"/>
                  <a:pt x="445239" y="48615"/>
                  <a:pt x="442093" y="44524"/>
                </a:cubicBezTo>
                <a:cubicBezTo>
                  <a:pt x="438946" y="40434"/>
                  <a:pt x="435013" y="37130"/>
                  <a:pt x="430136" y="34927"/>
                </a:cubicBezTo>
                <a:cubicBezTo>
                  <a:pt x="425416" y="32567"/>
                  <a:pt x="419752" y="31466"/>
                  <a:pt x="413302" y="31466"/>
                </a:cubicBezTo>
                <a:cubicBezTo>
                  <a:pt x="406537" y="31466"/>
                  <a:pt x="400715" y="32882"/>
                  <a:pt x="395838" y="35714"/>
                </a:cubicBezTo>
                <a:cubicBezTo>
                  <a:pt x="391118" y="38546"/>
                  <a:pt x="386713" y="42479"/>
                  <a:pt x="382623" y="47356"/>
                </a:cubicBezTo>
                <a:lnTo>
                  <a:pt x="382623" y="157"/>
                </a:lnTo>
                <a:lnTo>
                  <a:pt x="372711" y="157"/>
                </a:lnTo>
                <a:lnTo>
                  <a:pt x="372711" y="122087"/>
                </a:lnTo>
                <a:close/>
                <a:moveTo>
                  <a:pt x="223249" y="122087"/>
                </a:moveTo>
                <a:lnTo>
                  <a:pt x="233161" y="122087"/>
                </a:lnTo>
                <a:lnTo>
                  <a:pt x="233161" y="70011"/>
                </a:lnTo>
                <a:cubicBezTo>
                  <a:pt x="233161" y="67022"/>
                  <a:pt x="233475" y="64347"/>
                  <a:pt x="234105" y="62145"/>
                </a:cubicBezTo>
                <a:cubicBezTo>
                  <a:pt x="234734" y="59942"/>
                  <a:pt x="235521" y="57897"/>
                  <a:pt x="236465" y="56166"/>
                </a:cubicBezTo>
                <a:cubicBezTo>
                  <a:pt x="237409" y="54436"/>
                  <a:pt x="238510" y="53020"/>
                  <a:pt x="239611" y="51761"/>
                </a:cubicBezTo>
                <a:cubicBezTo>
                  <a:pt x="240870" y="50503"/>
                  <a:pt x="241971" y="49401"/>
                  <a:pt x="242915" y="48457"/>
                </a:cubicBezTo>
                <a:cubicBezTo>
                  <a:pt x="245904" y="45783"/>
                  <a:pt x="248894" y="43737"/>
                  <a:pt x="251883" y="42321"/>
                </a:cubicBezTo>
                <a:cubicBezTo>
                  <a:pt x="254872" y="40905"/>
                  <a:pt x="258176" y="40119"/>
                  <a:pt x="261480" y="40119"/>
                </a:cubicBezTo>
                <a:cubicBezTo>
                  <a:pt x="267458" y="40119"/>
                  <a:pt x="272021" y="41849"/>
                  <a:pt x="275010" y="45468"/>
                </a:cubicBezTo>
                <a:cubicBezTo>
                  <a:pt x="277999" y="49087"/>
                  <a:pt x="279415" y="55065"/>
                  <a:pt x="279415" y="63718"/>
                </a:cubicBezTo>
                <a:lnTo>
                  <a:pt x="279415" y="122087"/>
                </a:lnTo>
                <a:lnTo>
                  <a:pt x="289327" y="122087"/>
                </a:lnTo>
                <a:lnTo>
                  <a:pt x="289327" y="65763"/>
                </a:lnTo>
                <a:cubicBezTo>
                  <a:pt x="289327" y="61673"/>
                  <a:pt x="290271" y="58054"/>
                  <a:pt x="292002" y="54908"/>
                </a:cubicBezTo>
                <a:cubicBezTo>
                  <a:pt x="293732" y="51761"/>
                  <a:pt x="296092" y="49244"/>
                  <a:pt x="298767" y="47041"/>
                </a:cubicBezTo>
                <a:cubicBezTo>
                  <a:pt x="301913" y="44367"/>
                  <a:pt x="305060" y="42636"/>
                  <a:pt x="308364" y="41692"/>
                </a:cubicBezTo>
                <a:cubicBezTo>
                  <a:pt x="311668" y="40748"/>
                  <a:pt x="314657" y="40276"/>
                  <a:pt x="317331" y="40276"/>
                </a:cubicBezTo>
                <a:cubicBezTo>
                  <a:pt x="320478" y="40276"/>
                  <a:pt x="323153" y="40591"/>
                  <a:pt x="325355" y="41377"/>
                </a:cubicBezTo>
                <a:cubicBezTo>
                  <a:pt x="327558" y="42164"/>
                  <a:pt x="329603" y="43423"/>
                  <a:pt x="331019" y="45153"/>
                </a:cubicBezTo>
                <a:cubicBezTo>
                  <a:pt x="332592" y="47041"/>
                  <a:pt x="333694" y="49401"/>
                  <a:pt x="334480" y="52390"/>
                </a:cubicBezTo>
                <a:cubicBezTo>
                  <a:pt x="335267" y="55380"/>
                  <a:pt x="335582" y="59156"/>
                  <a:pt x="335582" y="63718"/>
                </a:cubicBezTo>
                <a:lnTo>
                  <a:pt x="335582" y="122244"/>
                </a:lnTo>
                <a:lnTo>
                  <a:pt x="345493" y="122244"/>
                </a:lnTo>
                <a:lnTo>
                  <a:pt x="345493" y="60100"/>
                </a:lnTo>
                <a:cubicBezTo>
                  <a:pt x="345493" y="50031"/>
                  <a:pt x="343133" y="42793"/>
                  <a:pt x="338256" y="38231"/>
                </a:cubicBezTo>
                <a:cubicBezTo>
                  <a:pt x="333536" y="33668"/>
                  <a:pt x="326771" y="31308"/>
                  <a:pt x="318433" y="31308"/>
                </a:cubicBezTo>
                <a:cubicBezTo>
                  <a:pt x="312297" y="31308"/>
                  <a:pt x="306476" y="32882"/>
                  <a:pt x="301127" y="35871"/>
                </a:cubicBezTo>
                <a:cubicBezTo>
                  <a:pt x="295777" y="38860"/>
                  <a:pt x="291058" y="43108"/>
                  <a:pt x="287124" y="48615"/>
                </a:cubicBezTo>
                <a:cubicBezTo>
                  <a:pt x="285236" y="43108"/>
                  <a:pt x="282247" y="38860"/>
                  <a:pt x="278157" y="35871"/>
                </a:cubicBezTo>
                <a:cubicBezTo>
                  <a:pt x="274066" y="32882"/>
                  <a:pt x="268717" y="31308"/>
                  <a:pt x="261952" y="31308"/>
                </a:cubicBezTo>
                <a:cubicBezTo>
                  <a:pt x="256760" y="31308"/>
                  <a:pt x="251725" y="32724"/>
                  <a:pt x="246848" y="35556"/>
                </a:cubicBezTo>
                <a:cubicBezTo>
                  <a:pt x="241814" y="38388"/>
                  <a:pt x="237251" y="42793"/>
                  <a:pt x="232846" y="48615"/>
                </a:cubicBezTo>
                <a:lnTo>
                  <a:pt x="232846" y="34140"/>
                </a:lnTo>
                <a:lnTo>
                  <a:pt x="222934" y="34140"/>
                </a:lnTo>
                <a:lnTo>
                  <a:pt x="222934" y="122087"/>
                </a:lnTo>
                <a:close/>
                <a:moveTo>
                  <a:pt x="174635" y="121615"/>
                </a:moveTo>
                <a:cubicBezTo>
                  <a:pt x="179826" y="119413"/>
                  <a:pt x="184232" y="116266"/>
                  <a:pt x="187850" y="112018"/>
                </a:cubicBezTo>
                <a:cubicBezTo>
                  <a:pt x="191469" y="107928"/>
                  <a:pt x="194143" y="102893"/>
                  <a:pt x="196189" y="97072"/>
                </a:cubicBezTo>
                <a:cubicBezTo>
                  <a:pt x="198076" y="91251"/>
                  <a:pt x="199178" y="84800"/>
                  <a:pt x="199178" y="77563"/>
                </a:cubicBezTo>
                <a:cubicBezTo>
                  <a:pt x="199178" y="70641"/>
                  <a:pt x="198234" y="64347"/>
                  <a:pt x="196346" y="58526"/>
                </a:cubicBezTo>
                <a:cubicBezTo>
                  <a:pt x="194458" y="52862"/>
                  <a:pt x="191783" y="47985"/>
                  <a:pt x="188165" y="43895"/>
                </a:cubicBezTo>
                <a:cubicBezTo>
                  <a:pt x="184704" y="39804"/>
                  <a:pt x="180298" y="36815"/>
                  <a:pt x="175107" y="34612"/>
                </a:cubicBezTo>
                <a:cubicBezTo>
                  <a:pt x="169915" y="32410"/>
                  <a:pt x="164251" y="31308"/>
                  <a:pt x="157800" y="31308"/>
                </a:cubicBezTo>
                <a:cubicBezTo>
                  <a:pt x="151350" y="31308"/>
                  <a:pt x="145686" y="32410"/>
                  <a:pt x="140494" y="34612"/>
                </a:cubicBezTo>
                <a:cubicBezTo>
                  <a:pt x="135302" y="36815"/>
                  <a:pt x="131055" y="39962"/>
                  <a:pt x="127436" y="44052"/>
                </a:cubicBezTo>
                <a:cubicBezTo>
                  <a:pt x="123817" y="48143"/>
                  <a:pt x="120986" y="53177"/>
                  <a:pt x="119098" y="58998"/>
                </a:cubicBezTo>
                <a:cubicBezTo>
                  <a:pt x="117052" y="64819"/>
                  <a:pt x="116108" y="71270"/>
                  <a:pt x="116108" y="78507"/>
                </a:cubicBezTo>
                <a:cubicBezTo>
                  <a:pt x="116108" y="85587"/>
                  <a:pt x="117052" y="92037"/>
                  <a:pt x="118940" y="97701"/>
                </a:cubicBezTo>
                <a:cubicBezTo>
                  <a:pt x="120828" y="103365"/>
                  <a:pt x="123503" y="108242"/>
                  <a:pt x="126964" y="112333"/>
                </a:cubicBezTo>
                <a:cubicBezTo>
                  <a:pt x="130425" y="116423"/>
                  <a:pt x="134673" y="119570"/>
                  <a:pt x="139708" y="121615"/>
                </a:cubicBezTo>
                <a:cubicBezTo>
                  <a:pt x="144742" y="123818"/>
                  <a:pt x="150563" y="124919"/>
                  <a:pt x="157014" y="124919"/>
                </a:cubicBezTo>
                <a:cubicBezTo>
                  <a:pt x="163622" y="124919"/>
                  <a:pt x="169443" y="123818"/>
                  <a:pt x="174635" y="121615"/>
                </a:cubicBezTo>
                <a:moveTo>
                  <a:pt x="143326" y="113277"/>
                </a:moveTo>
                <a:cubicBezTo>
                  <a:pt x="139393" y="111231"/>
                  <a:pt x="136246" y="108557"/>
                  <a:pt x="133729" y="105096"/>
                </a:cubicBezTo>
                <a:cubicBezTo>
                  <a:pt x="131212" y="101634"/>
                  <a:pt x="129481" y="97701"/>
                  <a:pt x="128380" y="92981"/>
                </a:cubicBezTo>
                <a:cubicBezTo>
                  <a:pt x="127279" y="88261"/>
                  <a:pt x="126649" y="83227"/>
                  <a:pt x="126649" y="77878"/>
                </a:cubicBezTo>
                <a:cubicBezTo>
                  <a:pt x="126649" y="72529"/>
                  <a:pt x="127279" y="67494"/>
                  <a:pt x="128380" y="62932"/>
                </a:cubicBezTo>
                <a:cubicBezTo>
                  <a:pt x="129481" y="58369"/>
                  <a:pt x="131369" y="54278"/>
                  <a:pt x="133729" y="50817"/>
                </a:cubicBezTo>
                <a:cubicBezTo>
                  <a:pt x="136246" y="47356"/>
                  <a:pt x="139393" y="44681"/>
                  <a:pt x="143326" y="42636"/>
                </a:cubicBezTo>
                <a:cubicBezTo>
                  <a:pt x="147259" y="40591"/>
                  <a:pt x="151979" y="39647"/>
                  <a:pt x="157486" y="39647"/>
                </a:cubicBezTo>
                <a:cubicBezTo>
                  <a:pt x="163150" y="39647"/>
                  <a:pt x="167869" y="40591"/>
                  <a:pt x="171645" y="42636"/>
                </a:cubicBezTo>
                <a:cubicBezTo>
                  <a:pt x="175579" y="44681"/>
                  <a:pt x="178725" y="47356"/>
                  <a:pt x="181242" y="50817"/>
                </a:cubicBezTo>
                <a:cubicBezTo>
                  <a:pt x="183760" y="54278"/>
                  <a:pt x="185490" y="58212"/>
                  <a:pt x="186749" y="62932"/>
                </a:cubicBezTo>
                <a:cubicBezTo>
                  <a:pt x="187850" y="67494"/>
                  <a:pt x="188479" y="72529"/>
                  <a:pt x="188479" y="77720"/>
                </a:cubicBezTo>
                <a:cubicBezTo>
                  <a:pt x="188479" y="83227"/>
                  <a:pt x="187850" y="88261"/>
                  <a:pt x="186749" y="92981"/>
                </a:cubicBezTo>
                <a:cubicBezTo>
                  <a:pt x="185648" y="97701"/>
                  <a:pt x="183760" y="101634"/>
                  <a:pt x="181242" y="105096"/>
                </a:cubicBezTo>
                <a:cubicBezTo>
                  <a:pt x="178725" y="108557"/>
                  <a:pt x="175579" y="111231"/>
                  <a:pt x="171645" y="113277"/>
                </a:cubicBezTo>
                <a:cubicBezTo>
                  <a:pt x="167712" y="115322"/>
                  <a:pt x="162992" y="116266"/>
                  <a:pt x="157486" y="116266"/>
                </a:cubicBezTo>
                <a:cubicBezTo>
                  <a:pt x="151979" y="116266"/>
                  <a:pt x="147259" y="115322"/>
                  <a:pt x="143326" y="113277"/>
                </a:cubicBezTo>
                <a:moveTo>
                  <a:pt x="0" y="122087"/>
                </a:moveTo>
                <a:lnTo>
                  <a:pt x="10384" y="122087"/>
                </a:lnTo>
                <a:lnTo>
                  <a:pt x="10384" y="63875"/>
                </a:lnTo>
                <a:lnTo>
                  <a:pt x="79294" y="63875"/>
                </a:lnTo>
                <a:lnTo>
                  <a:pt x="79294" y="122244"/>
                </a:lnTo>
                <a:lnTo>
                  <a:pt x="89677" y="122244"/>
                </a:lnTo>
                <a:lnTo>
                  <a:pt x="89677" y="0"/>
                </a:lnTo>
                <a:lnTo>
                  <a:pt x="79294" y="0"/>
                </a:lnTo>
                <a:lnTo>
                  <a:pt x="79294" y="54121"/>
                </a:lnTo>
                <a:lnTo>
                  <a:pt x="10384" y="54121"/>
                </a:lnTo>
                <a:lnTo>
                  <a:pt x="10384" y="0"/>
                </a:lnTo>
                <a:lnTo>
                  <a:pt x="0" y="0"/>
                </a:lnTo>
                <a:lnTo>
                  <a:pt x="0" y="122087"/>
                </a:lnTo>
                <a:close/>
              </a:path>
            </a:pathLst>
          </a:custGeom>
          <a:solidFill>
            <a:schemeClr val="accent3"/>
          </a:solidFill>
          <a:ln w="1569" cap="flat">
            <a:solidFill>
              <a:schemeClr val="accent3"/>
            </a:solidFill>
            <a:prstDash val="solid"/>
            <a:miter/>
          </a:ln>
        </p:spPr>
        <p:txBody>
          <a:bodyPr rtlCol="0" anchor="ctr"/>
          <a:lstStyle/>
          <a:p>
            <a:endParaRPr lang="en-US" b="1" dirty="0"/>
          </a:p>
        </p:txBody>
      </p:sp>
      <p:sp>
        <p:nvSpPr>
          <p:cNvPr id="2" name="Title Placeholder 1">
            <a:extLst>
              <a:ext uri="{FF2B5EF4-FFF2-40B4-BE49-F238E27FC236}">
                <a16:creationId xmlns:a16="http://schemas.microsoft.com/office/drawing/2014/main" id="{82715FC1-370D-407C-8224-FEE8430F70F3}"/>
              </a:ext>
            </a:extLst>
          </p:cNvPr>
          <p:cNvSpPr>
            <a:spLocks noGrp="1"/>
          </p:cNvSpPr>
          <p:nvPr>
            <p:ph type="title"/>
          </p:nvPr>
        </p:nvSpPr>
        <p:spPr>
          <a:xfrm>
            <a:off x="335360" y="518746"/>
            <a:ext cx="9360000" cy="461982"/>
          </a:xfrm>
          <a:prstGeom prst="rect">
            <a:avLst/>
          </a:prstGeom>
        </p:spPr>
        <p:txBody>
          <a:bodyPr vert="horz" lIns="0" tIns="0" rIns="0" bIns="0" rtlCol="0" anchor="t">
            <a:noAutofit/>
          </a:bodyPr>
          <a:lstStyle/>
          <a:p>
            <a:r>
              <a:rPr lang="en-US" dirty="0" err="1"/>
              <a:t>Folientitel</a:t>
            </a:r>
            <a:endParaRPr lang="en-US" dirty="0"/>
          </a:p>
        </p:txBody>
      </p:sp>
      <p:sp>
        <p:nvSpPr>
          <p:cNvPr id="3" name="Text Placeholder 2">
            <a:extLst>
              <a:ext uri="{FF2B5EF4-FFF2-40B4-BE49-F238E27FC236}">
                <a16:creationId xmlns:a16="http://schemas.microsoft.com/office/drawing/2014/main" id="{D7C4A7ED-AA70-4B26-9044-CBC2EC31764D}"/>
              </a:ext>
            </a:extLst>
          </p:cNvPr>
          <p:cNvSpPr>
            <a:spLocks noGrp="1"/>
          </p:cNvSpPr>
          <p:nvPr>
            <p:ph type="body" idx="1"/>
          </p:nvPr>
        </p:nvSpPr>
        <p:spPr>
          <a:xfrm>
            <a:off x="334964" y="1916112"/>
            <a:ext cx="11233149" cy="4033837"/>
          </a:xfrm>
          <a:prstGeom prst="rect">
            <a:avLst/>
          </a:prstGeom>
        </p:spPr>
        <p:txBody>
          <a:bodyPr vert="horz" lIns="0" tIns="0" rIns="0" bIns="0" rtlCol="0">
            <a:noAutofit/>
          </a:bodyPr>
          <a:lstStyle/>
          <a:p>
            <a:pPr lvl="0"/>
            <a:r>
              <a:rPr lang="en-US" dirty="0" err="1"/>
              <a:t>Mastertextformat</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a:p>
            <a:pPr lvl="5"/>
            <a:r>
              <a:rPr lang="en-US" dirty="0" err="1"/>
              <a:t>Sechste</a:t>
            </a:r>
            <a:r>
              <a:rPr lang="en-US" dirty="0"/>
              <a:t> Ebene</a:t>
            </a:r>
          </a:p>
          <a:p>
            <a:pPr lvl="6"/>
            <a:r>
              <a:rPr lang="en-US" dirty="0" err="1"/>
              <a:t>Siebte</a:t>
            </a:r>
            <a:r>
              <a:rPr lang="en-US" dirty="0"/>
              <a:t> Ebene</a:t>
            </a:r>
          </a:p>
          <a:p>
            <a:pPr lvl="7"/>
            <a:r>
              <a:rPr lang="en-US" dirty="0" err="1"/>
              <a:t>Achte</a:t>
            </a:r>
            <a:r>
              <a:rPr lang="en-US" dirty="0"/>
              <a:t> Ebene</a:t>
            </a:r>
          </a:p>
          <a:p>
            <a:pPr lvl="8"/>
            <a:r>
              <a:rPr lang="en-US" dirty="0" err="1"/>
              <a:t>Neunte</a:t>
            </a:r>
            <a:r>
              <a:rPr lang="en-US" dirty="0"/>
              <a:t> Ebene</a:t>
            </a:r>
          </a:p>
        </p:txBody>
      </p:sp>
      <p:sp>
        <p:nvSpPr>
          <p:cNvPr id="6" name="Slide Number Placeholder 5">
            <a:extLst>
              <a:ext uri="{FF2B5EF4-FFF2-40B4-BE49-F238E27FC236}">
                <a16:creationId xmlns:a16="http://schemas.microsoft.com/office/drawing/2014/main" id="{44B9F8E1-87B7-4ECF-B214-74B5BA30969F}"/>
              </a:ext>
            </a:extLst>
          </p:cNvPr>
          <p:cNvSpPr>
            <a:spLocks noGrp="1"/>
          </p:cNvSpPr>
          <p:nvPr>
            <p:ph type="sldNum" sz="quarter" idx="4"/>
          </p:nvPr>
        </p:nvSpPr>
        <p:spPr>
          <a:xfrm>
            <a:off x="11424592" y="6453336"/>
            <a:ext cx="438944" cy="180000"/>
          </a:xfrm>
          <a:prstGeom prst="rect">
            <a:avLst/>
          </a:prstGeom>
        </p:spPr>
        <p:txBody>
          <a:bodyPr vert="horz" wrap="none" lIns="0" tIns="0" rIns="0" bIns="0" rtlCol="0" anchor="b">
            <a:noAutofit/>
          </a:bodyPr>
          <a:lstStyle>
            <a:lvl1pPr algn="r">
              <a:defRPr sz="800" baseline="0">
                <a:solidFill>
                  <a:srgbClr val="969696"/>
                </a:solidFill>
              </a:defRPr>
            </a:lvl1pPr>
          </a:lstStyle>
          <a:p>
            <a:fld id="{2F7BD5AA-ABFF-4518-8AD4-415EC1D9D742}" type="slidenum">
              <a:rPr lang="en-US" smtClean="0"/>
              <a:pPr/>
              <a:t>‹Nr.›</a:t>
            </a:fld>
            <a:endParaRPr lang="en-US" dirty="0"/>
          </a:p>
        </p:txBody>
      </p:sp>
      <p:sp>
        <p:nvSpPr>
          <p:cNvPr id="9" name="Datumsplatzhalter 3">
            <a:extLst>
              <a:ext uri="{FF2B5EF4-FFF2-40B4-BE49-F238E27FC236}">
                <a16:creationId xmlns:a16="http://schemas.microsoft.com/office/drawing/2014/main" id="{574539FB-BDAE-4FDA-AAF4-6245E1F6368F}"/>
              </a:ext>
            </a:extLst>
          </p:cNvPr>
          <p:cNvSpPr>
            <a:spLocks noGrp="1"/>
          </p:cNvSpPr>
          <p:nvPr>
            <p:ph type="dt" sz="half" idx="2"/>
          </p:nvPr>
        </p:nvSpPr>
        <p:spPr>
          <a:xfrm>
            <a:off x="335538" y="6487478"/>
            <a:ext cx="2880320" cy="133264"/>
          </a:xfrm>
          <a:prstGeom prst="rect">
            <a:avLst/>
          </a:prstGeom>
        </p:spPr>
        <p:txBody>
          <a:bodyPr lIns="0" tIns="0" rIns="0" bIns="0" anchor="ctr" anchorCtr="0"/>
          <a:lstStyle>
            <a:lvl1pPr>
              <a:defRPr lang="de-CH" sz="800" kern="1200" baseline="0" dirty="0" smtClean="0">
                <a:solidFill>
                  <a:srgbClr val="969696"/>
                </a:solidFill>
                <a:latin typeface="+mn-lt"/>
                <a:ea typeface="+mn-ea"/>
                <a:cs typeface="+mn-cs"/>
              </a:defRPr>
            </a:lvl1pPr>
          </a:lstStyle>
          <a:p>
            <a:r>
              <a:rPr lang="en-US"/>
              <a:t>September 15-16, 2022</a:t>
            </a:r>
            <a:endParaRPr lang="en-US" dirty="0"/>
          </a:p>
        </p:txBody>
      </p:sp>
    </p:spTree>
    <p:extLst>
      <p:ext uri="{BB962C8B-B14F-4D97-AF65-F5344CB8AC3E}">
        <p14:creationId xmlns:p14="http://schemas.microsoft.com/office/powerpoint/2010/main" val="428110497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 id="2147483852" r:id="rId29"/>
    <p:sldLayoutId id="2147483853" r:id="rId30"/>
    <p:sldLayoutId id="2147483854" r:id="rId31"/>
    <p:sldLayoutId id="2147483855" r:id="rId32"/>
    <p:sldLayoutId id="2147483856" r:id="rId33"/>
    <p:sldLayoutId id="2147483857" r:id="rId34"/>
    <p:sldLayoutId id="2147483858" r:id="rId35"/>
    <p:sldLayoutId id="2147483859" r:id="rId36"/>
    <p:sldLayoutId id="2147483860" r:id="rId37"/>
    <p:sldLayoutId id="2147483861" r:id="rId38"/>
    <p:sldLayoutId id="2147483862" r:id="rId39"/>
    <p:sldLayoutId id="2147483863" r:id="rId40"/>
    <p:sldLayoutId id="2147483864" r:id="rId41"/>
    <p:sldLayoutId id="2147483865" r:id="rId42"/>
    <p:sldLayoutId id="2147483866" r:id="rId43"/>
    <p:sldLayoutId id="2147483867" r:id="rId44"/>
    <p:sldLayoutId id="2147483868" r:id="rId45"/>
    <p:sldLayoutId id="2147483869" r:id="rId46"/>
    <p:sldLayoutId id="2147483870" r:id="rId47"/>
    <p:sldLayoutId id="2147483871" r:id="rId48"/>
    <p:sldLayoutId id="2147483872" r:id="rId49"/>
    <p:sldLayoutId id="2147483873" r:id="rId50"/>
    <p:sldLayoutId id="2147483874" r:id="rId51"/>
    <p:sldLayoutId id="2147483875" r:id="rId52"/>
    <p:sldLayoutId id="2147483876" r:id="rId53"/>
    <p:sldLayoutId id="2147483877" r:id="rId54"/>
    <p:sldLayoutId id="2147483878" r:id="rId55"/>
    <p:sldLayoutId id="2147483879" r:id="rId56"/>
    <p:sldLayoutId id="2147483880" r:id="rId57"/>
    <p:sldLayoutId id="2147483881" r:id="rId58"/>
  </p:sldLayoutIdLst>
  <p:hf hdr="0"/>
  <p:txStyles>
    <p:titleStyle>
      <a:lvl1pPr algn="l" defTabSz="914400" rtl="0" eaLnBrk="1" latinLnBrk="0" hangingPunct="1">
        <a:lnSpc>
          <a:spcPct val="90000"/>
        </a:lnSpc>
        <a:spcBef>
          <a:spcPct val="0"/>
        </a:spcBef>
        <a:buNone/>
        <a:tabLst>
          <a:tab pos="270000" algn="l"/>
        </a:tabLst>
        <a:defRPr sz="1400" b="1" kern="1200">
          <a:solidFill>
            <a:schemeClr val="tx1"/>
          </a:solidFill>
          <a:latin typeface="+mj-lt"/>
          <a:ea typeface="+mj-ea"/>
          <a:cs typeface="+mj-cs"/>
        </a:defRPr>
      </a:lvl1pPr>
    </p:titleStyle>
    <p:bodyStyle>
      <a:lvl1pPr marL="228600" indent="-228600" algn="l" defTabSz="914400" rtl="0" eaLnBrk="1" latinLnBrk="0" hangingPunct="1">
        <a:lnSpc>
          <a:spcPct val="122000"/>
        </a:lnSpc>
        <a:spcBef>
          <a:spcPts val="400"/>
        </a:spcBef>
        <a:buFont typeface="Aktiv Grotesk Homburger" panose="020B0404020202020204" pitchFamily="34" charset="0"/>
        <a:buChar char="—"/>
        <a:defRPr sz="1200" kern="1200">
          <a:solidFill>
            <a:schemeClr val="tx1"/>
          </a:solidFill>
          <a:latin typeface="+mn-lt"/>
          <a:ea typeface="+mn-ea"/>
          <a:cs typeface="+mn-cs"/>
        </a:defRPr>
      </a:lvl1pPr>
      <a:lvl2pPr marL="460800" indent="-230400" algn="l" defTabSz="914400" rtl="0" eaLnBrk="1" latinLnBrk="0" hangingPunct="1">
        <a:lnSpc>
          <a:spcPct val="122000"/>
        </a:lnSpc>
        <a:spcBef>
          <a:spcPts val="400"/>
        </a:spcBef>
        <a:buFont typeface="Aktiv Grotesk Homburger" panose="020B0404020202020204" pitchFamily="34" charset="0"/>
        <a:buChar char="◦"/>
        <a:defRPr sz="1200" kern="1200">
          <a:solidFill>
            <a:schemeClr val="tx1"/>
          </a:solidFill>
          <a:latin typeface="+mn-lt"/>
          <a:ea typeface="+mn-ea"/>
          <a:cs typeface="+mn-cs"/>
        </a:defRPr>
      </a:lvl2pPr>
      <a:lvl3pPr marL="6912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3pPr>
      <a:lvl4pPr marL="9216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4pPr>
      <a:lvl5pPr marL="11520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5pPr>
      <a:lvl6pPr marL="13824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6pPr>
      <a:lvl7pPr marL="16128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7pPr>
      <a:lvl8pPr marL="18432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8pPr>
      <a:lvl9pPr marL="20736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p15:clr>
            <a:srgbClr val="F26B43"/>
          </p15:clr>
        </p15:guide>
        <p15:guide id="2" orient="horz" pos="1207">
          <p15:clr>
            <a:srgbClr val="F26B43"/>
          </p15:clr>
        </p15:guide>
        <p15:guide id="3" orient="horz" pos="3748">
          <p15:clr>
            <a:srgbClr val="F26B43"/>
          </p15:clr>
        </p15:guide>
        <p15:guide id="4" pos="7287">
          <p15:clr>
            <a:srgbClr val="F26B43"/>
          </p15:clr>
        </p15:guide>
        <p15:guide id="5" orient="horz" pos="70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0FEEB3-67DB-ECCE-19D9-A6863781897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7927C55-5385-0239-5269-9582B03BFCF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90833A6-20F6-8216-2D33-C7BF6D9409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E29C98-9AA5-4E05-A580-6E3E082C82D5}" type="datetimeFigureOut">
              <a:rPr lang="en-GB" smtClean="0"/>
              <a:t>12/09/2022</a:t>
            </a:fld>
            <a:endParaRPr lang="en-GB"/>
          </a:p>
        </p:txBody>
      </p:sp>
      <p:sp>
        <p:nvSpPr>
          <p:cNvPr id="5" name="Footer Placeholder 4">
            <a:extLst>
              <a:ext uri="{FF2B5EF4-FFF2-40B4-BE49-F238E27FC236}">
                <a16:creationId xmlns:a16="http://schemas.microsoft.com/office/drawing/2014/main" id="{FAB9BAFA-8AED-A877-B492-83F59E07DB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9480856-21F0-729C-1614-99A26F61B07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FCE466-D2D1-4716-A6AC-FC366F0CAFC8}" type="slidenum">
              <a:rPr lang="en-GB" smtClean="0"/>
              <a:t>‹Nr.›</a:t>
            </a:fld>
            <a:endParaRPr lang="en-GB"/>
          </a:p>
        </p:txBody>
      </p:sp>
    </p:spTree>
    <p:extLst>
      <p:ext uri="{BB962C8B-B14F-4D97-AF65-F5344CB8AC3E}">
        <p14:creationId xmlns:p14="http://schemas.microsoft.com/office/powerpoint/2010/main" val="1764313930"/>
      </p:ext>
    </p:extLst>
  </p:cSld>
  <p:clrMap bg1="lt1" tx1="dk1" bg2="lt2" tx2="dk2" accent1="accent1" accent2="accent2" accent3="accent3" accent4="accent4" accent5="accent5" accent6="accent6" hlink="hlink" folHlink="folHlink"/>
  <p:sldLayoutIdLst>
    <p:sldLayoutId id="2147483894"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4EB955E-FEDE-EA4B-6B78-5051C7BE51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94F77E2-B1B9-0E06-F876-941E1EB9E4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9B98762-4845-EFF8-993B-5FAC5203F7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9D0AA0-5A24-4446-84A3-0BBCEBA22B41}" type="datetimeFigureOut">
              <a:rPr lang="en-GB" smtClean="0"/>
              <a:t>12/09/2022</a:t>
            </a:fld>
            <a:endParaRPr lang="en-GB"/>
          </a:p>
        </p:txBody>
      </p:sp>
      <p:sp>
        <p:nvSpPr>
          <p:cNvPr id="5" name="Footer Placeholder 4">
            <a:extLst>
              <a:ext uri="{FF2B5EF4-FFF2-40B4-BE49-F238E27FC236}">
                <a16:creationId xmlns:a16="http://schemas.microsoft.com/office/drawing/2014/main" id="{2747B68B-2D50-45A0-EAFF-B7FE776978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AE61246-229D-057F-F266-A6A8C4CE691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F235EC-9DA7-48F4-BFF0-B4B321516531}" type="slidenum">
              <a:rPr lang="en-GB" smtClean="0"/>
              <a:t>‹Nr.›</a:t>
            </a:fld>
            <a:endParaRPr lang="en-GB"/>
          </a:p>
        </p:txBody>
      </p:sp>
    </p:spTree>
    <p:extLst>
      <p:ext uri="{BB962C8B-B14F-4D97-AF65-F5344CB8AC3E}">
        <p14:creationId xmlns:p14="http://schemas.microsoft.com/office/powerpoint/2010/main" val="2682287782"/>
      </p:ext>
    </p:extLst>
  </p:cSld>
  <p:clrMap bg1="lt1" tx1="dk1" bg2="lt2" tx2="dk2" accent1="accent1" accent2="accent2" accent3="accent3" accent4="accent4" accent5="accent5" accent6="accent6" hlink="hlink" folHlink="folHlink"/>
  <p:sldLayoutIdLst>
    <p:sldLayoutId id="2147483908"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74.xml"/><Relationship Id="rId4" Type="http://schemas.openxmlformats.org/officeDocument/2006/relationships/image" Target="../media/image21.jpeg"/></Relationships>
</file>

<file path=ppt/slides/_rels/slide1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74.xml"/><Relationship Id="rId4" Type="http://schemas.openxmlformats.org/officeDocument/2006/relationships/image" Target="../media/image21.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13.xml.rels><?xml version="1.0" encoding="UTF-8" standalone="yes"?>
<Relationships xmlns="http://schemas.openxmlformats.org/package/2006/relationships"><Relationship Id="rId2" Type="http://schemas.openxmlformats.org/officeDocument/2006/relationships/image" Target="../media/image26.gif"/><Relationship Id="rId1" Type="http://schemas.openxmlformats.org/officeDocument/2006/relationships/slideLayout" Target="../slideLayouts/slideLayout16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7.xml"/></Relationships>
</file>

<file path=ppt/slides/_rels/slide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9.png"/><Relationship Id="rId1" Type="http://schemas.openxmlformats.org/officeDocument/2006/relationships/slideLayout" Target="../slideLayouts/slideLayout5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Layout" Target="../slideLayouts/slideLayout8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5.xml"/><Relationship Id="rId7" Type="http://schemas.openxmlformats.org/officeDocument/2006/relationships/image" Target="../media/image41.jpeg"/><Relationship Id="rId2" Type="http://schemas.openxmlformats.org/officeDocument/2006/relationships/slideLayout" Target="../slideLayouts/slideLayout72.xml"/><Relationship Id="rId1" Type="http://schemas.openxmlformats.org/officeDocument/2006/relationships/tags" Target="../tags/tag218.xml"/><Relationship Id="rId6" Type="http://schemas.openxmlformats.org/officeDocument/2006/relationships/image" Target="../media/image40.png"/><Relationship Id="rId5" Type="http://schemas.openxmlformats.org/officeDocument/2006/relationships/hyperlink" Target="https://www.google.de/url?sa=i&amp;rct=j&amp;q=&amp;esrc=s&amp;source=images&amp;cd=&amp;cad=rja&amp;uact=8&amp;ved=2ahUKEwj55Pevl4bgAhVQb1AKHYF5BPAQjRx6BAgBEAU&amp;url=https://de.wikipedia.org/wiki/Flagge_Deutschlands&amp;psig=AOvVaw1kp9HT9FeM9bHyz0RAZ77l&amp;ust=1548411199792590" TargetMode="External"/><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71.xml"/><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71.xml"/><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191.xml"/></Relationships>
</file>

<file path=ppt/slides/_rels/slide6.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notesSlide" Target="../notesSlides/notesSlide2.xml"/><Relationship Id="rId5" Type="http://schemas.openxmlformats.org/officeDocument/2006/relationships/slideLayout" Target="../slideLayouts/slideLayout2.xml"/><Relationship Id="rId4" Type="http://schemas.openxmlformats.org/officeDocument/2006/relationships/tags" Target="../tags/tag201.xml"/></Relationships>
</file>

<file path=ppt/slides/_rels/slide7.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tags" Target="../tags/tag211.xml"/></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4.xml"/><Relationship Id="rId5" Type="http://schemas.openxmlformats.org/officeDocument/2006/relationships/image" Target="../media/image21.jpeg"/><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GB"/>
          </a:p>
        </p:txBody>
      </p:sp>
      <p:sp>
        <p:nvSpPr>
          <p:cNvPr id="3" name="Subtitle 2"/>
          <p:cNvSpPr>
            <a:spLocks noGrp="1"/>
          </p:cNvSpPr>
          <p:nvPr>
            <p:ph type="subTitle" idx="1"/>
          </p:nvPr>
        </p:nvSpPr>
        <p:spPr/>
        <p:txBody>
          <a:bodyPr/>
          <a:lstStyle/>
          <a:p>
            <a:endParaRPr lang="en-GB"/>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9133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F2671F26-5AB8-4EFC-8351-FC2944018436}"/>
              </a:ext>
            </a:extLst>
          </p:cNvPr>
          <p:cNvSpPr txBox="1"/>
          <p:nvPr/>
        </p:nvSpPr>
        <p:spPr>
          <a:xfrm>
            <a:off x="267419" y="1226435"/>
            <a:ext cx="11408766" cy="5051126"/>
          </a:xfrm>
          <a:prstGeom prst="rect">
            <a:avLst/>
          </a:prstGeom>
          <a:noFill/>
        </p:spPr>
        <p:txBody>
          <a:bodyPr wrap="square">
            <a:spAutoFit/>
          </a:bodyPr>
          <a:lstStyle/>
          <a:p>
            <a:pPr>
              <a:lnSpc>
                <a:spcPct val="120000"/>
              </a:lnSpc>
              <a:buClr>
                <a:srgbClr val="57626F"/>
              </a:buClr>
              <a:defRPr sz="1800" b="0" i="0" u="none" strike="noStrike" kern="0" cap="none" spc="0" baseline="0">
                <a:solidFill>
                  <a:srgbClr val="000000"/>
                </a:solidFill>
                <a:uFillTx/>
              </a:defRPr>
            </a:pPr>
            <a:r>
              <a:rPr lang="en-US" sz="1400" kern="0" dirty="0">
                <a:latin typeface="Arial" panose="020B0604020202020204" pitchFamily="34" charset="0"/>
                <a:ea typeface="Verdana" panose="020B0604030504040204" pitchFamily="34" charset="0"/>
                <a:cs typeface="Arial" panose="020B0604020202020204" pitchFamily="34" charset="0"/>
              </a:rPr>
              <a:t>		</a:t>
            </a:r>
          </a:p>
          <a:p>
            <a:pPr marL="1435100">
              <a:lnSpc>
                <a:spcPct val="120000"/>
              </a:lnSpc>
              <a:buClr>
                <a:srgbClr val="57626F"/>
              </a:buClr>
              <a:defRPr sz="1800" b="0" i="0" u="none" strike="noStrike" kern="0" cap="none" spc="0" baseline="0">
                <a:solidFill>
                  <a:srgbClr val="000000"/>
                </a:solidFill>
                <a:uFillTx/>
              </a:defRPr>
            </a:pPr>
            <a:r>
              <a:rPr lang="en-US" altLang="es-ES" sz="1600" i="1" dirty="0">
                <a:latin typeface="Arial" panose="020B0604020202020204" pitchFamily="34" charset="0"/>
                <a:ea typeface="Verdana" panose="020B0604030504040204" pitchFamily="34" charset="0"/>
                <a:cs typeface="Arial" panose="020B0604020202020204" pitchFamily="34" charset="0"/>
              </a:rPr>
              <a:t>						Article 114 PIT Royal Decree (from 2015 onwards). </a:t>
            </a:r>
          </a:p>
          <a:p>
            <a:pPr marL="1435100">
              <a:lnSpc>
                <a:spcPct val="120000"/>
              </a:lnSpc>
              <a:buClr>
                <a:srgbClr val="57626F"/>
              </a:buClr>
              <a:defRPr sz="1800" b="0" i="0" u="none" strike="noStrike" kern="0" cap="none" spc="0" baseline="0">
                <a:solidFill>
                  <a:srgbClr val="000000"/>
                </a:solidFill>
                <a:uFillTx/>
              </a:defRPr>
            </a:pPr>
            <a:r>
              <a:rPr lang="en-US" altLang="es-ES" sz="1600" i="1" dirty="0">
                <a:latin typeface="Arial" panose="020B0604020202020204" pitchFamily="34" charset="0"/>
                <a:ea typeface="Verdana" panose="020B0604030504040204" pitchFamily="34" charset="0"/>
                <a:cs typeface="Arial" panose="020B0604020202020204" pitchFamily="34" charset="0"/>
              </a:rPr>
              <a:t>						Binding rulings V0554-22, V0610-22</a:t>
            </a:r>
          </a:p>
          <a:p>
            <a:pPr marL="1435100">
              <a:lnSpc>
                <a:spcPct val="120000"/>
              </a:lnSpc>
              <a:buClr>
                <a:srgbClr val="57626F"/>
              </a:buClr>
              <a:defRPr sz="1800" b="0" i="0" u="none" strike="noStrike" kern="0" cap="none" spc="0" baseline="0">
                <a:solidFill>
                  <a:srgbClr val="000000"/>
                </a:solidFill>
                <a:uFillTx/>
              </a:defRPr>
            </a:pPr>
            <a:b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rPr>
            </a:b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1435100">
              <a:lnSpc>
                <a:spcPct val="120000"/>
              </a:lnSpc>
              <a:buClr>
                <a:srgbClr val="57626F"/>
              </a:buClr>
              <a:defRPr sz="1800" b="0" i="0" u="none" strike="noStrike" kern="0" cap="none" spc="0" baseline="0">
                <a:solidFill>
                  <a:srgbClr val="000000"/>
                </a:solidFill>
                <a:uFillTx/>
              </a:defRPr>
            </a:pP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1790700" indent="-355600">
              <a:lnSpc>
                <a:spcPct val="120000"/>
              </a:lnSpc>
              <a:buClr>
                <a:srgbClr val="57626F"/>
              </a:buClr>
              <a:buFont typeface="Wingdings" panose="05000000000000000000" pitchFamily="2" charset="2"/>
              <a:buChar char="ü"/>
              <a:defRPr sz="1800" b="0" i="0" u="none" strike="noStrike" kern="0" cap="none" spc="0" baseline="0">
                <a:solidFill>
                  <a:srgbClr val="000000"/>
                </a:solidFill>
                <a:uFillTx/>
              </a:defRPr>
            </a:pPr>
            <a: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rPr>
              <a:t>What about a </a:t>
            </a:r>
            <a:r>
              <a:rPr lang="en-US" sz="1600" b="1" kern="0" dirty="0">
                <a:solidFill>
                  <a:srgbClr val="000000"/>
                </a:solidFill>
                <a:latin typeface="Arial" panose="020B0604020202020204" pitchFamily="34" charset="0"/>
                <a:ea typeface="Verdana" panose="020B0604030504040204" pitchFamily="34" charset="0"/>
                <a:cs typeface="Arial" panose="020B0604020202020204" pitchFamily="34" charset="0"/>
              </a:rPr>
              <a:t>tax residence </a:t>
            </a:r>
            <a: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rPr>
              <a:t>certificate? </a:t>
            </a:r>
          </a:p>
          <a:p>
            <a:pPr marL="1790700" indent="-355600">
              <a:lnSpc>
                <a:spcPct val="120000"/>
              </a:lnSpc>
              <a:buClr>
                <a:srgbClr val="57626F"/>
              </a:buClr>
              <a:buFont typeface="Wingdings" panose="05000000000000000000" pitchFamily="2" charset="2"/>
              <a:buChar char="ü"/>
              <a:defRPr sz="1800" b="0" i="0" u="none" strike="noStrike" kern="0" cap="none" spc="0" baseline="0">
                <a:solidFill>
                  <a:srgbClr val="000000"/>
                </a:solidFill>
                <a:uFillTx/>
              </a:defRPr>
            </a:pP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90700" indent="-355600">
              <a:lnSpc>
                <a:spcPct val="120000"/>
              </a:lnSpc>
              <a:buClr>
                <a:srgbClr val="57626F"/>
              </a:buClr>
              <a:buFont typeface="Wingdings" panose="05000000000000000000" pitchFamily="2" charset="2"/>
              <a:buChar char="ü"/>
              <a:defRPr sz="1800" b="0" i="0" u="none" strike="noStrike" kern="0" cap="none" spc="0" baseline="0">
                <a:solidFill>
                  <a:srgbClr val="000000"/>
                </a:solidFill>
                <a:uFillTx/>
              </a:defRPr>
            </a:pP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90700" indent="-355600">
              <a:lnSpc>
                <a:spcPct val="120000"/>
              </a:lnSpc>
              <a:buClr>
                <a:srgbClr val="57626F"/>
              </a:buClr>
              <a:buFont typeface="Wingdings" panose="05000000000000000000" pitchFamily="2" charset="2"/>
              <a:buChar char="ü"/>
              <a:defRPr sz="1800" b="0" i="0" u="none" strike="noStrike" kern="0" cap="none" spc="0" baseline="0">
                <a:solidFill>
                  <a:srgbClr val="000000"/>
                </a:solidFill>
                <a:uFillTx/>
              </a:defRPr>
            </a:pP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90700" indent="-355600">
              <a:lnSpc>
                <a:spcPct val="120000"/>
              </a:lnSpc>
              <a:buClr>
                <a:srgbClr val="57626F"/>
              </a:buClr>
              <a:buFont typeface="Wingdings" panose="05000000000000000000" pitchFamily="2" charset="2"/>
              <a:buChar char="ü"/>
              <a:defRPr sz="1800" b="0" i="0" u="none" strike="noStrike" kern="0" cap="none" spc="0" baseline="0">
                <a:solidFill>
                  <a:srgbClr val="000000"/>
                </a:solidFill>
                <a:uFillTx/>
              </a:defRPr>
            </a:pP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90700" indent="-355600">
              <a:lnSpc>
                <a:spcPct val="120000"/>
              </a:lnSpc>
              <a:buClr>
                <a:srgbClr val="57626F"/>
              </a:buClr>
              <a:buFont typeface="Wingdings" panose="05000000000000000000" pitchFamily="2" charset="2"/>
              <a:buChar char="ü"/>
              <a:defRPr sz="1800" b="0" i="0" u="none" strike="noStrike" kern="0" cap="none" spc="0" baseline="0">
                <a:solidFill>
                  <a:srgbClr val="000000"/>
                </a:solidFill>
                <a:uFillTx/>
              </a:defRPr>
            </a:pP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90700" indent="-355600">
              <a:lnSpc>
                <a:spcPct val="120000"/>
              </a:lnSpc>
              <a:buClr>
                <a:srgbClr val="57626F"/>
              </a:buClr>
              <a:buFont typeface="Wingdings" panose="05000000000000000000" pitchFamily="2" charset="2"/>
              <a:buChar char="ü"/>
              <a:defRPr sz="1800" b="0" i="0" u="none" strike="noStrike" kern="0" cap="none" spc="0" baseline="0">
                <a:solidFill>
                  <a:srgbClr val="000000"/>
                </a:solidFill>
                <a:uFillTx/>
              </a:defRPr>
            </a:pP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90700" indent="-355600">
              <a:lnSpc>
                <a:spcPct val="120000"/>
              </a:lnSpc>
              <a:buClr>
                <a:srgbClr val="57626F"/>
              </a:buClr>
              <a:buFont typeface="Wingdings" panose="05000000000000000000" pitchFamily="2" charset="2"/>
              <a:buChar char="ü"/>
              <a:defRPr sz="1800" b="0" i="0" u="none" strike="noStrike" kern="0" cap="none" spc="0" baseline="0">
                <a:solidFill>
                  <a:srgbClr val="000000"/>
                </a:solidFill>
                <a:uFillTx/>
              </a:defRPr>
            </a:pPr>
            <a:endPar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435100">
              <a:lnSpc>
                <a:spcPct val="120000"/>
              </a:lnSpc>
              <a:buClr>
                <a:srgbClr val="57626F"/>
              </a:buClr>
              <a:defRPr sz="1800" b="0" i="0" u="none" strike="noStrike" kern="0" cap="none" spc="0" baseline="0">
                <a:solidFill>
                  <a:srgbClr val="000000"/>
                </a:solidFill>
                <a:uFillTx/>
              </a:defRPr>
            </a:pPr>
            <a:endParaRPr lang="en-US" altLang="es-ES" sz="1600" i="1" dirty="0">
              <a:latin typeface="Arial" panose="020B0604020202020204" pitchFamily="34" charset="0"/>
              <a:ea typeface="Verdana" panose="020B0604030504040204" pitchFamily="34" charset="0"/>
              <a:cs typeface="Arial" panose="020B0604020202020204" pitchFamily="34" charset="0"/>
            </a:endParaRPr>
          </a:p>
          <a:p>
            <a:pPr marL="1795463">
              <a:lnSpc>
                <a:spcPct val="120000"/>
              </a:lnSpc>
              <a:buClr>
                <a:srgbClr val="57626F"/>
              </a:buClr>
              <a:defRPr sz="1800" b="0" i="0" u="none" strike="noStrike" kern="0" cap="none" spc="0" baseline="0">
                <a:solidFill>
                  <a:srgbClr val="000000"/>
                </a:solidFill>
                <a:uFillTx/>
              </a:defRPr>
            </a:pPr>
            <a:r>
              <a:rPr lang="en-US" altLang="es-ES" sz="1600" i="1" dirty="0">
                <a:latin typeface="Arial" panose="020B0604020202020204" pitchFamily="34" charset="0"/>
                <a:ea typeface="Verdana" panose="020B0604030504040204" pitchFamily="34" charset="0"/>
                <a:cs typeface="Arial" panose="020B0604020202020204" pitchFamily="34" charset="0"/>
              </a:rPr>
              <a:t>Article 120 PIT Royal Decree. </a:t>
            </a:r>
          </a:p>
          <a:p>
            <a:pPr marL="1795463">
              <a:lnSpc>
                <a:spcPct val="120000"/>
              </a:lnSpc>
              <a:buClr>
                <a:srgbClr val="57626F"/>
              </a:buClr>
              <a:defRPr sz="1800" b="0" i="0" u="none" strike="noStrike" kern="0" cap="none" spc="0" baseline="0">
                <a:solidFill>
                  <a:srgbClr val="000000"/>
                </a:solidFill>
                <a:uFillTx/>
              </a:defRPr>
            </a:pPr>
            <a:r>
              <a:rPr lang="en-US" altLang="es-ES" sz="1600" i="1" dirty="0">
                <a:latin typeface="Arial" panose="020B0604020202020204" pitchFamily="34" charset="0"/>
                <a:ea typeface="Verdana" panose="020B0604030504040204" pitchFamily="34" charset="0"/>
                <a:cs typeface="Arial" panose="020B0604020202020204" pitchFamily="34" charset="0"/>
              </a:rPr>
              <a:t>Binding rulings V0599-22, V1167-19, V2918-17, V1935-16.</a:t>
            </a:r>
            <a:endParaRPr lang="en-US" sz="1400" kern="0" dirty="0">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p:txBody>
      </p:sp>
      <p:pic>
        <p:nvPicPr>
          <p:cNvPr id="10" name="Picture 2" descr="143,382 Cara Pensativa Imágenes y Fotos - 123RF">
            <a:extLst>
              <a:ext uri="{FF2B5EF4-FFF2-40B4-BE49-F238E27FC236}">
                <a16:creationId xmlns:a16="http://schemas.microsoft.com/office/drawing/2014/main" id="{1E7CF354-470E-D38D-1F5C-3F40B0D7EA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815" y="3375158"/>
            <a:ext cx="1064189" cy="1064189"/>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n 10">
            <a:extLst>
              <a:ext uri="{FF2B5EF4-FFF2-40B4-BE49-F238E27FC236}">
                <a16:creationId xmlns:a16="http://schemas.microsoft.com/office/drawing/2014/main" id="{BF248162-63D0-4A2D-7E04-84A8753CC1FF}"/>
              </a:ext>
            </a:extLst>
          </p:cNvPr>
          <p:cNvPicPr>
            <a:picLocks noChangeAspect="1"/>
          </p:cNvPicPr>
          <p:nvPr/>
        </p:nvPicPr>
        <p:blipFill rotWithShape="1">
          <a:blip r:embed="rId3"/>
          <a:srcRect l="5380" t="34632" r="44565" b="45584"/>
          <a:stretch/>
        </p:blipFill>
        <p:spPr>
          <a:xfrm>
            <a:off x="1828400" y="3271782"/>
            <a:ext cx="7485391" cy="1664117"/>
          </a:xfrm>
          <a:prstGeom prst="rect">
            <a:avLst/>
          </a:prstGeom>
        </p:spPr>
      </p:pic>
      <p:sp>
        <p:nvSpPr>
          <p:cNvPr id="5" name="Bolha de Pensamento: Nuvem 22">
            <a:extLst>
              <a:ext uri="{FF2B5EF4-FFF2-40B4-BE49-F238E27FC236}">
                <a16:creationId xmlns:a16="http://schemas.microsoft.com/office/drawing/2014/main" id="{8A51EB2F-7DCA-74B0-384E-2653C97185E4}"/>
              </a:ext>
            </a:extLst>
          </p:cNvPr>
          <p:cNvSpPr/>
          <p:nvPr/>
        </p:nvSpPr>
        <p:spPr>
          <a:xfrm>
            <a:off x="1718209" y="1226435"/>
            <a:ext cx="3264668" cy="1073209"/>
          </a:xfrm>
          <a:prstGeom prst="cloudCallout">
            <a:avLst>
              <a:gd name="adj1" fmla="val -55774"/>
              <a:gd name="adj2" fmla="val 6186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latin typeface="Arial" panose="020B0604020202020204" pitchFamily="34" charset="0"/>
                <a:cs typeface="Arial" panose="020B0604020202020204" pitchFamily="34" charset="0"/>
              </a:rPr>
              <a:t>How to avoid </a:t>
            </a:r>
            <a:r>
              <a:rPr lang="en-GB" sz="2000" b="1" dirty="0">
                <a:latin typeface="Arial" panose="020B0604020202020204" pitchFamily="34" charset="0"/>
                <a:cs typeface="Arial" panose="020B0604020202020204" pitchFamily="34" charset="0"/>
              </a:rPr>
              <a:t>doble taxation?</a:t>
            </a:r>
            <a:endParaRPr lang="en-GB" sz="2000" dirty="0">
              <a:latin typeface="Arial" panose="020B0604020202020204" pitchFamily="34" charset="0"/>
              <a:cs typeface="Arial" panose="020B0604020202020204" pitchFamily="34" charset="0"/>
            </a:endParaRPr>
          </a:p>
        </p:txBody>
      </p:sp>
      <p:sp>
        <p:nvSpPr>
          <p:cNvPr id="9" name="Título 1">
            <a:extLst>
              <a:ext uri="{FF2B5EF4-FFF2-40B4-BE49-F238E27FC236}">
                <a16:creationId xmlns:a16="http://schemas.microsoft.com/office/drawing/2014/main" id="{4144B2EC-00DA-5797-EEF9-BBC2E4837AF3}"/>
              </a:ext>
            </a:extLst>
          </p:cNvPr>
          <p:cNvSpPr>
            <a:spLocks noGrp="1"/>
          </p:cNvSpPr>
          <p:nvPr>
            <p:ph type="title"/>
          </p:nvPr>
        </p:nvSpPr>
        <p:spPr>
          <a:xfrm>
            <a:off x="979940" y="434459"/>
            <a:ext cx="8279949" cy="594360"/>
          </a:xfrm>
        </p:spPr>
        <p:txBody>
          <a:bodyPr>
            <a:normAutofit/>
          </a:bodyPr>
          <a:lstStyle/>
          <a:p>
            <a:r>
              <a:rPr lang="en-US" sz="2400" b="1" cap="none" dirty="0">
                <a:solidFill>
                  <a:schemeClr val="tx2"/>
                </a:solidFill>
                <a:latin typeface="Arial" panose="020B0604020202020204" pitchFamily="34" charset="0"/>
                <a:ea typeface="Cambria" panose="02040503050406030204" pitchFamily="18" charset="0"/>
                <a:cs typeface="Arial" panose="020B0604020202020204" pitchFamily="34" charset="0"/>
              </a:rPr>
              <a:t>The Spanish Perspective – Practical approach</a:t>
            </a:r>
            <a:endParaRPr lang="es-ES" sz="2400" b="1" cap="none" dirty="0">
              <a:solidFill>
                <a:schemeClr val="tx2"/>
              </a:solidFill>
              <a:latin typeface="Arial" panose="020B0604020202020204" pitchFamily="34" charset="0"/>
              <a:ea typeface="Cambria" panose="02040503050406030204" pitchFamily="18" charset="0"/>
              <a:cs typeface="Arial" panose="020B0604020202020204" pitchFamily="34" charset="0"/>
            </a:endParaRPr>
          </a:p>
        </p:txBody>
      </p:sp>
      <p:pic>
        <p:nvPicPr>
          <p:cNvPr id="12" name="Imagen 10" descr="lener">
            <a:extLst>
              <a:ext uri="{FF2B5EF4-FFF2-40B4-BE49-F238E27FC236}">
                <a16:creationId xmlns:a16="http://schemas.microsoft.com/office/drawing/2014/main" id="{736C7B5A-00C1-58C1-FABB-BCEDC0502E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406" y="257938"/>
            <a:ext cx="697459" cy="409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Untertitel 12">
            <a:extLst>
              <a:ext uri="{FF2B5EF4-FFF2-40B4-BE49-F238E27FC236}">
                <a16:creationId xmlns:a16="http://schemas.microsoft.com/office/drawing/2014/main" id="{342C0897-FA80-4018-531A-D1039CB23B5B}"/>
              </a:ext>
            </a:extLst>
          </p:cNvPr>
          <p:cNvSpPr txBox="1">
            <a:spLocks/>
          </p:cNvSpPr>
          <p:nvPr/>
        </p:nvSpPr>
        <p:spPr>
          <a:xfrm>
            <a:off x="979940" y="171677"/>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40868468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3B950483-9934-0843-EA36-E9D920467048}"/>
              </a:ext>
            </a:extLst>
          </p:cNvPr>
          <p:cNvSpPr txBox="1"/>
          <p:nvPr/>
        </p:nvSpPr>
        <p:spPr>
          <a:xfrm>
            <a:off x="1132076" y="1161680"/>
            <a:ext cx="9055728" cy="4940327"/>
          </a:xfrm>
          <a:prstGeom prst="rect">
            <a:avLst/>
          </a:prstGeom>
          <a:noFill/>
        </p:spPr>
        <p:txBody>
          <a:bodyPr wrap="square">
            <a:spAutoFit/>
          </a:bodyPr>
          <a:lstStyle/>
          <a:p>
            <a:pPr marL="171450" indent="-171450" algn="just">
              <a:lnSpc>
                <a:spcPct val="120000"/>
              </a:lnSpc>
              <a:buFont typeface="Arial" panose="020B0604020202020204" pitchFamily="34" charset="0"/>
              <a:buChar char="•"/>
            </a:pPr>
            <a:endParaRPr lang="en-US" altLang="es-ES" sz="1600" b="1"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171450" indent="-171450" algn="just">
              <a:lnSpc>
                <a:spcPct val="120000"/>
              </a:lnSpc>
              <a:buFont typeface="Arial" panose="020B0604020202020204" pitchFamily="34" charset="0"/>
              <a:buChar char="•"/>
            </a:pPr>
            <a:r>
              <a:rPr lang="en-US" altLang="es-ES" sz="1600" b="1" kern="0" dirty="0">
                <a:solidFill>
                  <a:srgbClr val="000000"/>
                </a:solidFill>
                <a:latin typeface="Arial" panose="020B0604020202020204" pitchFamily="34" charset="0"/>
                <a:ea typeface="Verdana" panose="020B0604030504040204" pitchFamily="34" charset="0"/>
                <a:cs typeface="Arial" panose="020B0604020202020204" pitchFamily="34" charset="0"/>
              </a:rPr>
              <a:t>Article 4 ODCE</a:t>
            </a:r>
            <a:r>
              <a:rPr lang="en-US" sz="1600" i="1" kern="0" dirty="0">
                <a:solidFill>
                  <a:srgbClr val="000000"/>
                </a:solidFill>
                <a:latin typeface="Arial" panose="020B0604020202020204" pitchFamily="34" charset="0"/>
                <a:ea typeface="Verdana" panose="020B0604030504040204" pitchFamily="34" charset="0"/>
                <a:cs typeface="Arial" panose="020B0604020202020204" pitchFamily="34" charset="0"/>
              </a:rPr>
              <a:t>: “a person is not to be considered a resident of a contracting state in the sense of the convention if he is considered to be a resident according to the domestic laws but it is subject </a:t>
            </a:r>
            <a:r>
              <a:rPr lang="en-US" sz="1600" i="1" u="sng" kern="0" dirty="0">
                <a:solidFill>
                  <a:srgbClr val="000000"/>
                </a:solidFill>
                <a:latin typeface="Arial" panose="020B0604020202020204" pitchFamily="34" charset="0"/>
                <a:ea typeface="Verdana" panose="020B0604030504040204" pitchFamily="34" charset="0"/>
                <a:cs typeface="Arial" panose="020B0604020202020204" pitchFamily="34" charset="0"/>
              </a:rPr>
              <a:t>ONLY</a:t>
            </a:r>
            <a:r>
              <a:rPr lang="en-US" sz="1600" i="1" kern="0" dirty="0">
                <a:solidFill>
                  <a:srgbClr val="000000"/>
                </a:solidFill>
                <a:latin typeface="Arial" panose="020B0604020202020204" pitchFamily="34" charset="0"/>
                <a:ea typeface="Verdana" panose="020B0604030504040204" pitchFamily="34" charset="0"/>
                <a:cs typeface="Arial" panose="020B0604020202020204" pitchFamily="34" charset="0"/>
              </a:rPr>
              <a:t> to a taxation limited to the income from sources (…)”. </a:t>
            </a:r>
          </a:p>
          <a:p>
            <a:pPr marL="171450" indent="-171450" algn="just">
              <a:lnSpc>
                <a:spcPct val="120000"/>
              </a:lnSpc>
              <a:buFont typeface="Arial" panose="020B0604020202020204" pitchFamily="34" charset="0"/>
              <a:buChar char="•"/>
            </a:pPr>
            <a:endParaRPr lang="en-US" sz="1600" i="1"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171450" indent="-171450" algn="just">
              <a:lnSpc>
                <a:spcPct val="120000"/>
              </a:lnSpc>
              <a:buFont typeface="Arial" panose="020B0604020202020204" pitchFamily="34" charset="0"/>
              <a:buChar char="•"/>
            </a:pPr>
            <a:r>
              <a:rPr lang="en-US" sz="1600" b="1" kern="0" dirty="0">
                <a:solidFill>
                  <a:srgbClr val="000000"/>
                </a:solidFill>
                <a:latin typeface="Arial" panose="020B0604020202020204" pitchFamily="34" charset="0"/>
                <a:ea typeface="Verdana" panose="020B0604030504040204" pitchFamily="34" charset="0"/>
                <a:cs typeface="Arial" panose="020B0604020202020204" pitchFamily="34" charset="0"/>
              </a:rPr>
              <a:t>Paragraph 108 article 1 ODCE: </a:t>
            </a:r>
            <a:r>
              <a:rPr lang="en-US" sz="1600" i="1" kern="0" dirty="0">
                <a:solidFill>
                  <a:srgbClr val="000000"/>
                </a:solidFill>
                <a:latin typeface="Arial" panose="020B0604020202020204" pitchFamily="34" charset="0"/>
                <a:ea typeface="Verdana" panose="020B0604030504040204" pitchFamily="34" charset="0"/>
                <a:cs typeface="Arial" panose="020B0604020202020204" pitchFamily="34" charset="0"/>
              </a:rPr>
              <a:t>“under the domestic law of some States, persons who qualify as residents but who do not have what is considered to be a </a:t>
            </a:r>
            <a:r>
              <a:rPr lang="en-US" sz="1600" i="1" u="sng" kern="0" dirty="0">
                <a:solidFill>
                  <a:srgbClr val="000000"/>
                </a:solidFill>
                <a:latin typeface="Arial" panose="020B0604020202020204" pitchFamily="34" charset="0"/>
                <a:ea typeface="Verdana" panose="020B0604030504040204" pitchFamily="34" charset="0"/>
                <a:cs typeface="Arial" panose="020B0604020202020204" pitchFamily="34" charset="0"/>
              </a:rPr>
              <a:t>permanent link </a:t>
            </a:r>
            <a:r>
              <a:rPr lang="en-US" sz="1600" i="1" kern="0" dirty="0">
                <a:solidFill>
                  <a:srgbClr val="000000"/>
                </a:solidFill>
                <a:latin typeface="Arial" panose="020B0604020202020204" pitchFamily="34" charset="0"/>
                <a:ea typeface="Verdana" panose="020B0604030504040204" pitchFamily="34" charset="0"/>
                <a:cs typeface="Arial" panose="020B0604020202020204" pitchFamily="34" charset="0"/>
              </a:rPr>
              <a:t>with the State (sometimes referred to as domicile) are only taxed on income derived from sources outside the State (..).”</a:t>
            </a:r>
          </a:p>
          <a:p>
            <a:pPr marL="171450" indent="-171450" algn="just">
              <a:lnSpc>
                <a:spcPct val="120000"/>
              </a:lnSpc>
              <a:buFont typeface="Arial" panose="020B0604020202020204" pitchFamily="34" charset="0"/>
              <a:buChar char="•"/>
            </a:pPr>
            <a:endParaRPr lang="en-US" sz="1600" i="1"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marL="171450" indent="-171450" algn="just">
              <a:lnSpc>
                <a:spcPct val="120000"/>
              </a:lnSpc>
              <a:buFont typeface="Arial" panose="020B0604020202020204" pitchFamily="34" charset="0"/>
              <a:buChar char="•"/>
            </a:pPr>
            <a: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BUT… is the STA accepting tax residence </a:t>
            </a:r>
            <a:r>
              <a:rPr lang="en-US" sz="1600" kern="0" dirty="0">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certificates issued </a:t>
            </a:r>
            <a:r>
              <a:rPr lang="en-US" sz="1600" b="1"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abroad</a:t>
            </a:r>
            <a: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a:t>
            </a:r>
          </a:p>
          <a:p>
            <a:pPr marL="171450" indent="-171450" algn="just">
              <a:lnSpc>
                <a:spcPct val="120000"/>
              </a:lnSpc>
              <a:buFont typeface="Arial" panose="020B0604020202020204" pitchFamily="34" charset="0"/>
              <a:buChar char="•"/>
            </a:pPr>
            <a:endParaRPr lang="en-US" sz="14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1450" indent="-171450" algn="just">
              <a:lnSpc>
                <a:spcPct val="120000"/>
              </a:lnSpc>
              <a:buFont typeface="Arial" panose="020B0604020202020204" pitchFamily="34" charset="0"/>
              <a:buChar char="•"/>
            </a:pPr>
            <a:endParaRPr lang="en-US" sz="14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1450" indent="-171450" algn="just">
              <a:lnSpc>
                <a:spcPct val="120000"/>
              </a:lnSpc>
              <a:buFont typeface="Arial" panose="020B0604020202020204" pitchFamily="34" charset="0"/>
              <a:buChar char="•"/>
            </a:pPr>
            <a:endParaRPr lang="en-US" sz="14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171450" indent="-171450" algn="just">
              <a:lnSpc>
                <a:spcPct val="120000"/>
              </a:lnSpc>
              <a:buFont typeface="Arial" panose="020B0604020202020204" pitchFamily="34" charset="0"/>
              <a:buChar char="•"/>
            </a:pPr>
            <a:endParaRPr lang="en-US" sz="14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a:p>
            <a:pPr marL="898525" lvl="1" algn="just">
              <a:lnSpc>
                <a:spcPct val="120000"/>
              </a:lnSpc>
            </a:pPr>
            <a: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Individuals under NHR in Portugal </a:t>
            </a:r>
            <a:r>
              <a:rPr lang="en-US" sz="1600" b="1" u="sng"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might</a:t>
            </a:r>
            <a: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 NOT be regarded as tax </a:t>
            </a:r>
            <a:r>
              <a:rPr lang="en-US" sz="1600" kern="0" dirty="0">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residents in </a:t>
            </a:r>
            <a: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such 	country as per the DTT </a:t>
            </a:r>
            <a:r>
              <a:rPr lang="en-US" sz="1600" i="1"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binding rulings V3553-19, V3379-19)</a:t>
            </a:r>
            <a:r>
              <a:rPr lang="en-US" sz="1600" kern="0" dirty="0">
                <a:solidFill>
                  <a:srgbClr val="000000"/>
                </a:solidFill>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 </a:t>
            </a:r>
            <a:endParaRPr lang="en-US" altLang="es-ES" sz="1600" b="1" kern="0" dirty="0">
              <a:solidFill>
                <a:srgbClr val="000000"/>
              </a:solidFill>
              <a:latin typeface="Arial" panose="020B0604020202020204" pitchFamily="34" charset="0"/>
              <a:ea typeface="Verdana" panose="020B0604030504040204" pitchFamily="34" charset="0"/>
              <a:cs typeface="Arial" panose="020B0604020202020204" pitchFamily="34" charset="0"/>
            </a:endParaRPr>
          </a:p>
        </p:txBody>
      </p:sp>
      <p:pic>
        <p:nvPicPr>
          <p:cNvPr id="10" name="Gráfico 9" descr="Caixa de verificação assinalada destaque">
            <a:extLst>
              <a:ext uri="{FF2B5EF4-FFF2-40B4-BE49-F238E27FC236}">
                <a16:creationId xmlns:a16="http://schemas.microsoft.com/office/drawing/2014/main" id="{2C4BF158-ABB2-69F0-649A-4295B7938F7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33130" y="5388560"/>
            <a:ext cx="541764" cy="541764"/>
          </a:xfrm>
          <a:prstGeom prst="rect">
            <a:avLst/>
          </a:prstGeom>
        </p:spPr>
      </p:pic>
      <p:sp>
        <p:nvSpPr>
          <p:cNvPr id="13" name="CaixaDeTexto 7">
            <a:extLst>
              <a:ext uri="{FF2B5EF4-FFF2-40B4-BE49-F238E27FC236}">
                <a16:creationId xmlns:a16="http://schemas.microsoft.com/office/drawing/2014/main" id="{FF29C047-DF01-87D1-9749-63AE55F84D3B}"/>
              </a:ext>
            </a:extLst>
          </p:cNvPr>
          <p:cNvSpPr txBox="1"/>
          <p:nvPr/>
        </p:nvSpPr>
        <p:spPr>
          <a:xfrm>
            <a:off x="1997051" y="4502386"/>
            <a:ext cx="8057356" cy="800219"/>
          </a:xfrm>
          <a:prstGeom prst="rect">
            <a:avLst/>
          </a:prstGeom>
          <a:noFill/>
        </p:spPr>
        <p:txBody>
          <a:bodyPr wrap="square">
            <a:spAutoFit/>
          </a:bodyPr>
          <a:lstStyle/>
          <a:p>
            <a:pPr algn="just"/>
            <a:r>
              <a:rPr lang="en-US" sz="1600" dirty="0">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Certificates corresponding to individuals taxed under the “remittance basis” in the UK would be accepted by the STA (</a:t>
            </a:r>
            <a:r>
              <a:rPr lang="en-US" sz="1600" i="1" dirty="0">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SAN 15-06-20; TEAC 11-07-17) </a:t>
            </a:r>
            <a:r>
              <a:rPr lang="en-US" sz="1600" dirty="0">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for DTT purposes</a:t>
            </a:r>
            <a:r>
              <a:rPr lang="en-US" sz="1600" i="1" dirty="0">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rPr>
              <a:t>. </a:t>
            </a:r>
          </a:p>
          <a:p>
            <a:pPr algn="just"/>
            <a:endParaRPr lang="en-US" sz="1400" i="1" dirty="0">
              <a:latin typeface="Arial" panose="020B0604020202020204" pitchFamily="34" charset="0"/>
              <a:ea typeface="Verdana" panose="020B0604030504040204" pitchFamily="34" charset="0"/>
              <a:cs typeface="Arial" panose="020B0604020202020204" pitchFamily="34" charset="0"/>
              <a:sym typeface="Wingdings" panose="05000000000000000000" pitchFamily="2" charset="2"/>
            </a:endParaRPr>
          </a:p>
        </p:txBody>
      </p:sp>
      <p:pic>
        <p:nvPicPr>
          <p:cNvPr id="14" name="Gráfico 13" descr="Caixa de verificação assinalada destaque">
            <a:extLst>
              <a:ext uri="{FF2B5EF4-FFF2-40B4-BE49-F238E27FC236}">
                <a16:creationId xmlns:a16="http://schemas.microsoft.com/office/drawing/2014/main" id="{4425C6B2-D062-78D7-6180-6A9823ADA95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33130" y="4468035"/>
            <a:ext cx="541764" cy="541764"/>
          </a:xfrm>
          <a:prstGeom prst="rect">
            <a:avLst/>
          </a:prstGeom>
        </p:spPr>
      </p:pic>
      <p:sp>
        <p:nvSpPr>
          <p:cNvPr id="7" name="Título 1">
            <a:extLst>
              <a:ext uri="{FF2B5EF4-FFF2-40B4-BE49-F238E27FC236}">
                <a16:creationId xmlns:a16="http://schemas.microsoft.com/office/drawing/2014/main" id="{DEAA440D-8870-B718-E6E5-843103E27FF0}"/>
              </a:ext>
            </a:extLst>
          </p:cNvPr>
          <p:cNvSpPr>
            <a:spLocks noGrp="1"/>
          </p:cNvSpPr>
          <p:nvPr>
            <p:ph type="title"/>
          </p:nvPr>
        </p:nvSpPr>
        <p:spPr>
          <a:xfrm>
            <a:off x="979940" y="434459"/>
            <a:ext cx="8279949" cy="594360"/>
          </a:xfrm>
        </p:spPr>
        <p:txBody>
          <a:bodyPr>
            <a:normAutofit/>
          </a:bodyPr>
          <a:lstStyle/>
          <a:p>
            <a:r>
              <a:rPr lang="en-US" sz="2400" b="1" cap="none" dirty="0">
                <a:solidFill>
                  <a:schemeClr val="tx2"/>
                </a:solidFill>
                <a:latin typeface="Arial" panose="020B0604020202020204" pitchFamily="34" charset="0"/>
                <a:ea typeface="Cambria" panose="02040503050406030204" pitchFamily="18" charset="0"/>
                <a:cs typeface="Arial" panose="020B0604020202020204" pitchFamily="34" charset="0"/>
              </a:rPr>
              <a:t>The Spanish Perspective – Outbound cases</a:t>
            </a:r>
            <a:endParaRPr lang="es-ES" sz="2400" b="1" cap="none" dirty="0">
              <a:solidFill>
                <a:schemeClr val="tx2"/>
              </a:solidFill>
              <a:latin typeface="Arial" panose="020B0604020202020204" pitchFamily="34" charset="0"/>
              <a:ea typeface="Cambria" panose="02040503050406030204" pitchFamily="18" charset="0"/>
              <a:cs typeface="Arial" panose="020B0604020202020204" pitchFamily="34" charset="0"/>
            </a:endParaRPr>
          </a:p>
        </p:txBody>
      </p:sp>
      <p:pic>
        <p:nvPicPr>
          <p:cNvPr id="8" name="Imagen 10" descr="lener">
            <a:extLst>
              <a:ext uri="{FF2B5EF4-FFF2-40B4-BE49-F238E27FC236}">
                <a16:creationId xmlns:a16="http://schemas.microsoft.com/office/drawing/2014/main" id="{093361C2-F3D1-9E20-91C1-76694BBA3D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406" y="257938"/>
            <a:ext cx="697459" cy="409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Untertitel 12">
            <a:extLst>
              <a:ext uri="{FF2B5EF4-FFF2-40B4-BE49-F238E27FC236}">
                <a16:creationId xmlns:a16="http://schemas.microsoft.com/office/drawing/2014/main" id="{F1990051-914B-D16C-1759-A17466FC0A5C}"/>
              </a:ext>
            </a:extLst>
          </p:cNvPr>
          <p:cNvSpPr txBox="1">
            <a:spLocks/>
          </p:cNvSpPr>
          <p:nvPr/>
        </p:nvSpPr>
        <p:spPr>
          <a:xfrm>
            <a:off x="979940" y="171677"/>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8100860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E878C69-8D7C-1AFA-AF5C-459144C1EDF2}"/>
              </a:ext>
            </a:extLst>
          </p:cNvPr>
          <p:cNvSpPr txBox="1">
            <a:spLocks/>
          </p:cNvSpPr>
          <p:nvPr/>
        </p:nvSpPr>
        <p:spPr>
          <a:xfrm>
            <a:off x="637040" y="685737"/>
            <a:ext cx="9847587" cy="417250"/>
          </a:xfrm>
          <a:prstGeom prst="rect">
            <a:avLst/>
          </a:prstGeom>
        </p:spPr>
        <p:txBody>
          <a:bodyPr/>
          <a:lstStyle>
            <a:lvl1pPr algn="l" defTabSz="914377" rtl="0" eaLnBrk="1" latinLnBrk="0" hangingPunct="1">
              <a:lnSpc>
                <a:spcPct val="90000"/>
              </a:lnSpc>
              <a:spcBef>
                <a:spcPct val="0"/>
              </a:spcBef>
              <a:buNone/>
              <a:defRPr sz="2400" b="1" kern="1200">
                <a:solidFill>
                  <a:schemeClr val="tx1"/>
                </a:solidFill>
                <a:latin typeface="+mj-lt"/>
                <a:ea typeface="+mj-ea"/>
                <a:cs typeface="+mj-cs"/>
              </a:defRPr>
            </a:lvl1pPr>
          </a:lstStyle>
          <a:p>
            <a:r>
              <a:rPr lang="en-GB" dirty="0">
                <a:latin typeface="Arial" panose="020B0604020202020204" pitchFamily="34" charset="0"/>
                <a:cs typeface="Arial" panose="020B0604020202020204" pitchFamily="34" charset="0"/>
              </a:rPr>
              <a:t>The Portuguese Perspective – </a:t>
            </a:r>
            <a:r>
              <a:rPr lang="en-GB" dirty="0">
                <a:latin typeface="Arial" panose="020B0604020202020204" pitchFamily="34" charset="0"/>
                <a:ea typeface="Cambria" panose="02040503050406030204" pitchFamily="18" charset="0"/>
                <a:cs typeface="Arial" panose="020B0604020202020204" pitchFamily="34" charset="0"/>
              </a:rPr>
              <a:t>Non-habitual resident </a:t>
            </a:r>
            <a:r>
              <a:rPr lang="en-GB" dirty="0">
                <a:latin typeface="Arial" panose="020B0604020202020204" pitchFamily="34" charset="0"/>
                <a:cs typeface="Arial" panose="020B0604020202020204" pitchFamily="34" charset="0"/>
              </a:rPr>
              <a:t> </a:t>
            </a:r>
          </a:p>
        </p:txBody>
      </p:sp>
      <p:sp>
        <p:nvSpPr>
          <p:cNvPr id="6" name="Untertitel 12">
            <a:extLst>
              <a:ext uri="{FF2B5EF4-FFF2-40B4-BE49-F238E27FC236}">
                <a16:creationId xmlns:a16="http://schemas.microsoft.com/office/drawing/2014/main" id="{768811B3-9607-CAF8-CFC3-AF48CB59E34B}"/>
              </a:ext>
            </a:extLst>
          </p:cNvPr>
          <p:cNvSpPr txBox="1">
            <a:spLocks/>
          </p:cNvSpPr>
          <p:nvPr/>
        </p:nvSpPr>
        <p:spPr>
          <a:xfrm>
            <a:off x="637040" y="345262"/>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
        <p:nvSpPr>
          <p:cNvPr id="7" name="TextBox 6">
            <a:extLst>
              <a:ext uri="{FF2B5EF4-FFF2-40B4-BE49-F238E27FC236}">
                <a16:creationId xmlns:a16="http://schemas.microsoft.com/office/drawing/2014/main" id="{ADBD49F3-5533-6897-7050-91C7CBB3FCFE}"/>
              </a:ext>
            </a:extLst>
          </p:cNvPr>
          <p:cNvSpPr txBox="1"/>
          <p:nvPr/>
        </p:nvSpPr>
        <p:spPr>
          <a:xfrm>
            <a:off x="770536" y="1803861"/>
            <a:ext cx="9847587" cy="336502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GB" dirty="0">
                <a:latin typeface="Arial" panose="020B0604020202020204" pitchFamily="34" charset="0"/>
                <a:ea typeface="Cambria" panose="02040503050406030204" pitchFamily="18" charset="0"/>
                <a:cs typeface="Arial" panose="020B0604020202020204" pitchFamily="34" charset="0"/>
              </a:rPr>
              <a:t>NHR Regime is a “tertium genus” (not forfeit, not remittance basis, not income exclusion)</a:t>
            </a:r>
          </a:p>
          <a:p>
            <a:pPr marL="285750" indent="-285750">
              <a:lnSpc>
                <a:spcPct val="150000"/>
              </a:lnSpc>
              <a:buFont typeface="Arial" panose="020B0604020202020204" pitchFamily="34" charset="0"/>
              <a:buChar char="•"/>
            </a:pPr>
            <a:r>
              <a:rPr lang="en-GB" dirty="0">
                <a:latin typeface="Arial" panose="020B0604020202020204" pitchFamily="34" charset="0"/>
                <a:ea typeface="Cambria" panose="02040503050406030204" pitchFamily="18" charset="0"/>
                <a:cs typeface="Arial" panose="020B0604020202020204" pitchFamily="34" charset="0"/>
              </a:rPr>
              <a:t>10 Years of NHR regime – Limited questionings on tax residence (until now) </a:t>
            </a:r>
          </a:p>
          <a:p>
            <a:pPr marL="285750" indent="-285750">
              <a:lnSpc>
                <a:spcPct val="150000"/>
              </a:lnSpc>
              <a:buFont typeface="Arial" panose="020B0604020202020204" pitchFamily="34" charset="0"/>
              <a:buChar char="•"/>
            </a:pPr>
            <a:r>
              <a:rPr lang="en-GB" dirty="0">
                <a:latin typeface="Arial" panose="020B0604020202020204" pitchFamily="34" charset="0"/>
                <a:ea typeface="Cambria" panose="02040503050406030204" pitchFamily="18" charset="0"/>
                <a:cs typeface="Arial" panose="020B0604020202020204" pitchFamily="34" charset="0"/>
              </a:rPr>
              <a:t>Certificate of tax residence (with mention to tax treaty and to NHR status)</a:t>
            </a:r>
          </a:p>
          <a:p>
            <a:pPr marL="285750" indent="-285750">
              <a:lnSpc>
                <a:spcPct val="150000"/>
              </a:lnSpc>
              <a:buFont typeface="Arial" panose="020B0604020202020204" pitchFamily="34" charset="0"/>
              <a:buChar char="•"/>
            </a:pPr>
            <a:r>
              <a:rPr lang="en-GB" dirty="0">
                <a:latin typeface="Arial" panose="020B0604020202020204" pitchFamily="34" charset="0"/>
                <a:ea typeface="Cambria" panose="02040503050406030204" pitchFamily="18" charset="0"/>
                <a:cs typeface="Arial" panose="020B0604020202020204" pitchFamily="34" charset="0"/>
              </a:rPr>
              <a:t>Initial focus on pension income (exemption until 2020 and now 10% flat rate)</a:t>
            </a:r>
          </a:p>
          <a:p>
            <a:pPr marL="285750" indent="-285750">
              <a:lnSpc>
                <a:spcPct val="150000"/>
              </a:lnSpc>
              <a:buFont typeface="Arial" panose="020B0604020202020204" pitchFamily="34" charset="0"/>
              <a:buChar char="•"/>
            </a:pPr>
            <a:r>
              <a:rPr lang="en-GB" dirty="0">
                <a:latin typeface="Arial" panose="020B0604020202020204" pitchFamily="34" charset="0"/>
                <a:ea typeface="Cambria" panose="02040503050406030204" pitchFamily="18" charset="0"/>
                <a:cs typeface="Arial" panose="020B0604020202020204" pitchFamily="34" charset="0"/>
              </a:rPr>
              <a:t>French and Spanish disputes – Beyond Tie-Breaker discussions</a:t>
            </a:r>
          </a:p>
          <a:p>
            <a:pPr marL="285750" indent="-285750">
              <a:lnSpc>
                <a:spcPct val="150000"/>
              </a:lnSpc>
              <a:buFont typeface="Arial" panose="020B0604020202020204" pitchFamily="34" charset="0"/>
              <a:buChar char="•"/>
            </a:pPr>
            <a:r>
              <a:rPr lang="en-GB" dirty="0">
                <a:latin typeface="Arial" panose="020B0604020202020204" pitchFamily="34" charset="0"/>
                <a:ea typeface="Cambria" panose="02040503050406030204" pitchFamily="18" charset="0"/>
                <a:cs typeface="Arial" panose="020B0604020202020204" pitchFamily="34" charset="0"/>
              </a:rPr>
              <a:t>Termination of Swedish and Finnish tax treaties – the “nuclear bomb” approach</a:t>
            </a:r>
          </a:p>
          <a:p>
            <a:pPr marL="285750" indent="-285750">
              <a:lnSpc>
                <a:spcPct val="150000"/>
              </a:lnSpc>
              <a:buFont typeface="Arial" panose="020B0604020202020204" pitchFamily="34" charset="0"/>
              <a:buChar char="•"/>
            </a:pPr>
            <a:r>
              <a:rPr lang="en-GB" dirty="0">
                <a:latin typeface="Arial" panose="020B0604020202020204" pitchFamily="34" charset="0"/>
                <a:ea typeface="Cambria" panose="02040503050406030204" pitchFamily="18" charset="0"/>
                <a:cs typeface="Arial" panose="020B0604020202020204" pitchFamily="34" charset="0"/>
              </a:rPr>
              <a:t>Reference to OECD Model in the NHR Regime – Brazilian Source and US Nationals</a:t>
            </a:r>
          </a:p>
          <a:p>
            <a:pPr marL="285750" indent="-285750">
              <a:lnSpc>
                <a:spcPct val="150000"/>
              </a:lnSpc>
              <a:buFont typeface="Arial" panose="020B0604020202020204" pitchFamily="34" charset="0"/>
              <a:buChar char="•"/>
            </a:pPr>
            <a:r>
              <a:rPr lang="en-GB" dirty="0">
                <a:latin typeface="Arial" panose="020B0604020202020204" pitchFamily="34" charset="0"/>
                <a:ea typeface="Cambria" panose="02040503050406030204" pitchFamily="18" charset="0"/>
                <a:cs typeface="Arial" panose="020B0604020202020204" pitchFamily="34" charset="0"/>
              </a:rPr>
              <a:t>Interaction of blacklisted jurisdictions with tax treaties with Portugal</a:t>
            </a:r>
          </a:p>
        </p:txBody>
      </p:sp>
    </p:spTree>
    <p:extLst>
      <p:ext uri="{BB962C8B-B14F-4D97-AF65-F5344CB8AC3E}">
        <p14:creationId xmlns:p14="http://schemas.microsoft.com/office/powerpoint/2010/main" val="30899530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E878C69-8D7C-1AFA-AF5C-459144C1EDF2}"/>
              </a:ext>
            </a:extLst>
          </p:cNvPr>
          <p:cNvSpPr txBox="1">
            <a:spLocks/>
          </p:cNvSpPr>
          <p:nvPr/>
        </p:nvSpPr>
        <p:spPr>
          <a:xfrm>
            <a:off x="637040" y="685737"/>
            <a:ext cx="9847587" cy="417250"/>
          </a:xfrm>
          <a:prstGeom prst="rect">
            <a:avLst/>
          </a:prstGeom>
        </p:spPr>
        <p:txBody>
          <a:bodyPr/>
          <a:lstStyle>
            <a:lvl1pPr algn="l" defTabSz="914377" rtl="0" eaLnBrk="1" latinLnBrk="0" hangingPunct="1">
              <a:lnSpc>
                <a:spcPct val="90000"/>
              </a:lnSpc>
              <a:spcBef>
                <a:spcPct val="0"/>
              </a:spcBef>
              <a:buNone/>
              <a:defRPr sz="2400" b="1" kern="1200">
                <a:solidFill>
                  <a:schemeClr val="tx1"/>
                </a:solidFill>
                <a:latin typeface="+mj-lt"/>
                <a:ea typeface="+mj-ea"/>
                <a:cs typeface="+mj-cs"/>
              </a:defRPr>
            </a:lvl1pPr>
          </a:lstStyle>
          <a:p>
            <a:r>
              <a:rPr lang="en-GB" dirty="0">
                <a:latin typeface="Arial" panose="020B0604020202020204" pitchFamily="34" charset="0"/>
                <a:cs typeface="Arial" panose="020B0604020202020204" pitchFamily="34" charset="0"/>
              </a:rPr>
              <a:t>The Portuguese Perspective – </a:t>
            </a:r>
            <a:r>
              <a:rPr lang="en-GB" dirty="0">
                <a:latin typeface="Arial" panose="020B0604020202020204" pitchFamily="34" charset="0"/>
                <a:ea typeface="Cambria" panose="02040503050406030204" pitchFamily="18" charset="0"/>
                <a:cs typeface="Arial" panose="020B0604020202020204" pitchFamily="34" charset="0"/>
              </a:rPr>
              <a:t>Non-habitual resident </a:t>
            </a:r>
            <a:r>
              <a:rPr lang="en-GB" dirty="0">
                <a:latin typeface="Arial" panose="020B0604020202020204" pitchFamily="34" charset="0"/>
                <a:cs typeface="Arial" panose="020B0604020202020204" pitchFamily="34" charset="0"/>
              </a:rPr>
              <a:t> </a:t>
            </a:r>
          </a:p>
        </p:txBody>
      </p:sp>
      <p:sp>
        <p:nvSpPr>
          <p:cNvPr id="6" name="Untertitel 12">
            <a:extLst>
              <a:ext uri="{FF2B5EF4-FFF2-40B4-BE49-F238E27FC236}">
                <a16:creationId xmlns:a16="http://schemas.microsoft.com/office/drawing/2014/main" id="{768811B3-9607-CAF8-CFC3-AF48CB59E34B}"/>
              </a:ext>
            </a:extLst>
          </p:cNvPr>
          <p:cNvSpPr txBox="1">
            <a:spLocks/>
          </p:cNvSpPr>
          <p:nvPr/>
        </p:nvSpPr>
        <p:spPr>
          <a:xfrm>
            <a:off x="637040" y="345262"/>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pic>
        <p:nvPicPr>
          <p:cNvPr id="2" name="Picture 1">
            <a:extLst>
              <a:ext uri="{FF2B5EF4-FFF2-40B4-BE49-F238E27FC236}">
                <a16:creationId xmlns:a16="http://schemas.microsoft.com/office/drawing/2014/main" id="{4F4A270D-0FFB-67D4-609D-691118E01E4B}"/>
              </a:ext>
            </a:extLst>
          </p:cNvPr>
          <p:cNvPicPr>
            <a:picLocks noChangeAspect="1"/>
          </p:cNvPicPr>
          <p:nvPr/>
        </p:nvPicPr>
        <p:blipFill>
          <a:blip r:embed="rId2"/>
          <a:stretch>
            <a:fillRect/>
          </a:stretch>
        </p:blipFill>
        <p:spPr>
          <a:xfrm>
            <a:off x="679676" y="1413419"/>
            <a:ext cx="8105775" cy="4733925"/>
          </a:xfrm>
          <a:prstGeom prst="rect">
            <a:avLst/>
          </a:prstGeom>
        </p:spPr>
      </p:pic>
      <p:sp>
        <p:nvSpPr>
          <p:cNvPr id="3" name="Arrow: Left 2">
            <a:extLst>
              <a:ext uri="{FF2B5EF4-FFF2-40B4-BE49-F238E27FC236}">
                <a16:creationId xmlns:a16="http://schemas.microsoft.com/office/drawing/2014/main" id="{587531BD-104E-EDEB-2FB1-123D1E8A2900}"/>
              </a:ext>
            </a:extLst>
          </p:cNvPr>
          <p:cNvSpPr/>
          <p:nvPr/>
        </p:nvSpPr>
        <p:spPr>
          <a:xfrm>
            <a:off x="7116535" y="4670033"/>
            <a:ext cx="612322" cy="334736"/>
          </a:xfrm>
          <a:prstGeom prst="leftArrow">
            <a:avLst/>
          </a:prstGeom>
          <a:solidFill>
            <a:srgbClr val="9999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999999"/>
              </a:solidFill>
              <a:highlight>
                <a:srgbClr val="999999"/>
              </a:highlight>
            </a:endParaRPr>
          </a:p>
        </p:txBody>
      </p:sp>
      <p:sp>
        <p:nvSpPr>
          <p:cNvPr id="4" name="Arrow: Left 3">
            <a:extLst>
              <a:ext uri="{FF2B5EF4-FFF2-40B4-BE49-F238E27FC236}">
                <a16:creationId xmlns:a16="http://schemas.microsoft.com/office/drawing/2014/main" id="{F99121C2-9D35-FA79-5D7A-EE1ADAB9C9DC}"/>
              </a:ext>
            </a:extLst>
          </p:cNvPr>
          <p:cNvSpPr/>
          <p:nvPr/>
        </p:nvSpPr>
        <p:spPr>
          <a:xfrm>
            <a:off x="7116535" y="5636441"/>
            <a:ext cx="612322" cy="334736"/>
          </a:xfrm>
          <a:prstGeom prst="leftArrow">
            <a:avLst/>
          </a:prstGeom>
          <a:solidFill>
            <a:srgbClr val="9999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999999"/>
              </a:solidFill>
              <a:highlight>
                <a:srgbClr val="999999"/>
              </a:highlight>
            </a:endParaRPr>
          </a:p>
        </p:txBody>
      </p:sp>
      <p:sp>
        <p:nvSpPr>
          <p:cNvPr id="8" name="Arrow: Left 7">
            <a:extLst>
              <a:ext uri="{FF2B5EF4-FFF2-40B4-BE49-F238E27FC236}">
                <a16:creationId xmlns:a16="http://schemas.microsoft.com/office/drawing/2014/main" id="{CF071CE5-2649-DF15-5995-DADE4283034C}"/>
              </a:ext>
            </a:extLst>
          </p:cNvPr>
          <p:cNvSpPr/>
          <p:nvPr/>
        </p:nvSpPr>
        <p:spPr>
          <a:xfrm rot="10800000">
            <a:off x="8583385" y="5004769"/>
            <a:ext cx="612322" cy="334736"/>
          </a:xfrm>
          <a:prstGeom prst="leftArrow">
            <a:avLst/>
          </a:prstGeom>
          <a:solidFill>
            <a:srgbClr val="9999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999999"/>
              </a:solidFill>
              <a:highlight>
                <a:srgbClr val="999999"/>
              </a:highlight>
            </a:endParaRPr>
          </a:p>
        </p:txBody>
      </p:sp>
      <p:sp>
        <p:nvSpPr>
          <p:cNvPr id="9" name="TextBox 8">
            <a:extLst>
              <a:ext uri="{FF2B5EF4-FFF2-40B4-BE49-F238E27FC236}">
                <a16:creationId xmlns:a16="http://schemas.microsoft.com/office/drawing/2014/main" id="{4A329BF7-A965-42FA-1642-E16C80A3C20F}"/>
              </a:ext>
            </a:extLst>
          </p:cNvPr>
          <p:cNvSpPr txBox="1"/>
          <p:nvPr/>
        </p:nvSpPr>
        <p:spPr>
          <a:xfrm>
            <a:off x="9414101" y="4401517"/>
            <a:ext cx="2407786" cy="1569660"/>
          </a:xfrm>
          <a:prstGeom prst="rect">
            <a:avLst/>
          </a:prstGeom>
          <a:noFill/>
        </p:spPr>
        <p:txBody>
          <a:bodyPr wrap="square" rtlCol="0">
            <a:spAutoFit/>
          </a:bodyPr>
          <a:lstStyle/>
          <a:p>
            <a:r>
              <a:rPr lang="en-GB" sz="1600" b="1" dirty="0"/>
              <a:t>What about the domestic residence test?</a:t>
            </a:r>
          </a:p>
          <a:p>
            <a:pPr marL="342900" indent="-342900">
              <a:buFont typeface="+mj-lt"/>
              <a:buAutoNum type="arabicPeriod"/>
            </a:pPr>
            <a:r>
              <a:rPr lang="en-GB" sz="1600" dirty="0"/>
              <a:t>Day count (183 days)</a:t>
            </a:r>
          </a:p>
          <a:p>
            <a:pPr marL="342900" indent="-342900">
              <a:buFont typeface="+mj-lt"/>
              <a:buAutoNum type="arabicPeriod"/>
            </a:pPr>
            <a:r>
              <a:rPr lang="en-GB" sz="1600" dirty="0"/>
              <a:t>Dwelling available with intention to use as habitual residence</a:t>
            </a:r>
          </a:p>
        </p:txBody>
      </p:sp>
    </p:spTree>
    <p:extLst>
      <p:ext uri="{BB962C8B-B14F-4D97-AF65-F5344CB8AC3E}">
        <p14:creationId xmlns:p14="http://schemas.microsoft.com/office/powerpoint/2010/main" val="42906148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AC6E8D3-E379-4E58-BDD0-D2D9AD6B9E06}"/>
              </a:ext>
            </a:extLst>
          </p:cNvPr>
          <p:cNvSpPr>
            <a:spLocks noGrp="1"/>
          </p:cNvSpPr>
          <p:nvPr>
            <p:ph type="title"/>
          </p:nvPr>
        </p:nvSpPr>
        <p:spPr/>
        <p:txBody>
          <a:bodyPr/>
          <a:lstStyle/>
          <a:p>
            <a:r>
              <a:rPr lang="en-US" sz="2400" dirty="0"/>
              <a:t>Lump-sum taxation and residence</a:t>
            </a:r>
          </a:p>
        </p:txBody>
      </p:sp>
      <p:sp>
        <p:nvSpPr>
          <p:cNvPr id="9" name="Inhaltsplatzhalter 8">
            <a:extLst>
              <a:ext uri="{FF2B5EF4-FFF2-40B4-BE49-F238E27FC236}">
                <a16:creationId xmlns:a16="http://schemas.microsoft.com/office/drawing/2014/main" id="{AA65CB20-188B-4CFD-B3FD-29221AABC004}"/>
              </a:ext>
            </a:extLst>
          </p:cNvPr>
          <p:cNvSpPr>
            <a:spLocks noGrp="1"/>
          </p:cNvSpPr>
          <p:nvPr>
            <p:ph sz="half" idx="1"/>
          </p:nvPr>
        </p:nvSpPr>
        <p:spPr/>
        <p:txBody>
          <a:bodyPr/>
          <a:lstStyle/>
          <a:p>
            <a:pPr marL="0" indent="0">
              <a:buNone/>
            </a:pPr>
            <a:r>
              <a:rPr lang="en-US" sz="1600" b="1" dirty="0"/>
              <a:t>Lump-sum taxation (</a:t>
            </a:r>
            <a:r>
              <a:rPr lang="en-US" sz="1600" b="1" dirty="0" err="1"/>
              <a:t>forfait</a:t>
            </a:r>
            <a:r>
              <a:rPr lang="en-US" sz="1600" b="1" dirty="0"/>
              <a:t> regime)</a:t>
            </a:r>
          </a:p>
          <a:p>
            <a:r>
              <a:rPr lang="en-US" sz="1600" dirty="0"/>
              <a:t>Does not impact Swiss tax residence: treaty application </a:t>
            </a:r>
          </a:p>
          <a:p>
            <a:r>
              <a:rPr lang="en-US" sz="1600" dirty="0"/>
              <a:t>Eligible for treaty relief (requires declaration in Swiss tax return [comparative tax calculation])</a:t>
            </a:r>
          </a:p>
          <a:p>
            <a:pPr lvl="1"/>
            <a:endParaRPr lang="en-US" sz="1600" dirty="0"/>
          </a:p>
        </p:txBody>
      </p:sp>
      <p:sp>
        <p:nvSpPr>
          <p:cNvPr id="12" name="Inhaltsplatzhalter 11">
            <a:extLst>
              <a:ext uri="{FF2B5EF4-FFF2-40B4-BE49-F238E27FC236}">
                <a16:creationId xmlns:a16="http://schemas.microsoft.com/office/drawing/2014/main" id="{FB37466E-F801-45DE-B945-D46A3C479513}"/>
              </a:ext>
            </a:extLst>
          </p:cNvPr>
          <p:cNvSpPr>
            <a:spLocks noGrp="1"/>
          </p:cNvSpPr>
          <p:nvPr>
            <p:ph sz="half" idx="2"/>
          </p:nvPr>
        </p:nvSpPr>
        <p:spPr/>
        <p:txBody>
          <a:bodyPr/>
          <a:lstStyle/>
          <a:p>
            <a:pPr marL="0" indent="0">
              <a:buNone/>
            </a:pPr>
            <a:r>
              <a:rPr lang="en-US" sz="1600" b="1" dirty="0"/>
              <a:t>Modified lump-sum taxation</a:t>
            </a:r>
          </a:p>
          <a:p>
            <a:r>
              <a:rPr lang="en-US" sz="1600" dirty="0"/>
              <a:t>Exceptions: Austria, Belgium, Canada, Germany, Italy, Norway, United States</a:t>
            </a:r>
          </a:p>
          <a:p>
            <a:pPr lvl="1"/>
            <a:r>
              <a:rPr lang="en-US" sz="1600" dirty="0"/>
              <a:t>Modified lump-sum taxation as a prerequisite for the application of treaty relief</a:t>
            </a:r>
          </a:p>
          <a:p>
            <a:pPr lvl="1"/>
            <a:r>
              <a:rPr lang="en-US" sz="1600" dirty="0"/>
              <a:t>All sources of income from respective state are included in Swiss tax return (not only those for which treaty relief is requested)</a:t>
            </a:r>
          </a:p>
          <a:p>
            <a:pPr lvl="1"/>
            <a:endParaRPr lang="en-US" sz="1600" dirty="0"/>
          </a:p>
          <a:p>
            <a:endParaRPr lang="en-US" sz="1600" dirty="0"/>
          </a:p>
          <a:p>
            <a:endParaRPr lang="en-US" sz="1600" dirty="0"/>
          </a:p>
        </p:txBody>
      </p:sp>
      <p:sp>
        <p:nvSpPr>
          <p:cNvPr id="13" name="Untertitel 12">
            <a:extLst>
              <a:ext uri="{FF2B5EF4-FFF2-40B4-BE49-F238E27FC236}">
                <a16:creationId xmlns:a16="http://schemas.microsoft.com/office/drawing/2014/main" id="{9DDF666E-5E41-4913-B761-5B4CC3F020D6}"/>
              </a:ext>
            </a:extLst>
          </p:cNvPr>
          <p:cNvSpPr>
            <a:spLocks noGrp="1"/>
          </p:cNvSpPr>
          <p:nvPr>
            <p:ph type="subTitle" idx="13"/>
          </p:nvPr>
        </p:nvSpPr>
        <p:spPr/>
        <p:txBody>
          <a:bodyPr/>
          <a:lstStyle/>
          <a:p>
            <a:r>
              <a:rPr lang="en-US" sz="1600" b="1" dirty="0"/>
              <a:t>Mobility of HNWI</a:t>
            </a:r>
          </a:p>
        </p:txBody>
      </p:sp>
      <p:sp>
        <p:nvSpPr>
          <p:cNvPr id="2" name="Foliennummernplatzhalter 1">
            <a:extLst>
              <a:ext uri="{FF2B5EF4-FFF2-40B4-BE49-F238E27FC236}">
                <a16:creationId xmlns:a16="http://schemas.microsoft.com/office/drawing/2014/main" id="{DEC93DE7-0A90-482C-AE83-463EF51C9693}"/>
              </a:ext>
            </a:extLst>
          </p:cNvPr>
          <p:cNvSpPr>
            <a:spLocks noGrp="1"/>
          </p:cNvSpPr>
          <p:nvPr>
            <p:ph type="sldNum" sz="quarter" idx="14"/>
          </p:nvPr>
        </p:nvSpPr>
        <p:spPr/>
        <p:txBody>
          <a:bodyPr/>
          <a:lstStyle/>
          <a:p>
            <a:fld id="{DF39F119-4393-4CF3-9721-3D889251476B}" type="slidenum">
              <a:rPr lang="en-US" smtClean="0"/>
              <a:pPr/>
              <a:t>14</a:t>
            </a:fld>
            <a:endParaRPr lang="en-US" dirty="0"/>
          </a:p>
        </p:txBody>
      </p:sp>
      <p:sp>
        <p:nvSpPr>
          <p:cNvPr id="3" name="Datumsplatzhalter 2">
            <a:extLst>
              <a:ext uri="{FF2B5EF4-FFF2-40B4-BE49-F238E27FC236}">
                <a16:creationId xmlns:a16="http://schemas.microsoft.com/office/drawing/2014/main" id="{2933C0A4-D154-48CB-B34D-4F3E09C3B0D3}"/>
              </a:ext>
            </a:extLst>
          </p:cNvPr>
          <p:cNvSpPr>
            <a:spLocks noGrp="1"/>
          </p:cNvSpPr>
          <p:nvPr>
            <p:ph type="dt" sz="half" idx="15"/>
          </p:nvPr>
        </p:nvSpPr>
        <p:spPr/>
        <p:txBody>
          <a:bodyPr/>
          <a:lstStyle/>
          <a:p>
            <a:r>
              <a:rPr lang="en-US" dirty="0"/>
              <a:t>September 15-16, 2022</a:t>
            </a:r>
          </a:p>
        </p:txBody>
      </p:sp>
      <p:sp>
        <p:nvSpPr>
          <p:cNvPr id="4" name="Rectangle 3">
            <a:extLst>
              <a:ext uri="{FF2B5EF4-FFF2-40B4-BE49-F238E27FC236}">
                <a16:creationId xmlns:a16="http://schemas.microsoft.com/office/drawing/2014/main" id="{5F455681-4A4E-C750-3B35-C85177596060}"/>
              </a:ext>
            </a:extLst>
          </p:cNvPr>
          <p:cNvSpPr/>
          <p:nvPr/>
        </p:nvSpPr>
        <p:spPr>
          <a:xfrm>
            <a:off x="364590" y="4897760"/>
            <a:ext cx="10585053" cy="57606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dirty="0" err="1">
                <a:solidFill>
                  <a:schemeClr val="tx1"/>
                </a:solidFill>
              </a:rPr>
              <a:t>No</a:t>
            </a:r>
            <a:r>
              <a:rPr lang="de-CH" sz="1400" dirty="0">
                <a:solidFill>
                  <a:schemeClr val="tx1"/>
                </a:solidFill>
              </a:rPr>
              <a:t> Swiss </a:t>
            </a:r>
            <a:r>
              <a:rPr lang="de-CH" sz="1400" dirty="0" err="1">
                <a:solidFill>
                  <a:schemeClr val="tx1"/>
                </a:solidFill>
              </a:rPr>
              <a:t>income</a:t>
            </a:r>
            <a:r>
              <a:rPr lang="de-CH" sz="1400" dirty="0">
                <a:solidFill>
                  <a:schemeClr val="tx1"/>
                </a:solidFill>
              </a:rPr>
              <a:t> / </a:t>
            </a:r>
            <a:r>
              <a:rPr lang="de-CH" sz="1400" dirty="0" err="1">
                <a:solidFill>
                  <a:schemeClr val="tx1"/>
                </a:solidFill>
              </a:rPr>
              <a:t>wealth</a:t>
            </a:r>
            <a:r>
              <a:rPr lang="de-CH" sz="1400" dirty="0">
                <a:solidFill>
                  <a:schemeClr val="tx1"/>
                </a:solidFill>
              </a:rPr>
              <a:t> </a:t>
            </a:r>
            <a:r>
              <a:rPr lang="de-CH" sz="1400" dirty="0" err="1">
                <a:solidFill>
                  <a:schemeClr val="tx1"/>
                </a:solidFill>
              </a:rPr>
              <a:t>tax</a:t>
            </a:r>
            <a:r>
              <a:rPr lang="de-CH" sz="1400" dirty="0">
                <a:solidFill>
                  <a:schemeClr val="tx1"/>
                </a:solidFill>
              </a:rPr>
              <a:t> on </a:t>
            </a:r>
            <a:r>
              <a:rPr lang="de-CH" sz="1400" dirty="0" err="1">
                <a:solidFill>
                  <a:schemeClr val="tx1"/>
                </a:solidFill>
              </a:rPr>
              <a:t>foreign</a:t>
            </a:r>
            <a:r>
              <a:rPr lang="de-CH" sz="1400" dirty="0">
                <a:solidFill>
                  <a:schemeClr val="tx1"/>
                </a:solidFill>
              </a:rPr>
              <a:t> </a:t>
            </a:r>
            <a:r>
              <a:rPr lang="de-CH" sz="1400" dirty="0" err="1">
                <a:solidFill>
                  <a:schemeClr val="tx1"/>
                </a:solidFill>
              </a:rPr>
              <a:t>income</a:t>
            </a:r>
            <a:r>
              <a:rPr lang="de-CH" sz="1400" dirty="0">
                <a:solidFill>
                  <a:schemeClr val="tx1"/>
                </a:solidFill>
              </a:rPr>
              <a:t> / </a:t>
            </a:r>
            <a:r>
              <a:rPr lang="de-CH" sz="1400" dirty="0" err="1">
                <a:solidFill>
                  <a:schemeClr val="tx1"/>
                </a:solidFill>
              </a:rPr>
              <a:t>assets</a:t>
            </a:r>
            <a:r>
              <a:rPr lang="de-CH" sz="1400" dirty="0">
                <a:solidFill>
                  <a:schemeClr val="tx1"/>
                </a:solidFill>
              </a:rPr>
              <a:t> (</a:t>
            </a:r>
            <a:r>
              <a:rPr lang="de-CH" sz="1400" dirty="0" err="1">
                <a:solidFill>
                  <a:schemeClr val="tx1"/>
                </a:solidFill>
              </a:rPr>
              <a:t>for</a:t>
            </a:r>
            <a:r>
              <a:rPr lang="de-CH" sz="1400" dirty="0">
                <a:solidFill>
                  <a:schemeClr val="tx1"/>
                </a:solidFill>
              </a:rPr>
              <a:t> so </a:t>
            </a:r>
            <a:r>
              <a:rPr lang="de-CH" sz="1400" dirty="0" err="1">
                <a:solidFill>
                  <a:schemeClr val="tx1"/>
                </a:solidFill>
              </a:rPr>
              <a:t>long</a:t>
            </a:r>
            <a:r>
              <a:rPr lang="de-CH" sz="1400" dirty="0">
                <a:solidFill>
                  <a:schemeClr val="tx1"/>
                </a:solidFill>
              </a:rPr>
              <a:t> </a:t>
            </a:r>
            <a:r>
              <a:rPr lang="de-CH" sz="1400" dirty="0" err="1">
                <a:solidFill>
                  <a:schemeClr val="tx1"/>
                </a:solidFill>
              </a:rPr>
              <a:t>as</a:t>
            </a:r>
            <a:r>
              <a:rPr lang="de-CH" sz="1400" dirty="0">
                <a:solidFill>
                  <a:schemeClr val="tx1"/>
                </a:solidFill>
              </a:rPr>
              <a:t> </a:t>
            </a:r>
            <a:r>
              <a:rPr lang="de-CH" sz="1400" dirty="0" err="1">
                <a:solidFill>
                  <a:schemeClr val="tx1"/>
                </a:solidFill>
              </a:rPr>
              <a:t>no</a:t>
            </a:r>
            <a:r>
              <a:rPr lang="de-CH" sz="1400" dirty="0">
                <a:solidFill>
                  <a:schemeClr val="tx1"/>
                </a:solidFill>
              </a:rPr>
              <a:t> double </a:t>
            </a:r>
            <a:r>
              <a:rPr lang="de-CH" sz="1400" dirty="0" err="1">
                <a:solidFill>
                  <a:schemeClr val="tx1"/>
                </a:solidFill>
              </a:rPr>
              <a:t>tax</a:t>
            </a:r>
            <a:r>
              <a:rPr lang="de-CH" sz="1400" dirty="0">
                <a:solidFill>
                  <a:schemeClr val="tx1"/>
                </a:solidFill>
              </a:rPr>
              <a:t> </a:t>
            </a:r>
            <a:r>
              <a:rPr lang="de-CH" sz="1400" dirty="0" err="1">
                <a:solidFill>
                  <a:schemeClr val="tx1"/>
                </a:solidFill>
              </a:rPr>
              <a:t>treaty</a:t>
            </a:r>
            <a:r>
              <a:rPr lang="de-CH" sz="1400" dirty="0">
                <a:solidFill>
                  <a:schemeClr val="tx1"/>
                </a:solidFill>
              </a:rPr>
              <a:t> </a:t>
            </a:r>
            <a:r>
              <a:rPr lang="de-CH" sz="1400" dirty="0" err="1">
                <a:solidFill>
                  <a:schemeClr val="tx1"/>
                </a:solidFill>
              </a:rPr>
              <a:t>is</a:t>
            </a:r>
            <a:r>
              <a:rPr lang="de-CH" sz="1400" dirty="0">
                <a:solidFill>
                  <a:schemeClr val="tx1"/>
                </a:solidFill>
              </a:rPr>
              <a:t> </a:t>
            </a:r>
            <a:r>
              <a:rPr lang="de-CH" sz="1400" dirty="0" err="1">
                <a:solidFill>
                  <a:schemeClr val="tx1"/>
                </a:solidFill>
              </a:rPr>
              <a:t>applied</a:t>
            </a:r>
            <a:r>
              <a:rPr lang="de-CH" sz="1400" dirty="0">
                <a:solidFill>
                  <a:schemeClr val="tx1"/>
                </a:solidFill>
              </a:rPr>
              <a:t>). </a:t>
            </a:r>
            <a:endParaRPr lang="en-CH" sz="1400" dirty="0" err="1">
              <a:solidFill>
                <a:schemeClr val="tx1"/>
              </a:solidFill>
            </a:endParaRPr>
          </a:p>
        </p:txBody>
      </p:sp>
      <p:sp>
        <p:nvSpPr>
          <p:cNvPr id="6" name="Rectangle 5">
            <a:extLst>
              <a:ext uri="{FF2B5EF4-FFF2-40B4-BE49-F238E27FC236}">
                <a16:creationId xmlns:a16="http://schemas.microsoft.com/office/drawing/2014/main" id="{F26EB2BE-D874-1E02-9502-C13DFFB976F0}"/>
              </a:ext>
            </a:extLst>
          </p:cNvPr>
          <p:cNvSpPr/>
          <p:nvPr/>
        </p:nvSpPr>
        <p:spPr>
          <a:xfrm>
            <a:off x="364591" y="4133602"/>
            <a:ext cx="4507274" cy="57606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dirty="0">
                <a:solidFill>
                  <a:schemeClr val="tx1"/>
                </a:solidFill>
              </a:rPr>
              <a:t>Individual </a:t>
            </a:r>
            <a:r>
              <a:rPr lang="de-CH" sz="1400" dirty="0" err="1">
                <a:solidFill>
                  <a:schemeClr val="tx1"/>
                </a:solidFill>
              </a:rPr>
              <a:t>tax</a:t>
            </a:r>
            <a:r>
              <a:rPr lang="de-CH" sz="1400" dirty="0">
                <a:solidFill>
                  <a:schemeClr val="tx1"/>
                </a:solidFill>
              </a:rPr>
              <a:t> resident </a:t>
            </a:r>
            <a:r>
              <a:rPr lang="de-CH" sz="1400" dirty="0" err="1">
                <a:solidFill>
                  <a:schemeClr val="tx1"/>
                </a:solidFill>
              </a:rPr>
              <a:t>for</a:t>
            </a:r>
            <a:r>
              <a:rPr lang="de-CH" sz="1400" dirty="0">
                <a:solidFill>
                  <a:schemeClr val="tx1"/>
                </a:solidFill>
              </a:rPr>
              <a:t> </a:t>
            </a:r>
            <a:r>
              <a:rPr lang="de-CH" sz="1400" dirty="0" err="1">
                <a:solidFill>
                  <a:schemeClr val="tx1"/>
                </a:solidFill>
              </a:rPr>
              <a:t>the</a:t>
            </a:r>
            <a:r>
              <a:rPr lang="de-CH" sz="1400" dirty="0">
                <a:solidFill>
                  <a:schemeClr val="tx1"/>
                </a:solidFill>
              </a:rPr>
              <a:t> </a:t>
            </a:r>
            <a:r>
              <a:rPr lang="de-CH" sz="1400" dirty="0" err="1">
                <a:solidFill>
                  <a:schemeClr val="tx1"/>
                </a:solidFill>
              </a:rPr>
              <a:t>purposes</a:t>
            </a:r>
            <a:r>
              <a:rPr lang="de-CH" sz="1400" dirty="0">
                <a:solidFill>
                  <a:schemeClr val="tx1"/>
                </a:solidFill>
              </a:rPr>
              <a:t> </a:t>
            </a:r>
            <a:r>
              <a:rPr lang="de-CH" sz="1400" dirty="0" err="1">
                <a:solidFill>
                  <a:schemeClr val="tx1"/>
                </a:solidFill>
              </a:rPr>
              <a:t>of</a:t>
            </a:r>
            <a:r>
              <a:rPr lang="de-CH" sz="1400" dirty="0">
                <a:solidFill>
                  <a:schemeClr val="tx1"/>
                </a:solidFill>
              </a:rPr>
              <a:t> </a:t>
            </a:r>
            <a:r>
              <a:rPr lang="de-CH" sz="1400" dirty="0" err="1">
                <a:solidFill>
                  <a:schemeClr val="tx1"/>
                </a:solidFill>
              </a:rPr>
              <a:t>treaty</a:t>
            </a:r>
            <a:r>
              <a:rPr lang="de-CH" sz="1400" dirty="0">
                <a:solidFill>
                  <a:schemeClr val="tx1"/>
                </a:solidFill>
              </a:rPr>
              <a:t> </a:t>
            </a:r>
            <a:r>
              <a:rPr lang="de-CH" sz="1400" dirty="0" err="1">
                <a:solidFill>
                  <a:schemeClr val="tx1"/>
                </a:solidFill>
              </a:rPr>
              <a:t>application</a:t>
            </a:r>
            <a:r>
              <a:rPr lang="de-CH" sz="1400" dirty="0">
                <a:solidFill>
                  <a:schemeClr val="tx1"/>
                </a:solidFill>
              </a:rPr>
              <a:t>.</a:t>
            </a:r>
            <a:endParaRPr lang="en-CH" sz="1400" dirty="0" err="1">
              <a:solidFill>
                <a:schemeClr val="tx1"/>
              </a:solidFill>
            </a:endParaRPr>
          </a:p>
        </p:txBody>
      </p:sp>
      <p:sp>
        <p:nvSpPr>
          <p:cNvPr id="10" name="Star: 5 Points 9">
            <a:extLst>
              <a:ext uri="{FF2B5EF4-FFF2-40B4-BE49-F238E27FC236}">
                <a16:creationId xmlns:a16="http://schemas.microsoft.com/office/drawing/2014/main" id="{F447BDD0-B3B7-0442-9B94-B684D5BDD402}"/>
              </a:ext>
            </a:extLst>
          </p:cNvPr>
          <p:cNvSpPr/>
          <p:nvPr/>
        </p:nvSpPr>
        <p:spPr>
          <a:xfrm>
            <a:off x="220836" y="3921353"/>
            <a:ext cx="402295" cy="416570"/>
          </a:xfrm>
          <a:prstGeom prst="star5">
            <a:avLst/>
          </a:prstGeom>
          <a:solidFill>
            <a:schemeClr val="accent3"/>
          </a:solidFill>
          <a:ln w="1905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200" dirty="0" err="1">
              <a:solidFill>
                <a:schemeClr val="tx1"/>
              </a:solidFill>
            </a:endParaRPr>
          </a:p>
        </p:txBody>
      </p:sp>
      <p:sp>
        <p:nvSpPr>
          <p:cNvPr id="14" name="Star: 5 Points 13">
            <a:extLst>
              <a:ext uri="{FF2B5EF4-FFF2-40B4-BE49-F238E27FC236}">
                <a16:creationId xmlns:a16="http://schemas.microsoft.com/office/drawing/2014/main" id="{D7324000-8884-B192-8D39-4B2C96F99E8D}"/>
              </a:ext>
            </a:extLst>
          </p:cNvPr>
          <p:cNvSpPr/>
          <p:nvPr/>
        </p:nvSpPr>
        <p:spPr>
          <a:xfrm>
            <a:off x="220836" y="4709666"/>
            <a:ext cx="402295" cy="416570"/>
          </a:xfrm>
          <a:prstGeom prst="star5">
            <a:avLst/>
          </a:prstGeom>
          <a:solidFill>
            <a:schemeClr val="accent3"/>
          </a:solidFill>
          <a:ln w="1905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1400" dirty="0" err="1">
              <a:solidFill>
                <a:schemeClr val="tx1"/>
              </a:solidFill>
            </a:endParaRPr>
          </a:p>
        </p:txBody>
      </p:sp>
    </p:spTree>
    <p:extLst>
      <p:ext uri="{BB962C8B-B14F-4D97-AF65-F5344CB8AC3E}">
        <p14:creationId xmlns:p14="http://schemas.microsoft.com/office/powerpoint/2010/main" val="2385823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AA65CB20-188B-4CFD-B3FD-29221AABC004}"/>
              </a:ext>
            </a:extLst>
          </p:cNvPr>
          <p:cNvSpPr>
            <a:spLocks noGrp="1"/>
          </p:cNvSpPr>
          <p:nvPr>
            <p:ph sz="half" idx="1"/>
          </p:nvPr>
        </p:nvSpPr>
        <p:spPr>
          <a:xfrm>
            <a:off x="335361" y="1916113"/>
            <a:ext cx="5616624" cy="4033837"/>
          </a:xfrm>
        </p:spPr>
        <p:txBody>
          <a:bodyPr/>
          <a:lstStyle/>
          <a:p>
            <a:pPr marL="0" indent="0">
              <a:buNone/>
            </a:pPr>
            <a:r>
              <a:rPr lang="en-US" sz="1600" b="1" dirty="0"/>
              <a:t>Impact on double tax treaties’ access:</a:t>
            </a:r>
          </a:p>
          <a:p>
            <a:r>
              <a:rPr lang="en-US" sz="1600" dirty="0"/>
              <a:t>Article 27 para. 1 Swiss-UK double tax treaty (outbound)</a:t>
            </a:r>
          </a:p>
          <a:p>
            <a:endParaRPr lang="en-US" sz="1600" dirty="0"/>
          </a:p>
          <a:p>
            <a:endParaRPr lang="en-US" sz="1600" dirty="0"/>
          </a:p>
          <a:p>
            <a:endParaRPr lang="en-US" sz="1600" dirty="0"/>
          </a:p>
          <a:p>
            <a:pPr marL="0" indent="0">
              <a:buNone/>
            </a:pPr>
            <a:endParaRPr lang="en-US" sz="1600" dirty="0"/>
          </a:p>
          <a:p>
            <a:endParaRPr lang="en-US" sz="1600" dirty="0"/>
          </a:p>
          <a:p>
            <a:r>
              <a:rPr lang="en-US" sz="1600" dirty="0"/>
              <a:t>Article 4 para. 5 Swiss-US double tax treaty (inbound)</a:t>
            </a:r>
          </a:p>
          <a:p>
            <a:pPr marL="0" indent="0">
              <a:buNone/>
            </a:pPr>
            <a:endParaRPr lang="en-US" sz="1600" dirty="0"/>
          </a:p>
        </p:txBody>
      </p:sp>
      <p:sp>
        <p:nvSpPr>
          <p:cNvPr id="2" name="Foliennummernplatzhalter 1">
            <a:extLst>
              <a:ext uri="{FF2B5EF4-FFF2-40B4-BE49-F238E27FC236}">
                <a16:creationId xmlns:a16="http://schemas.microsoft.com/office/drawing/2014/main" id="{DEC93DE7-0A90-482C-AE83-463EF51C9693}"/>
              </a:ext>
            </a:extLst>
          </p:cNvPr>
          <p:cNvSpPr>
            <a:spLocks noGrp="1"/>
          </p:cNvSpPr>
          <p:nvPr>
            <p:ph type="sldNum" sz="quarter" idx="14"/>
          </p:nvPr>
        </p:nvSpPr>
        <p:spPr/>
        <p:txBody>
          <a:bodyPr/>
          <a:lstStyle/>
          <a:p>
            <a:fld id="{DF39F119-4393-4CF3-9721-3D889251476B}" type="slidenum">
              <a:rPr lang="en-US" smtClean="0"/>
              <a:pPr/>
              <a:t>15</a:t>
            </a:fld>
            <a:endParaRPr lang="en-US" dirty="0"/>
          </a:p>
        </p:txBody>
      </p:sp>
      <p:sp>
        <p:nvSpPr>
          <p:cNvPr id="3" name="Datumsplatzhalter 2">
            <a:extLst>
              <a:ext uri="{FF2B5EF4-FFF2-40B4-BE49-F238E27FC236}">
                <a16:creationId xmlns:a16="http://schemas.microsoft.com/office/drawing/2014/main" id="{2933C0A4-D154-48CB-B34D-4F3E09C3B0D3}"/>
              </a:ext>
            </a:extLst>
          </p:cNvPr>
          <p:cNvSpPr>
            <a:spLocks noGrp="1"/>
          </p:cNvSpPr>
          <p:nvPr>
            <p:ph type="dt" sz="half" idx="15"/>
          </p:nvPr>
        </p:nvSpPr>
        <p:spPr/>
        <p:txBody>
          <a:bodyPr/>
          <a:lstStyle/>
          <a:p>
            <a:r>
              <a:rPr lang="en-US" dirty="0"/>
              <a:t>September 15-16, 2022</a:t>
            </a:r>
          </a:p>
        </p:txBody>
      </p:sp>
      <p:pic>
        <p:nvPicPr>
          <p:cNvPr id="8" name="Grafik 7">
            <a:extLst>
              <a:ext uri="{FF2B5EF4-FFF2-40B4-BE49-F238E27FC236}">
                <a16:creationId xmlns:a16="http://schemas.microsoft.com/office/drawing/2014/main" id="{1B889201-3B59-49D7-BAC3-BD0180BEE58E}"/>
              </a:ext>
            </a:extLst>
          </p:cNvPr>
          <p:cNvPicPr>
            <a:picLocks noChangeAspect="1"/>
          </p:cNvPicPr>
          <p:nvPr/>
        </p:nvPicPr>
        <p:blipFill rotWithShape="1">
          <a:blip r:embed="rId2"/>
          <a:srcRect l="4320" t="10775" r="5902" b="5215"/>
          <a:stretch/>
        </p:blipFill>
        <p:spPr>
          <a:xfrm>
            <a:off x="334962" y="2708920"/>
            <a:ext cx="5757438" cy="1405880"/>
          </a:xfrm>
          <a:prstGeom prst="rect">
            <a:avLst/>
          </a:prstGeom>
        </p:spPr>
      </p:pic>
      <p:sp>
        <p:nvSpPr>
          <p:cNvPr id="4" name="Inhaltsplatzhalter 8">
            <a:extLst>
              <a:ext uri="{FF2B5EF4-FFF2-40B4-BE49-F238E27FC236}">
                <a16:creationId xmlns:a16="http://schemas.microsoft.com/office/drawing/2014/main" id="{9F2A64EE-0819-C2E3-1135-E1BE4DBB4E05}"/>
              </a:ext>
            </a:extLst>
          </p:cNvPr>
          <p:cNvSpPr txBox="1">
            <a:spLocks/>
          </p:cNvSpPr>
          <p:nvPr/>
        </p:nvSpPr>
        <p:spPr>
          <a:xfrm>
            <a:off x="6575376" y="1916112"/>
            <a:ext cx="5405932" cy="4033837"/>
          </a:xfrm>
          <a:prstGeom prst="rect">
            <a:avLst/>
          </a:prstGeom>
        </p:spPr>
        <p:txBody>
          <a:bodyPr vert="horz" lIns="0" tIns="0" rIns="0" bIns="0" rtlCol="0">
            <a:noAutofit/>
          </a:bodyPr>
          <a:lstStyle>
            <a:lvl1pPr marL="228600" indent="-228600" algn="l" defTabSz="914400" rtl="0" eaLnBrk="1" latinLnBrk="0" hangingPunct="1">
              <a:lnSpc>
                <a:spcPct val="122000"/>
              </a:lnSpc>
              <a:spcBef>
                <a:spcPts val="400"/>
              </a:spcBef>
              <a:buFont typeface="Aktiv Grotesk Homburger" panose="020B0404020202020204" pitchFamily="34" charset="0"/>
              <a:buChar char="—"/>
              <a:defRPr sz="1200" kern="1200">
                <a:solidFill>
                  <a:schemeClr val="tx1"/>
                </a:solidFill>
                <a:latin typeface="+mn-lt"/>
                <a:ea typeface="+mn-ea"/>
                <a:cs typeface="+mn-cs"/>
              </a:defRPr>
            </a:lvl1pPr>
            <a:lvl2pPr marL="460800" indent="-230400" algn="l" defTabSz="914400" rtl="0" eaLnBrk="1" latinLnBrk="0" hangingPunct="1">
              <a:lnSpc>
                <a:spcPct val="122000"/>
              </a:lnSpc>
              <a:spcBef>
                <a:spcPts val="400"/>
              </a:spcBef>
              <a:buFont typeface="Aktiv Grotesk Homburger" panose="020B0404020202020204" pitchFamily="34" charset="0"/>
              <a:buChar char="◦"/>
              <a:defRPr sz="1200" kern="1200">
                <a:solidFill>
                  <a:schemeClr val="tx1"/>
                </a:solidFill>
                <a:latin typeface="+mn-lt"/>
                <a:ea typeface="+mn-ea"/>
                <a:cs typeface="+mn-cs"/>
              </a:defRPr>
            </a:lvl2pPr>
            <a:lvl3pPr marL="6912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3pPr>
            <a:lvl4pPr marL="9216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4pPr>
            <a:lvl5pPr marL="11520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5pPr>
            <a:lvl6pPr marL="13824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6pPr>
            <a:lvl7pPr marL="16128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7pPr>
            <a:lvl8pPr marL="18432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8pPr>
            <a:lvl9pPr marL="2073600" indent="-228600" algn="l" defTabSz="914400" rtl="0" eaLnBrk="1" latinLnBrk="0" hangingPunct="1">
              <a:lnSpc>
                <a:spcPct val="122000"/>
              </a:lnSpc>
              <a:spcBef>
                <a:spcPts val="400"/>
              </a:spcBef>
              <a:buFont typeface="Aldhabi" panose="01000000000000000000" pitchFamily="2" charset="-78"/>
              <a:buChar char="◦"/>
              <a:defRPr sz="1200" kern="1200">
                <a:solidFill>
                  <a:schemeClr val="tx1"/>
                </a:solidFill>
                <a:latin typeface="+mn-lt"/>
                <a:ea typeface="+mn-ea"/>
                <a:cs typeface="+mn-cs"/>
              </a:defRPr>
            </a:lvl9pPr>
          </a:lstStyle>
          <a:p>
            <a:pPr marL="0" indent="0">
              <a:buNone/>
            </a:pPr>
            <a:r>
              <a:rPr lang="en-US" sz="1600" b="1" dirty="0"/>
              <a:t>Dual residencies</a:t>
            </a:r>
          </a:p>
          <a:p>
            <a:r>
              <a:rPr lang="en-US" sz="1600" dirty="0"/>
              <a:t>Principle goal is to avoid double taxation </a:t>
            </a:r>
          </a:p>
          <a:p>
            <a:r>
              <a:rPr lang="en-US" sz="1600" dirty="0"/>
              <a:t>Dual residencies may be acceptable for tax</a:t>
            </a:r>
            <a:br>
              <a:rPr lang="en-US" sz="1600" dirty="0"/>
            </a:br>
            <a:r>
              <a:rPr lang="en-US" sz="1600" dirty="0"/>
              <a:t>planning purposes</a:t>
            </a:r>
          </a:p>
          <a:p>
            <a:pPr lvl="1"/>
            <a:r>
              <a:rPr lang="en-US" sz="1600" dirty="0"/>
              <a:t>“Voluntary” double taxation to enjoy treaty</a:t>
            </a:r>
            <a:br>
              <a:rPr lang="en-US" sz="1600" dirty="0"/>
            </a:br>
            <a:r>
              <a:rPr lang="en-US" sz="1600" dirty="0"/>
              <a:t>benefits?</a:t>
            </a:r>
          </a:p>
          <a:p>
            <a:pPr marL="230400" lvl="1" indent="0">
              <a:buNone/>
            </a:pPr>
            <a:endParaRPr lang="en-US" sz="1600" dirty="0"/>
          </a:p>
        </p:txBody>
      </p:sp>
      <p:pic>
        <p:nvPicPr>
          <p:cNvPr id="6" name="Picture 5">
            <a:extLst>
              <a:ext uri="{FF2B5EF4-FFF2-40B4-BE49-F238E27FC236}">
                <a16:creationId xmlns:a16="http://schemas.microsoft.com/office/drawing/2014/main" id="{3783874B-202E-FB95-23AB-27842D2A26BE}"/>
              </a:ext>
            </a:extLst>
          </p:cNvPr>
          <p:cNvPicPr>
            <a:picLocks noChangeAspect="1"/>
          </p:cNvPicPr>
          <p:nvPr/>
        </p:nvPicPr>
        <p:blipFill>
          <a:blip r:embed="rId3"/>
          <a:stretch>
            <a:fillRect/>
          </a:stretch>
        </p:blipFill>
        <p:spPr>
          <a:xfrm>
            <a:off x="210692" y="4831936"/>
            <a:ext cx="6029325" cy="1063216"/>
          </a:xfrm>
          <a:prstGeom prst="rect">
            <a:avLst/>
          </a:prstGeom>
        </p:spPr>
      </p:pic>
      <p:sp>
        <p:nvSpPr>
          <p:cNvPr id="20" name="Titel 6">
            <a:extLst>
              <a:ext uri="{FF2B5EF4-FFF2-40B4-BE49-F238E27FC236}">
                <a16:creationId xmlns:a16="http://schemas.microsoft.com/office/drawing/2014/main" id="{8610EBBD-ECF0-3141-FE1F-090DE662005C}"/>
              </a:ext>
            </a:extLst>
          </p:cNvPr>
          <p:cNvSpPr>
            <a:spLocks noGrp="1"/>
          </p:cNvSpPr>
          <p:nvPr>
            <p:ph type="title"/>
          </p:nvPr>
        </p:nvSpPr>
        <p:spPr>
          <a:xfrm>
            <a:off x="335360" y="518746"/>
            <a:ext cx="9360000" cy="461982"/>
          </a:xfrm>
        </p:spPr>
        <p:txBody>
          <a:bodyPr/>
          <a:lstStyle/>
          <a:p>
            <a:r>
              <a:rPr lang="en-US" sz="2400" dirty="0"/>
              <a:t>Lump-sum taxation and treaty relief</a:t>
            </a:r>
          </a:p>
        </p:txBody>
      </p:sp>
      <p:sp>
        <p:nvSpPr>
          <p:cNvPr id="21" name="Untertitel 12">
            <a:extLst>
              <a:ext uri="{FF2B5EF4-FFF2-40B4-BE49-F238E27FC236}">
                <a16:creationId xmlns:a16="http://schemas.microsoft.com/office/drawing/2014/main" id="{619FF1F4-C47E-8E78-8E81-6D9B7F9DF9D4}"/>
              </a:ext>
            </a:extLst>
          </p:cNvPr>
          <p:cNvSpPr>
            <a:spLocks noGrp="1"/>
          </p:cNvSpPr>
          <p:nvPr>
            <p:ph type="subTitle" idx="13"/>
          </p:nvPr>
        </p:nvSpPr>
        <p:spPr>
          <a:xfrm>
            <a:off x="334962" y="222798"/>
            <a:ext cx="9360000" cy="244624"/>
          </a:xfrm>
        </p:spPr>
        <p:txBody>
          <a:bodyPr/>
          <a:lstStyle/>
          <a:p>
            <a:r>
              <a:rPr lang="en-US" sz="1600" b="1" dirty="0"/>
              <a:t>Mobility of HNWI</a:t>
            </a:r>
          </a:p>
        </p:txBody>
      </p:sp>
    </p:spTree>
    <p:extLst>
      <p:ext uri="{BB962C8B-B14F-4D97-AF65-F5344CB8AC3E}">
        <p14:creationId xmlns:p14="http://schemas.microsoft.com/office/powerpoint/2010/main" val="3351991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8">
            <a:extLst>
              <a:ext uri="{FF2B5EF4-FFF2-40B4-BE49-F238E27FC236}">
                <a16:creationId xmlns:a16="http://schemas.microsoft.com/office/drawing/2014/main" id="{AA65CB20-188B-4CFD-B3FD-29221AABC004}"/>
              </a:ext>
            </a:extLst>
          </p:cNvPr>
          <p:cNvSpPr>
            <a:spLocks noGrp="1"/>
          </p:cNvSpPr>
          <p:nvPr>
            <p:ph sz="half" idx="1"/>
          </p:nvPr>
        </p:nvSpPr>
        <p:spPr/>
        <p:txBody>
          <a:bodyPr/>
          <a:lstStyle/>
          <a:p>
            <a:pPr marL="0" indent="0">
              <a:buNone/>
            </a:pPr>
            <a:r>
              <a:rPr lang="en-US" sz="1600" b="1" dirty="0"/>
              <a:t>Information exchange</a:t>
            </a:r>
          </a:p>
          <a:p>
            <a:r>
              <a:rPr lang="en-US" sz="1600" dirty="0"/>
              <a:t>Tax residency of individuals subject to the forfeit regime often challenged by foreign tax authorities</a:t>
            </a:r>
          </a:p>
          <a:p>
            <a:r>
              <a:rPr lang="en-US" sz="1600" dirty="0"/>
              <a:t>Taxation based on </a:t>
            </a:r>
            <a:r>
              <a:rPr lang="en-US" sz="1600" dirty="0" err="1"/>
              <a:t>forfait</a:t>
            </a:r>
            <a:r>
              <a:rPr lang="en-US" sz="1600" dirty="0"/>
              <a:t> regime as foreseeably relevant information </a:t>
            </a:r>
          </a:p>
          <a:p>
            <a:pPr lvl="1"/>
            <a:r>
              <a:rPr lang="en-US" sz="1600" dirty="0"/>
              <a:t>Lump-sum taxation does not preclude tax residency </a:t>
            </a:r>
          </a:p>
          <a:p>
            <a:pPr lvl="1"/>
            <a:r>
              <a:rPr lang="en-US" sz="1600" dirty="0"/>
              <a:t>No employed activity in Switzerland</a:t>
            </a:r>
          </a:p>
          <a:p>
            <a:r>
              <a:rPr lang="en-US" sz="1600" dirty="0"/>
              <a:t>Not foreseeably relevant information</a:t>
            </a:r>
          </a:p>
          <a:p>
            <a:pPr lvl="1"/>
            <a:r>
              <a:rPr lang="en-US" sz="1600" dirty="0"/>
              <a:t>Tax basis (i.e. deemed taxable income amount based on which Swiss income tax is levied)</a:t>
            </a:r>
          </a:p>
          <a:p>
            <a:endParaRPr lang="en-US" sz="1600" dirty="0"/>
          </a:p>
          <a:p>
            <a:pPr lvl="1"/>
            <a:endParaRPr lang="en-US" sz="1600" dirty="0"/>
          </a:p>
          <a:p>
            <a:pPr lvl="1"/>
            <a:endParaRPr lang="en-US" sz="1600" dirty="0"/>
          </a:p>
        </p:txBody>
      </p:sp>
      <p:sp>
        <p:nvSpPr>
          <p:cNvPr id="2" name="Foliennummernplatzhalter 1">
            <a:extLst>
              <a:ext uri="{FF2B5EF4-FFF2-40B4-BE49-F238E27FC236}">
                <a16:creationId xmlns:a16="http://schemas.microsoft.com/office/drawing/2014/main" id="{DEC93DE7-0A90-482C-AE83-463EF51C9693}"/>
              </a:ext>
            </a:extLst>
          </p:cNvPr>
          <p:cNvSpPr>
            <a:spLocks noGrp="1"/>
          </p:cNvSpPr>
          <p:nvPr>
            <p:ph type="sldNum" sz="quarter" idx="14"/>
          </p:nvPr>
        </p:nvSpPr>
        <p:spPr/>
        <p:txBody>
          <a:bodyPr/>
          <a:lstStyle/>
          <a:p>
            <a:fld id="{DF39F119-4393-4CF3-9721-3D889251476B}" type="slidenum">
              <a:rPr lang="en-US" smtClean="0"/>
              <a:pPr/>
              <a:t>16</a:t>
            </a:fld>
            <a:endParaRPr lang="en-US" dirty="0"/>
          </a:p>
        </p:txBody>
      </p:sp>
      <p:sp>
        <p:nvSpPr>
          <p:cNvPr id="3" name="Datumsplatzhalter 2">
            <a:extLst>
              <a:ext uri="{FF2B5EF4-FFF2-40B4-BE49-F238E27FC236}">
                <a16:creationId xmlns:a16="http://schemas.microsoft.com/office/drawing/2014/main" id="{2933C0A4-D154-48CB-B34D-4F3E09C3B0D3}"/>
              </a:ext>
            </a:extLst>
          </p:cNvPr>
          <p:cNvSpPr>
            <a:spLocks noGrp="1"/>
          </p:cNvSpPr>
          <p:nvPr>
            <p:ph type="dt" sz="half" idx="15"/>
          </p:nvPr>
        </p:nvSpPr>
        <p:spPr/>
        <p:txBody>
          <a:bodyPr/>
          <a:lstStyle/>
          <a:p>
            <a:r>
              <a:rPr lang="en-US" dirty="0"/>
              <a:t>September 15-16, 2022</a:t>
            </a:r>
          </a:p>
        </p:txBody>
      </p:sp>
      <p:sp>
        <p:nvSpPr>
          <p:cNvPr id="10" name="Titel 6">
            <a:extLst>
              <a:ext uri="{FF2B5EF4-FFF2-40B4-BE49-F238E27FC236}">
                <a16:creationId xmlns:a16="http://schemas.microsoft.com/office/drawing/2014/main" id="{4E6B3B24-9A1F-359E-CAC1-EE4E543831BB}"/>
              </a:ext>
            </a:extLst>
          </p:cNvPr>
          <p:cNvSpPr>
            <a:spLocks noGrp="1"/>
          </p:cNvSpPr>
          <p:nvPr>
            <p:ph type="title"/>
          </p:nvPr>
        </p:nvSpPr>
        <p:spPr>
          <a:xfrm>
            <a:off x="335360" y="518746"/>
            <a:ext cx="9360000" cy="461982"/>
          </a:xfrm>
        </p:spPr>
        <p:txBody>
          <a:bodyPr/>
          <a:lstStyle/>
          <a:p>
            <a:r>
              <a:rPr lang="en-US" sz="2400" dirty="0"/>
              <a:t>Lump-sum taxation and information exchange</a:t>
            </a:r>
          </a:p>
        </p:txBody>
      </p:sp>
      <p:sp>
        <p:nvSpPr>
          <p:cNvPr id="11" name="Untertitel 12">
            <a:extLst>
              <a:ext uri="{FF2B5EF4-FFF2-40B4-BE49-F238E27FC236}">
                <a16:creationId xmlns:a16="http://schemas.microsoft.com/office/drawing/2014/main" id="{40805419-D9DC-148E-B2FC-DC3F5509C7BC}"/>
              </a:ext>
            </a:extLst>
          </p:cNvPr>
          <p:cNvSpPr>
            <a:spLocks noGrp="1"/>
          </p:cNvSpPr>
          <p:nvPr>
            <p:ph type="subTitle" idx="13"/>
          </p:nvPr>
        </p:nvSpPr>
        <p:spPr>
          <a:xfrm>
            <a:off x="334962" y="222798"/>
            <a:ext cx="9360000" cy="244624"/>
          </a:xfrm>
        </p:spPr>
        <p:txBody>
          <a:bodyPr/>
          <a:lstStyle/>
          <a:p>
            <a:r>
              <a:rPr lang="en-US" sz="1600" b="1" dirty="0"/>
              <a:t>Mobility of HNWI</a:t>
            </a:r>
          </a:p>
        </p:txBody>
      </p:sp>
    </p:spTree>
    <p:extLst>
      <p:ext uri="{BB962C8B-B14F-4D97-AF65-F5344CB8AC3E}">
        <p14:creationId xmlns:p14="http://schemas.microsoft.com/office/powerpoint/2010/main" val="25615714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91635"/>
            <a:ext cx="12192000" cy="7071952"/>
          </a:xfrm>
        </p:spPr>
      </p:pic>
      <p:sp>
        <p:nvSpPr>
          <p:cNvPr id="2" name="Title 1"/>
          <p:cNvSpPr>
            <a:spLocks noGrp="1"/>
          </p:cNvSpPr>
          <p:nvPr>
            <p:ph type="title"/>
          </p:nvPr>
        </p:nvSpPr>
        <p:spPr>
          <a:xfrm>
            <a:off x="472119" y="501307"/>
            <a:ext cx="9847587" cy="417250"/>
          </a:xfrm>
        </p:spPr>
        <p:txBody>
          <a:bodyPr/>
          <a:lstStyle/>
          <a:p>
            <a:r>
              <a:rPr lang="en-GB" dirty="0"/>
              <a:t>Case Study 2 – The Source Perspective</a:t>
            </a:r>
          </a:p>
        </p:txBody>
      </p:sp>
      <p:sp>
        <p:nvSpPr>
          <p:cNvPr id="8" name="Google Shape;3391;p44">
            <a:extLst>
              <a:ext uri="{FF2B5EF4-FFF2-40B4-BE49-F238E27FC236}">
                <a16:creationId xmlns:a16="http://schemas.microsoft.com/office/drawing/2014/main" id="{ED0CE775-F4FE-2513-FE43-67EBEC9491D7}"/>
              </a:ext>
            </a:extLst>
          </p:cNvPr>
          <p:cNvSpPr/>
          <p:nvPr/>
        </p:nvSpPr>
        <p:spPr>
          <a:xfrm>
            <a:off x="1249495" y="3172218"/>
            <a:ext cx="708338" cy="680190"/>
          </a:xfrm>
          <a:custGeom>
            <a:avLst/>
            <a:gdLst/>
            <a:ahLst/>
            <a:cxnLst/>
            <a:rect l="l" t="t" r="r" b="b"/>
            <a:pathLst>
              <a:path w="1168497" h="1168497" extrusionOk="0">
                <a:moveTo>
                  <a:pt x="1145631" y="1116105"/>
                </a:moveTo>
                <a:lnTo>
                  <a:pt x="984327" y="1116105"/>
                </a:lnTo>
                <a:lnTo>
                  <a:pt x="984327" y="440409"/>
                </a:lnTo>
                <a:lnTo>
                  <a:pt x="1145631" y="440409"/>
                </a:lnTo>
                <a:cubicBezTo>
                  <a:pt x="1158332" y="440409"/>
                  <a:pt x="1169762" y="431518"/>
                  <a:pt x="1173573" y="420087"/>
                </a:cubicBezTo>
                <a:cubicBezTo>
                  <a:pt x="1177383" y="407386"/>
                  <a:pt x="1172303" y="394685"/>
                  <a:pt x="1162142" y="387065"/>
                </a:cubicBezTo>
                <a:lnTo>
                  <a:pt x="604565" y="4763"/>
                </a:lnTo>
                <a:cubicBezTo>
                  <a:pt x="594405" y="-1588"/>
                  <a:pt x="581704" y="-1588"/>
                  <a:pt x="571543" y="4763"/>
                </a:cubicBezTo>
                <a:lnTo>
                  <a:pt x="12696" y="387065"/>
                </a:lnTo>
                <a:cubicBezTo>
                  <a:pt x="2535" y="394685"/>
                  <a:pt x="-2545" y="407386"/>
                  <a:pt x="1265" y="420087"/>
                </a:cubicBezTo>
                <a:cubicBezTo>
                  <a:pt x="5075" y="432789"/>
                  <a:pt x="16506" y="440409"/>
                  <a:pt x="29207" y="440409"/>
                </a:cubicBezTo>
                <a:lnTo>
                  <a:pt x="191781" y="440409"/>
                </a:lnTo>
                <a:lnTo>
                  <a:pt x="191781" y="1116105"/>
                </a:lnTo>
                <a:lnTo>
                  <a:pt x="30478" y="1116105"/>
                </a:lnTo>
                <a:cubicBezTo>
                  <a:pt x="13966" y="1116105"/>
                  <a:pt x="1265" y="1128806"/>
                  <a:pt x="1265" y="1145318"/>
                </a:cubicBezTo>
                <a:cubicBezTo>
                  <a:pt x="1265" y="1161829"/>
                  <a:pt x="13966" y="1174530"/>
                  <a:pt x="30478" y="1174530"/>
                </a:cubicBezTo>
                <a:lnTo>
                  <a:pt x="222263" y="1174530"/>
                </a:lnTo>
                <a:lnTo>
                  <a:pt x="236235" y="1174530"/>
                </a:lnTo>
                <a:lnTo>
                  <a:pt x="453423" y="1174530"/>
                </a:lnTo>
                <a:lnTo>
                  <a:pt x="726496" y="1174530"/>
                </a:lnTo>
                <a:lnTo>
                  <a:pt x="957655" y="1174530"/>
                </a:lnTo>
                <a:lnTo>
                  <a:pt x="971626" y="1174530"/>
                </a:lnTo>
                <a:lnTo>
                  <a:pt x="1148171" y="1174530"/>
                </a:lnTo>
                <a:cubicBezTo>
                  <a:pt x="1164682" y="1174530"/>
                  <a:pt x="1177383" y="1161829"/>
                  <a:pt x="1177383" y="1145318"/>
                </a:cubicBezTo>
                <a:cubicBezTo>
                  <a:pt x="1174843" y="1128806"/>
                  <a:pt x="1162142" y="1116105"/>
                  <a:pt x="1145631" y="1116105"/>
                </a:cubicBezTo>
                <a:close/>
                <a:moveTo>
                  <a:pt x="124465" y="381984"/>
                </a:moveTo>
                <a:lnTo>
                  <a:pt x="588054" y="65728"/>
                </a:lnTo>
                <a:lnTo>
                  <a:pt x="1050373" y="381984"/>
                </a:lnTo>
                <a:lnTo>
                  <a:pt x="955115" y="381984"/>
                </a:lnTo>
                <a:cubicBezTo>
                  <a:pt x="938603" y="381984"/>
                  <a:pt x="925902" y="394685"/>
                  <a:pt x="925902" y="411197"/>
                </a:cubicBezTo>
                <a:lnTo>
                  <a:pt x="925902" y="1116105"/>
                </a:lnTo>
                <a:lnTo>
                  <a:pt x="754438" y="1116105"/>
                </a:lnTo>
                <a:lnTo>
                  <a:pt x="754438" y="616954"/>
                </a:lnTo>
                <a:cubicBezTo>
                  <a:pt x="754438" y="600443"/>
                  <a:pt x="741737" y="587742"/>
                  <a:pt x="725225" y="587742"/>
                </a:cubicBezTo>
                <a:lnTo>
                  <a:pt x="452153" y="587742"/>
                </a:lnTo>
                <a:cubicBezTo>
                  <a:pt x="435641" y="587742"/>
                  <a:pt x="422940" y="600443"/>
                  <a:pt x="422940" y="616954"/>
                </a:cubicBezTo>
                <a:lnTo>
                  <a:pt x="422940" y="1116105"/>
                </a:lnTo>
                <a:lnTo>
                  <a:pt x="251476" y="1116105"/>
                </a:lnTo>
                <a:lnTo>
                  <a:pt x="251476" y="411197"/>
                </a:lnTo>
                <a:cubicBezTo>
                  <a:pt x="251476" y="394685"/>
                  <a:pt x="238775" y="381984"/>
                  <a:pt x="222263" y="381984"/>
                </a:cubicBezTo>
                <a:lnTo>
                  <a:pt x="124465" y="381984"/>
                </a:lnTo>
                <a:close/>
                <a:moveTo>
                  <a:pt x="481365" y="1116105"/>
                </a:moveTo>
                <a:lnTo>
                  <a:pt x="481365" y="646166"/>
                </a:lnTo>
                <a:lnTo>
                  <a:pt x="694743" y="646166"/>
                </a:lnTo>
                <a:lnTo>
                  <a:pt x="694743" y="1116105"/>
                </a:lnTo>
                <a:lnTo>
                  <a:pt x="481365" y="1116105"/>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grpSp>
        <p:nvGrpSpPr>
          <p:cNvPr id="9" name="Google Shape;111;p13">
            <a:extLst>
              <a:ext uri="{FF2B5EF4-FFF2-40B4-BE49-F238E27FC236}">
                <a16:creationId xmlns:a16="http://schemas.microsoft.com/office/drawing/2014/main" id="{772B5C40-6D85-2460-2E71-A5735EB328A8}"/>
              </a:ext>
            </a:extLst>
          </p:cNvPr>
          <p:cNvGrpSpPr/>
          <p:nvPr/>
        </p:nvGrpSpPr>
        <p:grpSpPr>
          <a:xfrm>
            <a:off x="2334220" y="3198594"/>
            <a:ext cx="708338" cy="680190"/>
            <a:chOff x="2315553" y="5461860"/>
            <a:chExt cx="468363" cy="542894"/>
          </a:xfrm>
        </p:grpSpPr>
        <p:sp>
          <p:nvSpPr>
            <p:cNvPr id="10" name="Google Shape;112;p13">
              <a:extLst>
                <a:ext uri="{FF2B5EF4-FFF2-40B4-BE49-F238E27FC236}">
                  <a16:creationId xmlns:a16="http://schemas.microsoft.com/office/drawing/2014/main" id="{F5E37924-AF86-45F7-1EA0-372C93EF4C90}"/>
                </a:ext>
              </a:extLst>
            </p:cNvPr>
            <p:cNvSpPr/>
            <p:nvPr/>
          </p:nvSpPr>
          <p:spPr>
            <a:xfrm>
              <a:off x="2315553" y="5461860"/>
              <a:ext cx="386468" cy="542894"/>
            </a:xfrm>
            <a:custGeom>
              <a:avLst/>
              <a:gdLst/>
              <a:ahLst/>
              <a:cxnLst/>
              <a:rect l="l" t="t" r="r" b="b"/>
              <a:pathLst>
                <a:path w="222229" h="312180" extrusionOk="0">
                  <a:moveTo>
                    <a:pt x="217997" y="290486"/>
                  </a:moveTo>
                  <a:cubicBezTo>
                    <a:pt x="214293" y="290486"/>
                    <a:pt x="211648" y="293132"/>
                    <a:pt x="211648" y="296836"/>
                  </a:cubicBezTo>
                  <a:lnTo>
                    <a:pt x="211648" y="303185"/>
                  </a:lnTo>
                  <a:lnTo>
                    <a:pt x="12699" y="303185"/>
                  </a:lnTo>
                  <a:lnTo>
                    <a:pt x="12699" y="13228"/>
                  </a:lnTo>
                  <a:lnTo>
                    <a:pt x="211648" y="13228"/>
                  </a:lnTo>
                  <a:lnTo>
                    <a:pt x="211648" y="141804"/>
                  </a:lnTo>
                  <a:cubicBezTo>
                    <a:pt x="211648" y="145508"/>
                    <a:pt x="214293" y="148153"/>
                    <a:pt x="217997" y="148153"/>
                  </a:cubicBezTo>
                  <a:cubicBezTo>
                    <a:pt x="221701" y="148153"/>
                    <a:pt x="224346" y="145508"/>
                    <a:pt x="224346" y="141804"/>
                  </a:cubicBezTo>
                  <a:lnTo>
                    <a:pt x="224346" y="6349"/>
                  </a:lnTo>
                  <a:cubicBezTo>
                    <a:pt x="224346" y="2646"/>
                    <a:pt x="221701" y="0"/>
                    <a:pt x="217997" y="0"/>
                  </a:cubicBezTo>
                  <a:lnTo>
                    <a:pt x="6349" y="0"/>
                  </a:lnTo>
                  <a:cubicBezTo>
                    <a:pt x="2646" y="0"/>
                    <a:pt x="0" y="2646"/>
                    <a:pt x="0" y="6349"/>
                  </a:cubicBezTo>
                  <a:lnTo>
                    <a:pt x="0" y="309535"/>
                  </a:lnTo>
                  <a:cubicBezTo>
                    <a:pt x="0" y="313238"/>
                    <a:pt x="2646" y="315884"/>
                    <a:pt x="6349" y="315884"/>
                  </a:cubicBezTo>
                  <a:lnTo>
                    <a:pt x="217997" y="315884"/>
                  </a:lnTo>
                  <a:cubicBezTo>
                    <a:pt x="221701" y="315884"/>
                    <a:pt x="224346" y="313238"/>
                    <a:pt x="224346" y="309535"/>
                  </a:cubicBezTo>
                  <a:lnTo>
                    <a:pt x="224346" y="296836"/>
                  </a:lnTo>
                  <a:cubicBezTo>
                    <a:pt x="224346" y="293132"/>
                    <a:pt x="221172" y="290486"/>
                    <a:pt x="217997" y="29048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1" name="Google Shape;113;p13">
              <a:extLst>
                <a:ext uri="{FF2B5EF4-FFF2-40B4-BE49-F238E27FC236}">
                  <a16:creationId xmlns:a16="http://schemas.microsoft.com/office/drawing/2014/main" id="{9612FC2F-1991-C6B7-BE7B-C2814578FEE7}"/>
                </a:ext>
              </a:extLst>
            </p:cNvPr>
            <p:cNvSpPr/>
            <p:nvPr/>
          </p:nvSpPr>
          <p:spPr>
            <a:xfrm>
              <a:off x="2553875" y="5730545"/>
              <a:ext cx="230041" cy="230041"/>
            </a:xfrm>
            <a:custGeom>
              <a:avLst/>
              <a:gdLst/>
              <a:ahLst/>
              <a:cxnLst/>
              <a:rect l="l" t="t" r="r" b="b"/>
              <a:pathLst>
                <a:path w="132279" h="132279" extrusionOk="0">
                  <a:moveTo>
                    <a:pt x="66140" y="0"/>
                  </a:moveTo>
                  <a:cubicBezTo>
                    <a:pt x="29631" y="0"/>
                    <a:pt x="0" y="29631"/>
                    <a:pt x="0" y="66140"/>
                  </a:cubicBezTo>
                  <a:cubicBezTo>
                    <a:pt x="0" y="102649"/>
                    <a:pt x="29631" y="132280"/>
                    <a:pt x="66140" y="132280"/>
                  </a:cubicBezTo>
                  <a:cubicBezTo>
                    <a:pt x="102649" y="132280"/>
                    <a:pt x="132280" y="102649"/>
                    <a:pt x="132280" y="66140"/>
                  </a:cubicBezTo>
                  <a:cubicBezTo>
                    <a:pt x="132280" y="29631"/>
                    <a:pt x="102649" y="0"/>
                    <a:pt x="66140" y="0"/>
                  </a:cubicBezTo>
                  <a:close/>
                  <a:moveTo>
                    <a:pt x="66140" y="119581"/>
                  </a:moveTo>
                  <a:cubicBezTo>
                    <a:pt x="36509" y="119581"/>
                    <a:pt x="12699" y="95771"/>
                    <a:pt x="12699" y="66140"/>
                  </a:cubicBezTo>
                  <a:cubicBezTo>
                    <a:pt x="12699" y="36509"/>
                    <a:pt x="36509" y="12699"/>
                    <a:pt x="66140" y="12699"/>
                  </a:cubicBezTo>
                  <a:cubicBezTo>
                    <a:pt x="95771" y="12699"/>
                    <a:pt x="119581" y="36509"/>
                    <a:pt x="119581" y="66140"/>
                  </a:cubicBezTo>
                  <a:cubicBezTo>
                    <a:pt x="119581" y="95771"/>
                    <a:pt x="95771" y="119581"/>
                    <a:pt x="66140" y="11958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2" name="Google Shape;114;p13">
              <a:extLst>
                <a:ext uri="{FF2B5EF4-FFF2-40B4-BE49-F238E27FC236}">
                  <a16:creationId xmlns:a16="http://schemas.microsoft.com/office/drawing/2014/main" id="{8ADE2114-BBD2-F207-F6D2-18BBD53694A8}"/>
                </a:ext>
              </a:extLst>
            </p:cNvPr>
            <p:cNvSpPr/>
            <p:nvPr/>
          </p:nvSpPr>
          <p:spPr>
            <a:xfrm>
              <a:off x="2658773" y="5764592"/>
              <a:ext cx="18403" cy="36807"/>
            </a:xfrm>
            <a:custGeom>
              <a:avLst/>
              <a:gdLst/>
              <a:ahLst/>
              <a:cxnLst/>
              <a:rect l="l" t="t" r="r" b="b"/>
              <a:pathLst>
                <a:path w="10582" h="21164" extrusionOk="0">
                  <a:moveTo>
                    <a:pt x="6349" y="21165"/>
                  </a:moveTo>
                  <a:cubicBezTo>
                    <a:pt x="10053" y="21165"/>
                    <a:pt x="12699" y="18519"/>
                    <a:pt x="12699" y="14815"/>
                  </a:cubicBezTo>
                  <a:lnTo>
                    <a:pt x="12699" y="6349"/>
                  </a:lnTo>
                  <a:cubicBezTo>
                    <a:pt x="12699" y="2646"/>
                    <a:pt x="10053" y="0"/>
                    <a:pt x="6349" y="0"/>
                  </a:cubicBezTo>
                  <a:cubicBezTo>
                    <a:pt x="2646" y="0"/>
                    <a:pt x="0" y="2646"/>
                    <a:pt x="0" y="6349"/>
                  </a:cubicBezTo>
                  <a:lnTo>
                    <a:pt x="0" y="14815"/>
                  </a:lnTo>
                  <a:cubicBezTo>
                    <a:pt x="0" y="18519"/>
                    <a:pt x="2646" y="21165"/>
                    <a:pt x="6349" y="21165"/>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3" name="Google Shape;115;p13">
              <a:extLst>
                <a:ext uri="{FF2B5EF4-FFF2-40B4-BE49-F238E27FC236}">
                  <a16:creationId xmlns:a16="http://schemas.microsoft.com/office/drawing/2014/main" id="{E74D8010-7818-B1D1-A471-6C30CF765E53}"/>
                </a:ext>
              </a:extLst>
            </p:cNvPr>
            <p:cNvSpPr/>
            <p:nvPr/>
          </p:nvSpPr>
          <p:spPr>
            <a:xfrm>
              <a:off x="2658773" y="5887894"/>
              <a:ext cx="18403" cy="36807"/>
            </a:xfrm>
            <a:custGeom>
              <a:avLst/>
              <a:gdLst/>
              <a:ahLst/>
              <a:cxnLst/>
              <a:rect l="l" t="t" r="r" b="b"/>
              <a:pathLst>
                <a:path w="10582" h="21164" extrusionOk="0">
                  <a:moveTo>
                    <a:pt x="6349" y="0"/>
                  </a:moveTo>
                  <a:cubicBezTo>
                    <a:pt x="2646" y="0"/>
                    <a:pt x="0" y="2646"/>
                    <a:pt x="0" y="6349"/>
                  </a:cubicBezTo>
                  <a:lnTo>
                    <a:pt x="0" y="14815"/>
                  </a:lnTo>
                  <a:cubicBezTo>
                    <a:pt x="0" y="18519"/>
                    <a:pt x="2646" y="21165"/>
                    <a:pt x="6349" y="21165"/>
                  </a:cubicBezTo>
                  <a:cubicBezTo>
                    <a:pt x="10053" y="21165"/>
                    <a:pt x="12699" y="18519"/>
                    <a:pt x="12699" y="14815"/>
                  </a:cubicBezTo>
                  <a:lnTo>
                    <a:pt x="12699" y="6349"/>
                  </a:lnTo>
                  <a:cubicBezTo>
                    <a:pt x="12699" y="3175"/>
                    <a:pt x="10053" y="0"/>
                    <a:pt x="6349" y="0"/>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4" name="Google Shape;116;p13">
              <a:extLst>
                <a:ext uri="{FF2B5EF4-FFF2-40B4-BE49-F238E27FC236}">
                  <a16:creationId xmlns:a16="http://schemas.microsoft.com/office/drawing/2014/main" id="{A30EBD0E-A5BE-00E0-08A0-FB3D4D1A0D5F}"/>
                </a:ext>
              </a:extLst>
            </p:cNvPr>
            <p:cNvSpPr/>
            <p:nvPr/>
          </p:nvSpPr>
          <p:spPr>
            <a:xfrm>
              <a:off x="2628407" y="5805079"/>
              <a:ext cx="82815" cy="82815"/>
            </a:xfrm>
            <a:custGeom>
              <a:avLst/>
              <a:gdLst/>
              <a:ahLst/>
              <a:cxnLst/>
              <a:rect l="l" t="t" r="r" b="b"/>
              <a:pathLst>
                <a:path w="47620" h="47620" extrusionOk="0">
                  <a:moveTo>
                    <a:pt x="32805" y="16932"/>
                  </a:moveTo>
                  <a:lnTo>
                    <a:pt x="23810" y="16932"/>
                  </a:lnTo>
                  <a:lnTo>
                    <a:pt x="15344" y="16932"/>
                  </a:lnTo>
                  <a:cubicBezTo>
                    <a:pt x="14286" y="16932"/>
                    <a:pt x="13228" y="15874"/>
                    <a:pt x="13228" y="14815"/>
                  </a:cubicBezTo>
                  <a:cubicBezTo>
                    <a:pt x="13228" y="13757"/>
                    <a:pt x="14286" y="12699"/>
                    <a:pt x="15344" y="12699"/>
                  </a:cubicBezTo>
                  <a:lnTo>
                    <a:pt x="41271" y="12699"/>
                  </a:lnTo>
                  <a:cubicBezTo>
                    <a:pt x="44975" y="12699"/>
                    <a:pt x="47621" y="10053"/>
                    <a:pt x="47621" y="6349"/>
                  </a:cubicBezTo>
                  <a:cubicBezTo>
                    <a:pt x="47621" y="2646"/>
                    <a:pt x="44975" y="0"/>
                    <a:pt x="41271" y="0"/>
                  </a:cubicBezTo>
                  <a:lnTo>
                    <a:pt x="15344" y="0"/>
                  </a:lnTo>
                  <a:cubicBezTo>
                    <a:pt x="6878" y="0"/>
                    <a:pt x="0" y="6878"/>
                    <a:pt x="0" y="15344"/>
                  </a:cubicBezTo>
                  <a:cubicBezTo>
                    <a:pt x="0" y="23810"/>
                    <a:pt x="6878" y="30689"/>
                    <a:pt x="15344" y="30689"/>
                  </a:cubicBezTo>
                  <a:lnTo>
                    <a:pt x="23810" y="30689"/>
                  </a:lnTo>
                  <a:lnTo>
                    <a:pt x="32805" y="30689"/>
                  </a:lnTo>
                  <a:cubicBezTo>
                    <a:pt x="33864" y="30689"/>
                    <a:pt x="34922" y="31747"/>
                    <a:pt x="34922" y="32805"/>
                  </a:cubicBezTo>
                  <a:cubicBezTo>
                    <a:pt x="34922" y="33863"/>
                    <a:pt x="33864" y="34922"/>
                    <a:pt x="32805" y="34922"/>
                  </a:cubicBezTo>
                  <a:lnTo>
                    <a:pt x="6349" y="34922"/>
                  </a:lnTo>
                  <a:cubicBezTo>
                    <a:pt x="2646" y="34922"/>
                    <a:pt x="0" y="37567"/>
                    <a:pt x="0" y="41271"/>
                  </a:cubicBezTo>
                  <a:cubicBezTo>
                    <a:pt x="0" y="44975"/>
                    <a:pt x="2646" y="47621"/>
                    <a:pt x="6349" y="47621"/>
                  </a:cubicBezTo>
                  <a:lnTo>
                    <a:pt x="32805" y="47621"/>
                  </a:lnTo>
                  <a:cubicBezTo>
                    <a:pt x="41271" y="47621"/>
                    <a:pt x="48150" y="40742"/>
                    <a:pt x="48150" y="32276"/>
                  </a:cubicBezTo>
                  <a:cubicBezTo>
                    <a:pt x="48150" y="23810"/>
                    <a:pt x="41271" y="16932"/>
                    <a:pt x="32805" y="16932"/>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5" name="Google Shape;117;p13">
              <a:extLst>
                <a:ext uri="{FF2B5EF4-FFF2-40B4-BE49-F238E27FC236}">
                  <a16:creationId xmlns:a16="http://schemas.microsoft.com/office/drawing/2014/main" id="{6984D675-D8BD-80B6-6BC5-DE4A026188E2}"/>
                </a:ext>
              </a:extLst>
            </p:cNvPr>
            <p:cNvSpPr/>
            <p:nvPr/>
          </p:nvSpPr>
          <p:spPr>
            <a:xfrm>
              <a:off x="2392847" y="5564917"/>
              <a:ext cx="230041" cy="18403"/>
            </a:xfrm>
            <a:custGeom>
              <a:avLst/>
              <a:gdLst/>
              <a:ahLst/>
              <a:cxnLst/>
              <a:rect l="l" t="t" r="r" b="b"/>
              <a:pathLst>
                <a:path w="132279" h="10582" extrusionOk="0">
                  <a:moveTo>
                    <a:pt x="129105" y="0"/>
                  </a:moveTo>
                  <a:lnTo>
                    <a:pt x="6349" y="0"/>
                  </a:lnTo>
                  <a:cubicBezTo>
                    <a:pt x="2646" y="0"/>
                    <a:pt x="0" y="2646"/>
                    <a:pt x="0" y="6349"/>
                  </a:cubicBezTo>
                  <a:cubicBezTo>
                    <a:pt x="0" y="10053"/>
                    <a:pt x="2646" y="12699"/>
                    <a:pt x="6349" y="12699"/>
                  </a:cubicBezTo>
                  <a:lnTo>
                    <a:pt x="129105" y="12699"/>
                  </a:lnTo>
                  <a:cubicBezTo>
                    <a:pt x="132809" y="12699"/>
                    <a:pt x="135455" y="10053"/>
                    <a:pt x="135455" y="6349"/>
                  </a:cubicBezTo>
                  <a:cubicBezTo>
                    <a:pt x="135455" y="2646"/>
                    <a:pt x="132809" y="0"/>
                    <a:pt x="129105" y="0"/>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6" name="Google Shape;118;p13">
              <a:extLst>
                <a:ext uri="{FF2B5EF4-FFF2-40B4-BE49-F238E27FC236}">
                  <a16:creationId xmlns:a16="http://schemas.microsoft.com/office/drawing/2014/main" id="{47C27627-0608-0929-2F86-DF514AFD98A7}"/>
                </a:ext>
              </a:extLst>
            </p:cNvPr>
            <p:cNvSpPr/>
            <p:nvPr/>
          </p:nvSpPr>
          <p:spPr>
            <a:xfrm>
              <a:off x="2392847" y="5644971"/>
              <a:ext cx="230041" cy="18403"/>
            </a:xfrm>
            <a:custGeom>
              <a:avLst/>
              <a:gdLst/>
              <a:ahLst/>
              <a:cxnLst/>
              <a:rect l="l" t="t" r="r" b="b"/>
              <a:pathLst>
                <a:path w="132279" h="10582" extrusionOk="0">
                  <a:moveTo>
                    <a:pt x="135455" y="6349"/>
                  </a:moveTo>
                  <a:cubicBezTo>
                    <a:pt x="135455" y="2646"/>
                    <a:pt x="132809" y="0"/>
                    <a:pt x="129105" y="0"/>
                  </a:cubicBezTo>
                  <a:lnTo>
                    <a:pt x="6349" y="0"/>
                  </a:lnTo>
                  <a:cubicBezTo>
                    <a:pt x="2646" y="0"/>
                    <a:pt x="0" y="2646"/>
                    <a:pt x="0" y="6349"/>
                  </a:cubicBezTo>
                  <a:cubicBezTo>
                    <a:pt x="0" y="10053"/>
                    <a:pt x="2646" y="12699"/>
                    <a:pt x="6349" y="12699"/>
                  </a:cubicBezTo>
                  <a:lnTo>
                    <a:pt x="129105" y="12699"/>
                  </a:lnTo>
                  <a:cubicBezTo>
                    <a:pt x="132809" y="12699"/>
                    <a:pt x="135455" y="9524"/>
                    <a:pt x="135455" y="6349"/>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7" name="Google Shape;119;p13">
              <a:extLst>
                <a:ext uri="{FF2B5EF4-FFF2-40B4-BE49-F238E27FC236}">
                  <a16:creationId xmlns:a16="http://schemas.microsoft.com/office/drawing/2014/main" id="{7BC9CB98-2AAC-483B-6C7A-601386C5FF91}"/>
                </a:ext>
              </a:extLst>
            </p:cNvPr>
            <p:cNvSpPr/>
            <p:nvPr/>
          </p:nvSpPr>
          <p:spPr>
            <a:xfrm>
              <a:off x="2393767" y="5724106"/>
              <a:ext cx="193234" cy="18403"/>
            </a:xfrm>
            <a:custGeom>
              <a:avLst/>
              <a:gdLst/>
              <a:ahLst/>
              <a:cxnLst/>
              <a:rect l="l" t="t" r="r" b="b"/>
              <a:pathLst>
                <a:path w="111114" h="10582" extrusionOk="0">
                  <a:moveTo>
                    <a:pt x="112702" y="6349"/>
                  </a:moveTo>
                  <a:cubicBezTo>
                    <a:pt x="112702" y="2646"/>
                    <a:pt x="110057" y="0"/>
                    <a:pt x="106353" y="0"/>
                  </a:cubicBezTo>
                  <a:lnTo>
                    <a:pt x="6349" y="0"/>
                  </a:lnTo>
                  <a:cubicBezTo>
                    <a:pt x="2646" y="0"/>
                    <a:pt x="0" y="2646"/>
                    <a:pt x="0" y="6349"/>
                  </a:cubicBezTo>
                  <a:cubicBezTo>
                    <a:pt x="0" y="10053"/>
                    <a:pt x="2646" y="12699"/>
                    <a:pt x="6349" y="12699"/>
                  </a:cubicBezTo>
                  <a:lnTo>
                    <a:pt x="106353" y="12699"/>
                  </a:lnTo>
                  <a:cubicBezTo>
                    <a:pt x="109528" y="12699"/>
                    <a:pt x="112702" y="10053"/>
                    <a:pt x="112702" y="6349"/>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8" name="Google Shape;120;p13">
              <a:extLst>
                <a:ext uri="{FF2B5EF4-FFF2-40B4-BE49-F238E27FC236}">
                  <a16:creationId xmlns:a16="http://schemas.microsoft.com/office/drawing/2014/main" id="{470468BE-0E91-80EE-FEBB-84D8764C48E6}"/>
                </a:ext>
              </a:extLst>
            </p:cNvPr>
            <p:cNvSpPr/>
            <p:nvPr/>
          </p:nvSpPr>
          <p:spPr>
            <a:xfrm>
              <a:off x="2392847" y="5804159"/>
              <a:ext cx="138024" cy="18403"/>
            </a:xfrm>
            <a:custGeom>
              <a:avLst/>
              <a:gdLst/>
              <a:ahLst/>
              <a:cxnLst/>
              <a:rect l="l" t="t" r="r" b="b"/>
              <a:pathLst>
                <a:path w="79367" h="10582" extrusionOk="0">
                  <a:moveTo>
                    <a:pt x="6349" y="12699"/>
                  </a:moveTo>
                  <a:lnTo>
                    <a:pt x="75135" y="12699"/>
                  </a:lnTo>
                  <a:cubicBezTo>
                    <a:pt x="78839" y="12699"/>
                    <a:pt x="81484" y="10053"/>
                    <a:pt x="81484" y="6349"/>
                  </a:cubicBezTo>
                  <a:cubicBezTo>
                    <a:pt x="81484" y="2646"/>
                    <a:pt x="78839" y="0"/>
                    <a:pt x="75135" y="0"/>
                  </a:cubicBezTo>
                  <a:lnTo>
                    <a:pt x="6349" y="0"/>
                  </a:lnTo>
                  <a:cubicBezTo>
                    <a:pt x="2646" y="0"/>
                    <a:pt x="0" y="2646"/>
                    <a:pt x="0" y="6349"/>
                  </a:cubicBezTo>
                  <a:cubicBezTo>
                    <a:pt x="0" y="10053"/>
                    <a:pt x="3175" y="12699"/>
                    <a:pt x="6349" y="12699"/>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9" name="Google Shape;121;p13">
              <a:extLst>
                <a:ext uri="{FF2B5EF4-FFF2-40B4-BE49-F238E27FC236}">
                  <a16:creationId xmlns:a16="http://schemas.microsoft.com/office/drawing/2014/main" id="{154E76F0-B1E6-F567-A30C-224D5981592E}"/>
                </a:ext>
              </a:extLst>
            </p:cNvPr>
            <p:cNvSpPr/>
            <p:nvPr/>
          </p:nvSpPr>
          <p:spPr>
            <a:xfrm>
              <a:off x="2392847" y="5884212"/>
              <a:ext cx="147226" cy="18403"/>
            </a:xfrm>
            <a:custGeom>
              <a:avLst/>
              <a:gdLst/>
              <a:ahLst/>
              <a:cxnLst/>
              <a:rect l="l" t="t" r="r" b="b"/>
              <a:pathLst>
                <a:path w="84659" h="10582" extrusionOk="0">
                  <a:moveTo>
                    <a:pt x="6349" y="12699"/>
                  </a:moveTo>
                  <a:lnTo>
                    <a:pt x="80426" y="12699"/>
                  </a:lnTo>
                  <a:cubicBezTo>
                    <a:pt x="84130" y="12699"/>
                    <a:pt x="86775" y="10053"/>
                    <a:pt x="86775" y="6349"/>
                  </a:cubicBezTo>
                  <a:cubicBezTo>
                    <a:pt x="86775" y="2646"/>
                    <a:pt x="84130" y="0"/>
                    <a:pt x="80426" y="0"/>
                  </a:cubicBezTo>
                  <a:lnTo>
                    <a:pt x="6349" y="0"/>
                  </a:lnTo>
                  <a:cubicBezTo>
                    <a:pt x="2646" y="0"/>
                    <a:pt x="0" y="2646"/>
                    <a:pt x="0" y="6349"/>
                  </a:cubicBezTo>
                  <a:cubicBezTo>
                    <a:pt x="0" y="10053"/>
                    <a:pt x="3175" y="12699"/>
                    <a:pt x="6349" y="12699"/>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grpSp>
      <p:grpSp>
        <p:nvGrpSpPr>
          <p:cNvPr id="21" name="Group 20">
            <a:extLst>
              <a:ext uri="{FF2B5EF4-FFF2-40B4-BE49-F238E27FC236}">
                <a16:creationId xmlns:a16="http://schemas.microsoft.com/office/drawing/2014/main" id="{9206FC18-3CE0-B3B6-460F-07717B9D6B3F}"/>
              </a:ext>
            </a:extLst>
          </p:cNvPr>
          <p:cNvGrpSpPr/>
          <p:nvPr/>
        </p:nvGrpSpPr>
        <p:grpSpPr>
          <a:xfrm>
            <a:off x="7982789" y="1493989"/>
            <a:ext cx="916805" cy="1251361"/>
            <a:chOff x="3175907" y="1592263"/>
            <a:chExt cx="916805" cy="1251361"/>
          </a:xfrm>
        </p:grpSpPr>
        <p:grpSp>
          <p:nvGrpSpPr>
            <p:cNvPr id="3" name="Google Shape;1747;p25">
              <a:extLst>
                <a:ext uri="{FF2B5EF4-FFF2-40B4-BE49-F238E27FC236}">
                  <a16:creationId xmlns:a16="http://schemas.microsoft.com/office/drawing/2014/main" id="{FEC88072-9256-6C03-4295-5427593B1F81}"/>
                </a:ext>
              </a:extLst>
            </p:cNvPr>
            <p:cNvGrpSpPr/>
            <p:nvPr/>
          </p:nvGrpSpPr>
          <p:grpSpPr>
            <a:xfrm>
              <a:off x="3175907" y="1592263"/>
              <a:ext cx="916805" cy="882029"/>
              <a:chOff x="1902323" y="5487089"/>
              <a:chExt cx="274586" cy="274586"/>
            </a:xfrm>
          </p:grpSpPr>
          <p:sp>
            <p:nvSpPr>
              <p:cNvPr id="5" name="Google Shape;1748;p25">
                <a:extLst>
                  <a:ext uri="{FF2B5EF4-FFF2-40B4-BE49-F238E27FC236}">
                    <a16:creationId xmlns:a16="http://schemas.microsoft.com/office/drawing/2014/main" id="{D26BBAE0-C0E7-CD61-BDAE-093DC4268E09}"/>
                  </a:ext>
                </a:extLst>
              </p:cNvPr>
              <p:cNvSpPr/>
              <p:nvPr/>
            </p:nvSpPr>
            <p:spPr>
              <a:xfrm>
                <a:off x="1902323" y="5487089"/>
                <a:ext cx="274586" cy="274586"/>
              </a:xfrm>
              <a:custGeom>
                <a:avLst/>
                <a:gdLst/>
                <a:ahLst/>
                <a:cxnLst/>
                <a:rect l="l" t="t" r="r" b="b"/>
                <a:pathLst>
                  <a:path w="424" h="424" extrusionOk="0">
                    <a:moveTo>
                      <a:pt x="211" y="0"/>
                    </a:moveTo>
                    <a:lnTo>
                      <a:pt x="211" y="0"/>
                    </a:lnTo>
                    <a:cubicBezTo>
                      <a:pt x="95" y="0"/>
                      <a:pt x="0" y="95"/>
                      <a:pt x="0" y="211"/>
                    </a:cubicBezTo>
                    <a:cubicBezTo>
                      <a:pt x="0" y="328"/>
                      <a:pt x="95" y="423"/>
                      <a:pt x="211" y="423"/>
                    </a:cubicBezTo>
                    <a:cubicBezTo>
                      <a:pt x="328" y="423"/>
                      <a:pt x="423" y="328"/>
                      <a:pt x="423" y="211"/>
                    </a:cubicBezTo>
                    <a:cubicBezTo>
                      <a:pt x="423" y="95"/>
                      <a:pt x="328" y="0"/>
                      <a:pt x="211" y="0"/>
                    </a:cubicBezTo>
                    <a:close/>
                    <a:moveTo>
                      <a:pt x="211" y="407"/>
                    </a:moveTo>
                    <a:lnTo>
                      <a:pt x="211" y="407"/>
                    </a:lnTo>
                    <a:cubicBezTo>
                      <a:pt x="106" y="407"/>
                      <a:pt x="18" y="320"/>
                      <a:pt x="18" y="211"/>
                    </a:cubicBezTo>
                    <a:cubicBezTo>
                      <a:pt x="18" y="106"/>
                      <a:pt x="106" y="16"/>
                      <a:pt x="211" y="16"/>
                    </a:cubicBezTo>
                    <a:cubicBezTo>
                      <a:pt x="320" y="16"/>
                      <a:pt x="407" y="106"/>
                      <a:pt x="407" y="211"/>
                    </a:cubicBezTo>
                    <a:cubicBezTo>
                      <a:pt x="407" y="320"/>
                      <a:pt x="320" y="407"/>
                      <a:pt x="211" y="40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sp>
            <p:nvSpPr>
              <p:cNvPr id="6" name="Google Shape;1749;p25">
                <a:extLst>
                  <a:ext uri="{FF2B5EF4-FFF2-40B4-BE49-F238E27FC236}">
                    <a16:creationId xmlns:a16="http://schemas.microsoft.com/office/drawing/2014/main" id="{A3500D77-0B27-273B-B32D-31EF2EA4A980}"/>
                  </a:ext>
                </a:extLst>
              </p:cNvPr>
              <p:cNvSpPr/>
              <p:nvPr/>
            </p:nvSpPr>
            <p:spPr>
              <a:xfrm>
                <a:off x="1968108" y="5621521"/>
                <a:ext cx="145875" cy="100110"/>
              </a:xfrm>
              <a:custGeom>
                <a:avLst/>
                <a:gdLst/>
                <a:ahLst/>
                <a:cxnLst/>
                <a:rect l="l" t="t" r="r" b="b"/>
                <a:pathLst>
                  <a:path w="224" h="154" extrusionOk="0">
                    <a:moveTo>
                      <a:pt x="133" y="0"/>
                    </a:moveTo>
                    <a:lnTo>
                      <a:pt x="133" y="0"/>
                    </a:lnTo>
                    <a:cubicBezTo>
                      <a:pt x="90" y="0"/>
                      <a:pt x="90" y="0"/>
                      <a:pt x="90" y="0"/>
                    </a:cubicBezTo>
                    <a:cubicBezTo>
                      <a:pt x="43" y="0"/>
                      <a:pt x="0" y="66"/>
                      <a:pt x="0" y="145"/>
                    </a:cubicBezTo>
                    <a:cubicBezTo>
                      <a:pt x="0" y="151"/>
                      <a:pt x="6" y="153"/>
                      <a:pt x="11" y="153"/>
                    </a:cubicBezTo>
                    <a:cubicBezTo>
                      <a:pt x="16" y="153"/>
                      <a:pt x="19" y="151"/>
                      <a:pt x="19" y="145"/>
                    </a:cubicBezTo>
                    <a:cubicBezTo>
                      <a:pt x="19" y="77"/>
                      <a:pt x="51" y="18"/>
                      <a:pt x="90" y="18"/>
                    </a:cubicBezTo>
                    <a:cubicBezTo>
                      <a:pt x="133" y="18"/>
                      <a:pt x="133" y="18"/>
                      <a:pt x="133" y="18"/>
                    </a:cubicBezTo>
                    <a:cubicBezTo>
                      <a:pt x="172" y="18"/>
                      <a:pt x="204" y="77"/>
                      <a:pt x="204" y="145"/>
                    </a:cubicBezTo>
                    <a:cubicBezTo>
                      <a:pt x="204" y="151"/>
                      <a:pt x="209" y="153"/>
                      <a:pt x="215" y="153"/>
                    </a:cubicBezTo>
                    <a:cubicBezTo>
                      <a:pt x="217" y="153"/>
                      <a:pt x="223" y="151"/>
                      <a:pt x="223" y="145"/>
                    </a:cubicBezTo>
                    <a:cubicBezTo>
                      <a:pt x="223" y="66"/>
                      <a:pt x="183" y="0"/>
                      <a:pt x="133" y="0"/>
                    </a:cubicBezTo>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sp>
            <p:nvSpPr>
              <p:cNvPr id="7" name="Google Shape;1750;p25">
                <a:extLst>
                  <a:ext uri="{FF2B5EF4-FFF2-40B4-BE49-F238E27FC236}">
                    <a16:creationId xmlns:a16="http://schemas.microsoft.com/office/drawing/2014/main" id="{B42772E7-23F5-8432-5985-8DFB130F1CBC}"/>
                  </a:ext>
                </a:extLst>
              </p:cNvPr>
              <p:cNvSpPr/>
              <p:nvPr/>
            </p:nvSpPr>
            <p:spPr>
              <a:xfrm>
                <a:off x="1999572" y="5527133"/>
                <a:ext cx="85808" cy="94388"/>
              </a:xfrm>
              <a:custGeom>
                <a:avLst/>
                <a:gdLst/>
                <a:ahLst/>
                <a:cxnLst/>
                <a:rect l="l" t="t" r="r" b="b"/>
                <a:pathLst>
                  <a:path w="131" h="146" extrusionOk="0">
                    <a:moveTo>
                      <a:pt x="63" y="145"/>
                    </a:moveTo>
                    <a:lnTo>
                      <a:pt x="63" y="145"/>
                    </a:lnTo>
                    <a:cubicBezTo>
                      <a:pt x="100" y="145"/>
                      <a:pt x="130" y="116"/>
                      <a:pt x="130" y="79"/>
                    </a:cubicBezTo>
                    <a:cubicBezTo>
                      <a:pt x="130" y="63"/>
                      <a:pt x="130" y="63"/>
                      <a:pt x="130" y="63"/>
                    </a:cubicBezTo>
                    <a:cubicBezTo>
                      <a:pt x="130" y="29"/>
                      <a:pt x="100" y="0"/>
                      <a:pt x="63" y="0"/>
                    </a:cubicBezTo>
                    <a:cubicBezTo>
                      <a:pt x="29" y="0"/>
                      <a:pt x="0" y="29"/>
                      <a:pt x="0" y="63"/>
                    </a:cubicBezTo>
                    <a:cubicBezTo>
                      <a:pt x="0" y="79"/>
                      <a:pt x="0" y="79"/>
                      <a:pt x="0" y="79"/>
                    </a:cubicBezTo>
                    <a:cubicBezTo>
                      <a:pt x="0" y="116"/>
                      <a:pt x="29" y="145"/>
                      <a:pt x="63" y="145"/>
                    </a:cubicBezTo>
                    <a:close/>
                    <a:moveTo>
                      <a:pt x="16" y="63"/>
                    </a:moveTo>
                    <a:lnTo>
                      <a:pt x="16" y="63"/>
                    </a:lnTo>
                    <a:cubicBezTo>
                      <a:pt x="16" y="37"/>
                      <a:pt x="37" y="15"/>
                      <a:pt x="63" y="15"/>
                    </a:cubicBezTo>
                    <a:cubicBezTo>
                      <a:pt x="90" y="15"/>
                      <a:pt x="111" y="37"/>
                      <a:pt x="111" y="63"/>
                    </a:cubicBezTo>
                    <a:cubicBezTo>
                      <a:pt x="111" y="79"/>
                      <a:pt x="111" y="79"/>
                      <a:pt x="111" y="79"/>
                    </a:cubicBezTo>
                    <a:cubicBezTo>
                      <a:pt x="111" y="105"/>
                      <a:pt x="90" y="127"/>
                      <a:pt x="63" y="127"/>
                    </a:cubicBezTo>
                    <a:cubicBezTo>
                      <a:pt x="37" y="127"/>
                      <a:pt x="16" y="105"/>
                      <a:pt x="16" y="79"/>
                    </a:cubicBezTo>
                    <a:lnTo>
                      <a:pt x="16" y="63"/>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grpSp>
        <p:sp>
          <p:nvSpPr>
            <p:cNvPr id="20" name="TextBox 19">
              <a:extLst>
                <a:ext uri="{FF2B5EF4-FFF2-40B4-BE49-F238E27FC236}">
                  <a16:creationId xmlns:a16="http://schemas.microsoft.com/office/drawing/2014/main" id="{E81E32F4-DE1B-7C3B-55F9-B7A10B5048A1}"/>
                </a:ext>
              </a:extLst>
            </p:cNvPr>
            <p:cNvSpPr txBox="1"/>
            <p:nvPr/>
          </p:nvSpPr>
          <p:spPr>
            <a:xfrm>
              <a:off x="3232376" y="2474292"/>
              <a:ext cx="800219" cy="369332"/>
            </a:xfrm>
            <a:prstGeom prst="rect">
              <a:avLst/>
            </a:prstGeom>
            <a:noFill/>
          </p:spPr>
          <p:txBody>
            <a:bodyPr wrap="none" rtlCol="0">
              <a:spAutoFit/>
            </a:bodyPr>
            <a:lstStyle/>
            <a:p>
              <a:r>
                <a:rPr lang="en-GB" dirty="0"/>
                <a:t>HNWI</a:t>
              </a:r>
            </a:p>
          </p:txBody>
        </p:sp>
      </p:grpSp>
      <p:sp>
        <p:nvSpPr>
          <p:cNvPr id="23" name="Rectangle 22">
            <a:extLst>
              <a:ext uri="{FF2B5EF4-FFF2-40B4-BE49-F238E27FC236}">
                <a16:creationId xmlns:a16="http://schemas.microsoft.com/office/drawing/2014/main" id="{55C89BE8-5F3E-D2D3-3D15-F1CFAEC0A5D1}"/>
              </a:ext>
            </a:extLst>
          </p:cNvPr>
          <p:cNvSpPr/>
          <p:nvPr/>
        </p:nvSpPr>
        <p:spPr>
          <a:xfrm>
            <a:off x="3402989" y="3191533"/>
            <a:ext cx="1115310" cy="680190"/>
          </a:xfrm>
          <a:prstGeom prst="rect">
            <a:avLst/>
          </a:prstGeom>
          <a:solidFill>
            <a:srgbClr val="4696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ysClr val="windowText" lastClr="000000"/>
                </a:solidFill>
              </a:rPr>
              <a:t>Company</a:t>
            </a:r>
          </a:p>
        </p:txBody>
      </p:sp>
      <p:cxnSp>
        <p:nvCxnSpPr>
          <p:cNvPr id="25" name="Connector: Elbow 24">
            <a:extLst>
              <a:ext uri="{FF2B5EF4-FFF2-40B4-BE49-F238E27FC236}">
                <a16:creationId xmlns:a16="http://schemas.microsoft.com/office/drawing/2014/main" id="{0255B7CD-2898-77EB-4ECF-3451FE9D2D9E}"/>
              </a:ext>
            </a:extLst>
          </p:cNvPr>
          <p:cNvCxnSpPr>
            <a:cxnSpLocks/>
          </p:cNvCxnSpPr>
          <p:nvPr/>
        </p:nvCxnSpPr>
        <p:spPr>
          <a:xfrm rot="10800000" flipV="1">
            <a:off x="1535997" y="1913329"/>
            <a:ext cx="3401513" cy="1107725"/>
          </a:xfrm>
          <a:prstGeom prst="bentConnector3">
            <a:avLst>
              <a:gd name="adj1" fmla="val 9992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2BE761B-927E-226F-6262-3A76D6CD3FBE}"/>
              </a:ext>
            </a:extLst>
          </p:cNvPr>
          <p:cNvCxnSpPr>
            <a:cxnSpLocks/>
          </p:cNvCxnSpPr>
          <p:nvPr/>
        </p:nvCxnSpPr>
        <p:spPr>
          <a:xfrm rot="10800000" flipV="1">
            <a:off x="2579693" y="1913329"/>
            <a:ext cx="5403097" cy="1107724"/>
          </a:xfrm>
          <a:prstGeom prst="bentConnector3">
            <a:avLst>
              <a:gd name="adj1" fmla="val 100166"/>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6F00182-E30C-3F29-B243-165663CB4F7E}"/>
              </a:ext>
            </a:extLst>
          </p:cNvPr>
          <p:cNvSpPr txBox="1"/>
          <p:nvPr/>
        </p:nvSpPr>
        <p:spPr>
          <a:xfrm>
            <a:off x="1133022" y="4003571"/>
            <a:ext cx="941283" cy="646331"/>
          </a:xfrm>
          <a:prstGeom prst="rect">
            <a:avLst/>
          </a:prstGeom>
          <a:noFill/>
        </p:spPr>
        <p:txBody>
          <a:bodyPr wrap="none" rtlCol="0">
            <a:spAutoFit/>
          </a:bodyPr>
          <a:lstStyle/>
          <a:p>
            <a:pPr algn="ctr"/>
            <a:r>
              <a:rPr lang="en-GB" dirty="0"/>
              <a:t>Rental</a:t>
            </a:r>
          </a:p>
          <a:p>
            <a:pPr algn="ctr"/>
            <a:r>
              <a:rPr lang="en-GB" dirty="0"/>
              <a:t>Income</a:t>
            </a:r>
          </a:p>
        </p:txBody>
      </p:sp>
      <p:sp>
        <p:nvSpPr>
          <p:cNvPr id="37" name="TextBox 36">
            <a:extLst>
              <a:ext uri="{FF2B5EF4-FFF2-40B4-BE49-F238E27FC236}">
                <a16:creationId xmlns:a16="http://schemas.microsoft.com/office/drawing/2014/main" id="{26F04D4D-7773-DD52-0354-C439E6A4B701}"/>
              </a:ext>
            </a:extLst>
          </p:cNvPr>
          <p:cNvSpPr txBox="1"/>
          <p:nvPr/>
        </p:nvSpPr>
        <p:spPr>
          <a:xfrm>
            <a:off x="2074895" y="4042203"/>
            <a:ext cx="1197764" cy="923330"/>
          </a:xfrm>
          <a:prstGeom prst="rect">
            <a:avLst/>
          </a:prstGeom>
          <a:noFill/>
        </p:spPr>
        <p:txBody>
          <a:bodyPr wrap="none" rtlCol="0">
            <a:spAutoFit/>
          </a:bodyPr>
          <a:lstStyle/>
          <a:p>
            <a:pPr algn="ctr"/>
            <a:r>
              <a:rPr lang="en-GB" dirty="0"/>
              <a:t>Portfolio</a:t>
            </a:r>
          </a:p>
          <a:p>
            <a:pPr algn="ctr"/>
            <a:r>
              <a:rPr lang="en-GB" dirty="0"/>
              <a:t>Dividends</a:t>
            </a:r>
          </a:p>
          <a:p>
            <a:pPr algn="ctr"/>
            <a:r>
              <a:rPr lang="en-GB" dirty="0"/>
              <a:t>Interest</a:t>
            </a:r>
          </a:p>
        </p:txBody>
      </p:sp>
      <p:sp>
        <p:nvSpPr>
          <p:cNvPr id="38" name="TextBox 37">
            <a:extLst>
              <a:ext uri="{FF2B5EF4-FFF2-40B4-BE49-F238E27FC236}">
                <a16:creationId xmlns:a16="http://schemas.microsoft.com/office/drawing/2014/main" id="{53D5D2B7-A248-FD3B-F58D-FF00C3A7291A}"/>
              </a:ext>
            </a:extLst>
          </p:cNvPr>
          <p:cNvSpPr txBox="1"/>
          <p:nvPr/>
        </p:nvSpPr>
        <p:spPr>
          <a:xfrm>
            <a:off x="3159015" y="4015827"/>
            <a:ext cx="1774846" cy="646331"/>
          </a:xfrm>
          <a:prstGeom prst="rect">
            <a:avLst/>
          </a:prstGeom>
          <a:noFill/>
        </p:spPr>
        <p:txBody>
          <a:bodyPr wrap="none" rtlCol="0">
            <a:spAutoFit/>
          </a:bodyPr>
          <a:lstStyle/>
          <a:p>
            <a:pPr algn="ctr"/>
            <a:r>
              <a:rPr lang="en-GB" dirty="0"/>
              <a:t>Gains qualified </a:t>
            </a:r>
          </a:p>
          <a:p>
            <a:pPr algn="ctr"/>
            <a:r>
              <a:rPr lang="en-GB" dirty="0"/>
              <a:t>participation</a:t>
            </a:r>
          </a:p>
        </p:txBody>
      </p:sp>
      <p:cxnSp>
        <p:nvCxnSpPr>
          <p:cNvPr id="43" name="Straight Arrow Connector 42">
            <a:extLst>
              <a:ext uri="{FF2B5EF4-FFF2-40B4-BE49-F238E27FC236}">
                <a16:creationId xmlns:a16="http://schemas.microsoft.com/office/drawing/2014/main" id="{D8B995FC-A98A-42C7-DBAB-3A1681633225}"/>
              </a:ext>
            </a:extLst>
          </p:cNvPr>
          <p:cNvCxnSpPr/>
          <p:nvPr/>
        </p:nvCxnSpPr>
        <p:spPr>
          <a:xfrm>
            <a:off x="3886200" y="1922520"/>
            <a:ext cx="0" cy="109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3AE3A09-E599-31D2-38A8-4995624E19D3}"/>
              </a:ext>
            </a:extLst>
          </p:cNvPr>
          <p:cNvSpPr txBox="1"/>
          <p:nvPr/>
        </p:nvSpPr>
        <p:spPr>
          <a:xfrm>
            <a:off x="5861382" y="3541943"/>
            <a:ext cx="5403097" cy="1477328"/>
          </a:xfrm>
          <a:prstGeom prst="rect">
            <a:avLst/>
          </a:prstGeom>
          <a:noFill/>
        </p:spPr>
        <p:txBody>
          <a:bodyPr wrap="square" rtlCol="0">
            <a:spAutoFit/>
          </a:bodyPr>
          <a:lstStyle/>
          <a:p>
            <a:r>
              <a:rPr lang="en-GB" b="1" dirty="0"/>
              <a:t>What about source perspective on migration?</a:t>
            </a:r>
          </a:p>
          <a:p>
            <a:endParaRPr lang="en-GB" b="1" dirty="0"/>
          </a:p>
          <a:p>
            <a:r>
              <a:rPr lang="en-GB" b="1" dirty="0"/>
              <a:t>Will the HNWI secure tax treaty benefits?</a:t>
            </a:r>
          </a:p>
          <a:p>
            <a:endParaRPr lang="en-GB" b="1" dirty="0"/>
          </a:p>
          <a:p>
            <a:r>
              <a:rPr lang="en-GB" b="1" dirty="0"/>
              <a:t>Will the NHWI suffer exit tax?</a:t>
            </a:r>
          </a:p>
        </p:txBody>
      </p:sp>
      <p:cxnSp>
        <p:nvCxnSpPr>
          <p:cNvPr id="31" name="Straight Connector 30">
            <a:extLst>
              <a:ext uri="{FF2B5EF4-FFF2-40B4-BE49-F238E27FC236}">
                <a16:creationId xmlns:a16="http://schemas.microsoft.com/office/drawing/2014/main" id="{46787075-5195-84BC-FB8A-775FEC565FF5}"/>
              </a:ext>
            </a:extLst>
          </p:cNvPr>
          <p:cNvCxnSpPr>
            <a:cxnSpLocks/>
          </p:cNvCxnSpPr>
          <p:nvPr/>
        </p:nvCxnSpPr>
        <p:spPr>
          <a:xfrm>
            <a:off x="4933861" y="1151164"/>
            <a:ext cx="0" cy="180430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C9A131E-FCDF-5E3F-C0CD-31FFC9FB41E8}"/>
              </a:ext>
            </a:extLst>
          </p:cNvPr>
          <p:cNvCxnSpPr>
            <a:cxnSpLocks/>
          </p:cNvCxnSpPr>
          <p:nvPr/>
        </p:nvCxnSpPr>
        <p:spPr>
          <a:xfrm>
            <a:off x="7086511" y="1151164"/>
            <a:ext cx="0" cy="180430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74F0214-CAF3-4296-A5F5-CA811B2BDDD5}"/>
              </a:ext>
            </a:extLst>
          </p:cNvPr>
          <p:cNvSpPr txBox="1"/>
          <p:nvPr/>
        </p:nvSpPr>
        <p:spPr>
          <a:xfrm>
            <a:off x="3536095" y="1166810"/>
            <a:ext cx="915635" cy="369332"/>
          </a:xfrm>
          <a:prstGeom prst="rect">
            <a:avLst/>
          </a:prstGeom>
          <a:noFill/>
        </p:spPr>
        <p:txBody>
          <a:bodyPr wrap="none" rtlCol="0">
            <a:spAutoFit/>
          </a:bodyPr>
          <a:lstStyle/>
          <a:p>
            <a:pPr algn="ctr"/>
            <a:r>
              <a:rPr lang="en-GB" dirty="0"/>
              <a:t>Source</a:t>
            </a:r>
          </a:p>
        </p:txBody>
      </p:sp>
      <p:sp>
        <p:nvSpPr>
          <p:cNvPr id="42" name="TextBox 41">
            <a:extLst>
              <a:ext uri="{FF2B5EF4-FFF2-40B4-BE49-F238E27FC236}">
                <a16:creationId xmlns:a16="http://schemas.microsoft.com/office/drawing/2014/main" id="{ACF7AB9E-19B7-9D35-417D-F0F1908639D2}"/>
              </a:ext>
            </a:extLst>
          </p:cNvPr>
          <p:cNvSpPr txBox="1"/>
          <p:nvPr/>
        </p:nvSpPr>
        <p:spPr>
          <a:xfrm>
            <a:off x="5247990" y="1166810"/>
            <a:ext cx="1467068" cy="369332"/>
          </a:xfrm>
          <a:prstGeom prst="rect">
            <a:avLst/>
          </a:prstGeom>
          <a:noFill/>
        </p:spPr>
        <p:txBody>
          <a:bodyPr wrap="none" rtlCol="0">
            <a:spAutoFit/>
          </a:bodyPr>
          <a:lstStyle/>
          <a:p>
            <a:pPr algn="ctr"/>
            <a:r>
              <a:rPr lang="en-GB" dirty="0"/>
              <a:t>Intermediate</a:t>
            </a:r>
          </a:p>
        </p:txBody>
      </p:sp>
      <p:sp>
        <p:nvSpPr>
          <p:cNvPr id="45" name="TextBox 44">
            <a:extLst>
              <a:ext uri="{FF2B5EF4-FFF2-40B4-BE49-F238E27FC236}">
                <a16:creationId xmlns:a16="http://schemas.microsoft.com/office/drawing/2014/main" id="{2458BE30-70F0-5CAB-014D-90C3BA995F5D}"/>
              </a:ext>
            </a:extLst>
          </p:cNvPr>
          <p:cNvSpPr txBox="1"/>
          <p:nvPr/>
        </p:nvSpPr>
        <p:spPr>
          <a:xfrm>
            <a:off x="7347761" y="1147174"/>
            <a:ext cx="1274709" cy="369332"/>
          </a:xfrm>
          <a:prstGeom prst="rect">
            <a:avLst/>
          </a:prstGeom>
          <a:noFill/>
        </p:spPr>
        <p:txBody>
          <a:bodyPr wrap="none" rtlCol="0">
            <a:spAutoFit/>
          </a:bodyPr>
          <a:lstStyle/>
          <a:p>
            <a:pPr algn="ctr"/>
            <a:r>
              <a:rPr lang="en-GB" dirty="0"/>
              <a:t>Residence</a:t>
            </a:r>
          </a:p>
        </p:txBody>
      </p:sp>
      <p:sp>
        <p:nvSpPr>
          <p:cNvPr id="46" name="Oval 45">
            <a:extLst>
              <a:ext uri="{FF2B5EF4-FFF2-40B4-BE49-F238E27FC236}">
                <a16:creationId xmlns:a16="http://schemas.microsoft.com/office/drawing/2014/main" id="{4E330447-1607-CA24-E809-23EEDD79C061}"/>
              </a:ext>
            </a:extLst>
          </p:cNvPr>
          <p:cNvSpPr/>
          <p:nvPr/>
        </p:nvSpPr>
        <p:spPr>
          <a:xfrm>
            <a:off x="5511792" y="1597544"/>
            <a:ext cx="1046820" cy="700763"/>
          </a:xfrm>
          <a:prstGeom prst="ellipse">
            <a:avLst/>
          </a:prstGeom>
          <a:solidFill>
            <a:srgbClr val="4696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solidFill>
                <a:sysClr val="windowText" lastClr="000000"/>
              </a:solidFill>
            </a:endParaRPr>
          </a:p>
        </p:txBody>
      </p:sp>
      <p:sp>
        <p:nvSpPr>
          <p:cNvPr id="49" name="Untertitel 12">
            <a:extLst>
              <a:ext uri="{FF2B5EF4-FFF2-40B4-BE49-F238E27FC236}">
                <a16:creationId xmlns:a16="http://schemas.microsoft.com/office/drawing/2014/main" id="{CA223C56-1B5D-2077-0A71-15E31221087B}"/>
              </a:ext>
            </a:extLst>
          </p:cNvPr>
          <p:cNvSpPr txBox="1">
            <a:spLocks/>
          </p:cNvSpPr>
          <p:nvPr/>
        </p:nvSpPr>
        <p:spPr>
          <a:xfrm>
            <a:off x="400276" y="171834"/>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3078872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8" descr="|"/>
          <p:cNvSpPr>
            <a:spLocks noGrp="1"/>
          </p:cNvSpPr>
          <p:nvPr>
            <p:ph type="body" sz="quarter" idx="13"/>
          </p:nvPr>
        </p:nvSpPr>
        <p:spPr/>
        <p:txBody>
          <a:bodyPr/>
          <a:lstStyle/>
          <a:p>
            <a:r>
              <a:rPr lang="en-GB" sz="2400" dirty="0">
                <a:latin typeface="Arial" panose="020B0604020202020204" pitchFamily="34" charset="0"/>
                <a:cs typeface="Arial" panose="020B0604020202020204" pitchFamily="34" charset="0"/>
              </a:rPr>
              <a:t>Irish tax landscape for HNWIs</a:t>
            </a:r>
          </a:p>
          <a:p>
            <a:r>
              <a:rPr lang="en-GB" sz="2400" dirty="0">
                <a:latin typeface="Arial" panose="020B0604020202020204" pitchFamily="34" charset="0"/>
                <a:cs typeface="Arial" panose="020B0604020202020204" pitchFamily="34" charset="0"/>
              </a:rPr>
              <a:t>Do Irish HNWI stay or leave Ireland?  Any exit tax?</a:t>
            </a:r>
          </a:p>
          <a:p>
            <a:r>
              <a:rPr lang="en-GB" sz="2400" dirty="0">
                <a:latin typeface="Arial" panose="020B0604020202020204" pitchFamily="34" charset="0"/>
                <a:cs typeface="Arial" panose="020B0604020202020204" pitchFamily="34" charset="0"/>
              </a:rPr>
              <a:t>Ireland as a ‘go to’ location for foreign HNWIs?</a:t>
            </a:r>
          </a:p>
          <a:p>
            <a:pPr lvl="1"/>
            <a:r>
              <a:rPr lang="en-GB" sz="2000" dirty="0">
                <a:latin typeface="Arial" panose="020B0604020202020204" pitchFamily="34" charset="0"/>
                <a:cs typeface="Arial" panose="020B0604020202020204" pitchFamily="34" charset="0"/>
              </a:rPr>
              <a:t>Non-Dom regime (remittance basis of taxation)</a:t>
            </a:r>
          </a:p>
          <a:p>
            <a:pPr lvl="1"/>
            <a:r>
              <a:rPr lang="en-GB" sz="2000" dirty="0">
                <a:latin typeface="Arial" panose="020B0604020202020204" pitchFamily="34" charset="0"/>
                <a:cs typeface="Arial" panose="020B0604020202020204" pitchFamily="34" charset="0"/>
              </a:rPr>
              <a:t>Special Assignee Relief Programme (SARP)</a:t>
            </a:r>
          </a:p>
          <a:p>
            <a:r>
              <a:rPr lang="en-GB" sz="2400" dirty="0">
                <a:latin typeface="Arial" panose="020B0604020202020204" pitchFamily="34" charset="0"/>
                <a:cs typeface="Arial" panose="020B0604020202020204" pitchFamily="34" charset="0"/>
              </a:rPr>
              <a:t>HNWI structuring investments in Ireland</a:t>
            </a:r>
          </a:p>
          <a:p>
            <a:pPr lvl="1"/>
            <a:r>
              <a:rPr lang="en-GB" sz="2000" dirty="0">
                <a:latin typeface="Arial" panose="020B0604020202020204" pitchFamily="34" charset="0"/>
                <a:cs typeface="Arial" panose="020B0604020202020204" pitchFamily="34" charset="0"/>
              </a:rPr>
              <a:t>Key market for export financials products</a:t>
            </a:r>
          </a:p>
          <a:p>
            <a:pPr lvl="1"/>
            <a:r>
              <a:rPr lang="en-GB" sz="2000" dirty="0">
                <a:latin typeface="Arial" panose="020B0604020202020204" pitchFamily="34" charset="0"/>
                <a:cs typeface="Arial" panose="020B0604020202020204" pitchFamily="34" charset="0"/>
              </a:rPr>
              <a:t>Two main product offerings:</a:t>
            </a:r>
          </a:p>
          <a:p>
            <a:pPr lvl="2"/>
            <a:r>
              <a:rPr lang="en-GB" sz="1800" dirty="0">
                <a:latin typeface="Arial" panose="020B0604020202020204" pitchFamily="34" charset="0"/>
                <a:cs typeface="Arial" panose="020B0604020202020204" pitchFamily="34" charset="0"/>
              </a:rPr>
              <a:t>Investment Funds (retail &amp; alternative investment classes)</a:t>
            </a:r>
          </a:p>
          <a:p>
            <a:pPr lvl="2"/>
            <a:r>
              <a:rPr lang="en-GB" sz="1800" dirty="0">
                <a:latin typeface="Arial" panose="020B0604020202020204" pitchFamily="34" charset="0"/>
                <a:cs typeface="Arial" panose="020B0604020202020204" pitchFamily="34" charset="0"/>
              </a:rPr>
              <a:t>Insurance Products (eg, investments via life insurance wrapper)</a:t>
            </a:r>
          </a:p>
          <a:p>
            <a:endParaRPr lang="en-GB" dirty="0"/>
          </a:p>
          <a:p>
            <a:endParaRPr lang="en-GB" dirty="0"/>
          </a:p>
          <a:p>
            <a:endParaRPr lang="en-GB" dirty="0"/>
          </a:p>
          <a:p>
            <a:endParaRPr lang="en-GB" dirty="0"/>
          </a:p>
        </p:txBody>
      </p:sp>
      <p:sp>
        <p:nvSpPr>
          <p:cNvPr id="3" name="PPTIntroHeading" descr="PitchPerfect|Intro|PPTIntroHeading|"/>
          <p:cNvSpPr>
            <a:spLocks noGrp="1"/>
          </p:cNvSpPr>
          <p:nvPr>
            <p:ph type="body" sz="quarter" idx="25"/>
          </p:nvPr>
        </p:nvSpPr>
        <p:spPr/>
        <p:txBody>
          <a:bodyPr/>
          <a:lstStyle/>
          <a:p>
            <a:r>
              <a:rPr lang="en-GB" dirty="0">
                <a:latin typeface="Arial" panose="020B0604020202020204" pitchFamily="34" charset="0"/>
                <a:cs typeface="Arial" panose="020B0604020202020204" pitchFamily="34" charset="0"/>
              </a:rPr>
              <a:t>The Irish Perspective</a:t>
            </a:r>
          </a:p>
        </p:txBody>
      </p:sp>
      <p:sp>
        <p:nvSpPr>
          <p:cNvPr id="4" name="Untertitel 12">
            <a:extLst>
              <a:ext uri="{FF2B5EF4-FFF2-40B4-BE49-F238E27FC236}">
                <a16:creationId xmlns:a16="http://schemas.microsoft.com/office/drawing/2014/main" id="{7D222C77-A302-22FD-C752-AE36B920CB90}"/>
              </a:ext>
            </a:extLst>
          </p:cNvPr>
          <p:cNvSpPr txBox="1">
            <a:spLocks/>
          </p:cNvSpPr>
          <p:nvPr/>
        </p:nvSpPr>
        <p:spPr>
          <a:xfrm>
            <a:off x="726847" y="23748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926492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8" descr="|"/>
          <p:cNvSpPr>
            <a:spLocks noGrp="1"/>
          </p:cNvSpPr>
          <p:nvPr>
            <p:ph type="body" sz="quarter" idx="13"/>
          </p:nvPr>
        </p:nvSpPr>
        <p:spPr/>
        <p:txBody>
          <a:bodyPr/>
          <a:lstStyle/>
          <a:p>
            <a:r>
              <a:rPr lang="en-GB" sz="2400" dirty="0">
                <a:latin typeface="Arial" panose="020B0604020202020204" pitchFamily="34" charset="0"/>
                <a:cs typeface="Arial" panose="020B0604020202020204" pitchFamily="34" charset="0"/>
              </a:rPr>
              <a:t>Taxation of Export Financial Products in Ireland</a:t>
            </a:r>
          </a:p>
          <a:p>
            <a:pPr marL="838350" lvl="1" indent="-514350">
              <a:buFont typeface="+mj-lt"/>
              <a:buAutoNum type="arabicPeriod"/>
            </a:pPr>
            <a:r>
              <a:rPr lang="en-GB" sz="2000" dirty="0">
                <a:latin typeface="Arial" panose="020B0604020202020204" pitchFamily="34" charset="0"/>
                <a:cs typeface="Arial" panose="020B0604020202020204" pitchFamily="34" charset="0"/>
              </a:rPr>
              <a:t>Investment funds (eg, retail or alternative - UCITS, ETFs, QIFs)</a:t>
            </a:r>
          </a:p>
          <a:p>
            <a:pPr lvl="2"/>
            <a:r>
              <a:rPr lang="en-GB" sz="1800" dirty="0">
                <a:latin typeface="Arial" panose="020B0604020202020204" pitchFamily="34" charset="0"/>
                <a:cs typeface="Arial" panose="020B0604020202020204" pitchFamily="34" charset="0"/>
              </a:rPr>
              <a:t>Taxation at fund level in Ireland</a:t>
            </a:r>
          </a:p>
          <a:p>
            <a:pPr lvl="2"/>
            <a:r>
              <a:rPr lang="en-GB" sz="1800" dirty="0">
                <a:latin typeface="Arial" panose="020B0604020202020204" pitchFamily="34" charset="0"/>
                <a:cs typeface="Arial" panose="020B0604020202020204" pitchFamily="34" charset="0"/>
              </a:rPr>
              <a:t>Irish tax treatment of distributions to foreign HNWI</a:t>
            </a:r>
          </a:p>
          <a:p>
            <a:pPr lvl="2"/>
            <a:r>
              <a:rPr lang="en-GB" sz="1800" dirty="0">
                <a:latin typeface="Arial" panose="020B0604020202020204" pitchFamily="34" charset="0"/>
                <a:cs typeface="Arial" panose="020B0604020202020204" pitchFamily="34" charset="0"/>
              </a:rPr>
              <a:t>Foreign tax treatment of return to HNWI in jurisdiction of residence</a:t>
            </a:r>
          </a:p>
          <a:p>
            <a:pPr marL="838350" lvl="1" indent="-514350">
              <a:buFont typeface="+mj-lt"/>
              <a:buAutoNum type="arabicPeriod"/>
            </a:pPr>
            <a:r>
              <a:rPr lang="en-GB" sz="2000" dirty="0">
                <a:latin typeface="Arial" panose="020B0604020202020204" pitchFamily="34" charset="0"/>
                <a:cs typeface="Arial" panose="020B0604020202020204" pitchFamily="34" charset="0"/>
              </a:rPr>
              <a:t>Insurance products</a:t>
            </a:r>
          </a:p>
          <a:p>
            <a:pPr lvl="2"/>
            <a:r>
              <a:rPr lang="en-GB" sz="1800" dirty="0">
                <a:latin typeface="Arial" panose="020B0604020202020204" pitchFamily="34" charset="0"/>
                <a:cs typeface="Arial" panose="020B0604020202020204" pitchFamily="34" charset="0"/>
              </a:rPr>
              <a:t>Taxation at policy level in Ireland</a:t>
            </a:r>
          </a:p>
          <a:p>
            <a:pPr lvl="2"/>
            <a:r>
              <a:rPr lang="en-GB" sz="1800" dirty="0">
                <a:latin typeface="Arial" panose="020B0604020202020204" pitchFamily="34" charset="0"/>
                <a:cs typeface="Arial" panose="020B0604020202020204" pitchFamily="34" charset="0"/>
              </a:rPr>
              <a:t>Irish tax treatment of distributions / returns to foreign HNWI</a:t>
            </a:r>
          </a:p>
          <a:p>
            <a:pPr lvl="2"/>
            <a:r>
              <a:rPr lang="en-GB" sz="1800" dirty="0">
                <a:latin typeface="Arial" panose="020B0604020202020204" pitchFamily="34" charset="0"/>
                <a:cs typeface="Arial" panose="020B0604020202020204" pitchFamily="34" charset="0"/>
              </a:rPr>
              <a:t>Foreign tax treatment of return to HNWI in jurisdiction of residence</a:t>
            </a:r>
          </a:p>
          <a:p>
            <a:r>
              <a:rPr lang="en-GB" sz="2400" dirty="0">
                <a:latin typeface="Arial" panose="020B0604020202020204" pitchFamily="34" charset="0"/>
                <a:cs typeface="Arial" panose="020B0604020202020204" pitchFamily="34" charset="0"/>
              </a:rPr>
              <a:t>Special rules – where underlying investments are in Irish land / real estate</a:t>
            </a:r>
          </a:p>
          <a:p>
            <a:pPr marL="0" indent="0">
              <a:buNone/>
            </a:pPr>
            <a:endParaRPr lang="en-GB" dirty="0"/>
          </a:p>
        </p:txBody>
      </p:sp>
      <p:sp>
        <p:nvSpPr>
          <p:cNvPr id="3" name="PPTIntroHeading" descr="PitchPerfect|Intro|PPTIntroHeading|"/>
          <p:cNvSpPr>
            <a:spLocks noGrp="1"/>
          </p:cNvSpPr>
          <p:nvPr>
            <p:ph type="body" sz="quarter" idx="25"/>
          </p:nvPr>
        </p:nvSpPr>
        <p:spPr/>
        <p:txBody>
          <a:bodyPr/>
          <a:lstStyle/>
          <a:p>
            <a:r>
              <a:rPr lang="en-GB" dirty="0"/>
              <a:t>Structuring investments in Ireland</a:t>
            </a:r>
          </a:p>
          <a:p>
            <a:endParaRPr lang="en-GB" dirty="0"/>
          </a:p>
        </p:txBody>
      </p:sp>
      <p:sp>
        <p:nvSpPr>
          <p:cNvPr id="4" name="Untertitel 12">
            <a:extLst>
              <a:ext uri="{FF2B5EF4-FFF2-40B4-BE49-F238E27FC236}">
                <a16:creationId xmlns:a16="http://schemas.microsoft.com/office/drawing/2014/main" id="{DE924A82-E787-9281-82DB-4A6E24E76FB5}"/>
              </a:ext>
            </a:extLst>
          </p:cNvPr>
          <p:cNvSpPr txBox="1">
            <a:spLocks/>
          </p:cNvSpPr>
          <p:nvPr/>
        </p:nvSpPr>
        <p:spPr>
          <a:xfrm>
            <a:off x="710519" y="23748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35948764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98425"/>
            <a:ext cx="12192000" cy="7205133"/>
          </a:xfrm>
        </p:spPr>
      </p:pic>
      <p:sp>
        <p:nvSpPr>
          <p:cNvPr id="2" name="Title 1"/>
          <p:cNvSpPr>
            <a:spLocks noGrp="1"/>
          </p:cNvSpPr>
          <p:nvPr>
            <p:ph type="title"/>
          </p:nvPr>
        </p:nvSpPr>
        <p:spPr>
          <a:xfrm>
            <a:off x="1172207" y="1842753"/>
            <a:ext cx="9511850" cy="2005546"/>
          </a:xfrm>
        </p:spPr>
        <p:txBody>
          <a:bodyPr>
            <a:noAutofit/>
          </a:bodyPr>
          <a:lstStyle/>
          <a:p>
            <a:r>
              <a:rPr lang="en-GB" sz="4000" dirty="0">
                <a:effectLst/>
                <a:latin typeface="Calibri" panose="020F0502020204030204" pitchFamily="34" charset="0"/>
                <a:ea typeface="Calibri" panose="020F0502020204030204" pitchFamily="34" charset="0"/>
                <a:cs typeface="Times New Roman" panose="02020603050405020304" pitchFamily="18" charset="0"/>
              </a:rPr>
              <a:t>Mobility of HNWI after the pandemic:            Tax preferential regimes and application of    tax treaties</a:t>
            </a:r>
            <a:endParaRPr lang="en-GB" sz="4800" dirty="0"/>
          </a:p>
        </p:txBody>
      </p:sp>
      <p:pic>
        <p:nvPicPr>
          <p:cNvPr id="7" name="Picture 6">
            <a:extLst>
              <a:ext uri="{FF2B5EF4-FFF2-40B4-BE49-F238E27FC236}">
                <a16:creationId xmlns:a16="http://schemas.microsoft.com/office/drawing/2014/main" id="{F4944761-95C1-6431-7AEE-AE1130158FED}"/>
              </a:ext>
            </a:extLst>
          </p:cNvPr>
          <p:cNvPicPr>
            <a:picLocks noChangeAspect="1"/>
          </p:cNvPicPr>
          <p:nvPr/>
        </p:nvPicPr>
        <p:blipFill>
          <a:blip r:embed="rId3"/>
          <a:stretch>
            <a:fillRect/>
          </a:stretch>
        </p:blipFill>
        <p:spPr>
          <a:xfrm>
            <a:off x="0" y="97028"/>
            <a:ext cx="4038601" cy="1517124"/>
          </a:xfrm>
          <a:prstGeom prst="rect">
            <a:avLst/>
          </a:prstGeom>
        </p:spPr>
      </p:pic>
      <p:sp>
        <p:nvSpPr>
          <p:cNvPr id="8" name="TextBox 7">
            <a:extLst>
              <a:ext uri="{FF2B5EF4-FFF2-40B4-BE49-F238E27FC236}">
                <a16:creationId xmlns:a16="http://schemas.microsoft.com/office/drawing/2014/main" id="{3720967E-1890-A712-AED8-2D943CC096ED}"/>
              </a:ext>
            </a:extLst>
          </p:cNvPr>
          <p:cNvSpPr txBox="1"/>
          <p:nvPr/>
        </p:nvSpPr>
        <p:spPr>
          <a:xfrm>
            <a:off x="5507521" y="3979724"/>
            <a:ext cx="6558270" cy="1754326"/>
          </a:xfrm>
          <a:prstGeom prst="rect">
            <a:avLst/>
          </a:prstGeom>
          <a:noFill/>
        </p:spPr>
        <p:txBody>
          <a:bodyPr wrap="none" rtlCol="0">
            <a:spAutoFit/>
          </a:bodyPr>
          <a:lstStyle/>
          <a:p>
            <a:r>
              <a:rPr lang="en-GB" b="1" dirty="0"/>
              <a:t>Speakers</a:t>
            </a:r>
          </a:p>
          <a:p>
            <a:r>
              <a:rPr lang="en-GB" dirty="0"/>
              <a:t>Blanca Vicens Novell, </a:t>
            </a:r>
            <a:r>
              <a:rPr lang="en-GB" dirty="0" err="1"/>
              <a:t>Lener</a:t>
            </a:r>
            <a:r>
              <a:rPr lang="en-GB" dirty="0"/>
              <a:t>, Barcelona</a:t>
            </a:r>
          </a:p>
          <a:p>
            <a:r>
              <a:rPr lang="en-GB" dirty="0"/>
              <a:t>Tanja </a:t>
            </a:r>
            <a:r>
              <a:rPr lang="en-GB" dirty="0" err="1"/>
              <a:t>McSchienke-Ohletz</a:t>
            </a:r>
            <a:r>
              <a:rPr lang="en-GB" dirty="0"/>
              <a:t>, Flick Gocke Schaumburg, Frankfurt</a:t>
            </a:r>
          </a:p>
          <a:p>
            <a:r>
              <a:rPr lang="en-GB" dirty="0"/>
              <a:t>Eva Stadler, Wolf </a:t>
            </a:r>
            <a:r>
              <a:rPr lang="en-GB" dirty="0" err="1"/>
              <a:t>Theiss</a:t>
            </a:r>
            <a:r>
              <a:rPr lang="en-GB" dirty="0"/>
              <a:t>, Vienna</a:t>
            </a:r>
          </a:p>
          <a:p>
            <a:r>
              <a:rPr lang="en-GB" dirty="0"/>
              <a:t>Barry McGettrick, Matheson, Dublin</a:t>
            </a:r>
          </a:p>
          <a:p>
            <a:r>
              <a:rPr lang="en-GB" dirty="0"/>
              <a:t>Pedro J Miranda-</a:t>
            </a:r>
            <a:r>
              <a:rPr lang="en-GB" dirty="0" err="1"/>
              <a:t>Sadurní</a:t>
            </a:r>
            <a:r>
              <a:rPr lang="en-GB" dirty="0"/>
              <a:t>, Sanchez </a:t>
            </a:r>
            <a:r>
              <a:rPr lang="en-GB" dirty="0" err="1"/>
              <a:t>Devanny</a:t>
            </a:r>
            <a:r>
              <a:rPr lang="en-GB" dirty="0"/>
              <a:t>, Querétaro</a:t>
            </a:r>
          </a:p>
        </p:txBody>
      </p:sp>
      <p:sp>
        <p:nvSpPr>
          <p:cNvPr id="9" name="TextBox 8">
            <a:extLst>
              <a:ext uri="{FF2B5EF4-FFF2-40B4-BE49-F238E27FC236}">
                <a16:creationId xmlns:a16="http://schemas.microsoft.com/office/drawing/2014/main" id="{F1A2A7AA-045D-BF5A-DB5F-3B44CE7B96A4}"/>
              </a:ext>
            </a:extLst>
          </p:cNvPr>
          <p:cNvSpPr txBox="1"/>
          <p:nvPr/>
        </p:nvSpPr>
        <p:spPr>
          <a:xfrm>
            <a:off x="460350" y="3979724"/>
            <a:ext cx="4920963" cy="923330"/>
          </a:xfrm>
          <a:prstGeom prst="rect">
            <a:avLst/>
          </a:prstGeom>
          <a:noFill/>
        </p:spPr>
        <p:txBody>
          <a:bodyPr wrap="none" rtlCol="0">
            <a:spAutoFit/>
          </a:bodyPr>
          <a:lstStyle/>
          <a:p>
            <a:r>
              <a:rPr lang="en-GB" b="1" dirty="0"/>
              <a:t>Co-Chairs</a:t>
            </a:r>
            <a:r>
              <a:rPr lang="en-GB" dirty="0"/>
              <a:t> </a:t>
            </a:r>
          </a:p>
          <a:p>
            <a:r>
              <a:rPr lang="en-GB" dirty="0"/>
              <a:t>Claudia Suter, Homburger, Zürich</a:t>
            </a:r>
          </a:p>
          <a:p>
            <a:r>
              <a:rPr lang="en-GB" dirty="0"/>
              <a:t>Tiago Cassiano Neves, Kore Partners, Lisbon </a:t>
            </a:r>
          </a:p>
        </p:txBody>
      </p:sp>
    </p:spTree>
    <p:extLst>
      <p:ext uri="{BB962C8B-B14F-4D97-AF65-F5344CB8AC3E}">
        <p14:creationId xmlns:p14="http://schemas.microsoft.com/office/powerpoint/2010/main" val="2924174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p:cNvGrpSpPr/>
          <p:nvPr/>
        </p:nvGrpSpPr>
        <p:grpSpPr>
          <a:xfrm>
            <a:off x="7286499" y="1037072"/>
            <a:ext cx="1156221" cy="765359"/>
            <a:chOff x="5889104" y="1025930"/>
            <a:chExt cx="1156221" cy="765359"/>
          </a:xfrm>
        </p:grpSpPr>
        <p:pic>
          <p:nvPicPr>
            <p:cNvPr id="38" name="Picture 37"/>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279966" y="1025930"/>
              <a:ext cx="765359" cy="765359"/>
            </a:xfrm>
            <a:prstGeom prst="rect">
              <a:avLst/>
            </a:prstGeom>
          </p:spPr>
        </p:pic>
        <p:pic>
          <p:nvPicPr>
            <p:cNvPr id="39" name="Picture 38"/>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889104" y="1117731"/>
              <a:ext cx="551601" cy="368194"/>
            </a:xfrm>
            <a:prstGeom prst="rect">
              <a:avLst/>
            </a:prstGeom>
          </p:spPr>
        </p:pic>
      </p:grpSp>
      <p:sp>
        <p:nvSpPr>
          <p:cNvPr id="3" name="PPTIntroHeading" descr="PitchPerfect|Intro|PPTIntroHeading|"/>
          <p:cNvSpPr>
            <a:spLocks noGrp="1"/>
          </p:cNvSpPr>
          <p:nvPr>
            <p:ph type="body" sz="quarter" idx="25"/>
          </p:nvPr>
        </p:nvSpPr>
        <p:spPr/>
        <p:txBody>
          <a:bodyPr/>
          <a:lstStyle/>
          <a:p>
            <a:r>
              <a:rPr lang="en-GB" dirty="0">
                <a:latin typeface="Arial" panose="020B0604020202020204" pitchFamily="34" charset="0"/>
                <a:cs typeface="Arial" panose="020B0604020202020204" pitchFamily="34" charset="0"/>
              </a:rPr>
              <a:t>Case Study</a:t>
            </a:r>
          </a:p>
        </p:txBody>
      </p:sp>
      <p:sp>
        <p:nvSpPr>
          <p:cNvPr id="6" name="Oval 5"/>
          <p:cNvSpPr/>
          <p:nvPr/>
        </p:nvSpPr>
        <p:spPr>
          <a:xfrm>
            <a:off x="3708704" y="5157192"/>
            <a:ext cx="2087537" cy="117270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Investment (eg, non-Irish property)</a:t>
            </a:r>
          </a:p>
        </p:txBody>
      </p:sp>
      <p:sp>
        <p:nvSpPr>
          <p:cNvPr id="10" name="Oval 9"/>
          <p:cNvSpPr/>
          <p:nvPr/>
        </p:nvSpPr>
        <p:spPr>
          <a:xfrm>
            <a:off x="6203670" y="5157192"/>
            <a:ext cx="2087537" cy="117270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Investment (eg, loans) </a:t>
            </a:r>
          </a:p>
        </p:txBody>
      </p:sp>
      <p:sp>
        <p:nvSpPr>
          <p:cNvPr id="11" name="Oval 10"/>
          <p:cNvSpPr/>
          <p:nvPr/>
        </p:nvSpPr>
        <p:spPr>
          <a:xfrm>
            <a:off x="1559497" y="4482832"/>
            <a:ext cx="2087537" cy="117270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Investment (eg, </a:t>
            </a:r>
            <a:r>
              <a:rPr lang="en-GB" dirty="0" err="1"/>
              <a:t>MNE</a:t>
            </a:r>
            <a:r>
              <a:rPr lang="en-GB" dirty="0"/>
              <a:t> shares)</a:t>
            </a:r>
          </a:p>
        </p:txBody>
      </p:sp>
      <p:sp>
        <p:nvSpPr>
          <p:cNvPr id="12" name="Oval 11"/>
          <p:cNvSpPr/>
          <p:nvPr/>
        </p:nvSpPr>
        <p:spPr>
          <a:xfrm>
            <a:off x="8484804" y="4482832"/>
            <a:ext cx="2087537" cy="1172706"/>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Investment</a:t>
            </a:r>
          </a:p>
          <a:p>
            <a:pPr algn="ctr"/>
            <a:r>
              <a:rPr lang="en-GB" dirty="0"/>
              <a:t>(eg, currency)</a:t>
            </a:r>
          </a:p>
        </p:txBody>
      </p:sp>
      <p:sp>
        <p:nvSpPr>
          <p:cNvPr id="13" name="Isosceles Triangle 12"/>
          <p:cNvSpPr/>
          <p:nvPr/>
        </p:nvSpPr>
        <p:spPr>
          <a:xfrm>
            <a:off x="4655840" y="2564904"/>
            <a:ext cx="2591598" cy="1656184"/>
          </a:xfrm>
          <a:prstGeom prst="triangl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dirty="0"/>
          </a:p>
        </p:txBody>
      </p:sp>
      <p:cxnSp>
        <p:nvCxnSpPr>
          <p:cNvPr id="23" name="Straight Connector 22"/>
          <p:cNvCxnSpPr>
            <a:stCxn id="13" idx="2"/>
            <a:endCxn id="11" idx="7"/>
          </p:cNvCxnSpPr>
          <p:nvPr/>
        </p:nvCxnSpPr>
        <p:spPr>
          <a:xfrm flipH="1">
            <a:off x="3341320" y="4221089"/>
            <a:ext cx="1314520" cy="433483"/>
          </a:xfrm>
          <a:prstGeom prst="line">
            <a:avLst/>
          </a:prstGeom>
          <a:ln w="28575"/>
        </p:spPr>
        <p:style>
          <a:lnRef idx="3">
            <a:schemeClr val="dk1"/>
          </a:lnRef>
          <a:fillRef idx="0">
            <a:schemeClr val="dk1"/>
          </a:fillRef>
          <a:effectRef idx="2">
            <a:schemeClr val="dk1"/>
          </a:effectRef>
          <a:fontRef idx="minor">
            <a:schemeClr val="tx1"/>
          </a:fontRef>
        </p:style>
      </p:cxnSp>
      <p:cxnSp>
        <p:nvCxnSpPr>
          <p:cNvPr id="25" name="Straight Connector 24"/>
          <p:cNvCxnSpPr>
            <a:endCxn id="6" idx="0"/>
          </p:cNvCxnSpPr>
          <p:nvPr/>
        </p:nvCxnSpPr>
        <p:spPr>
          <a:xfrm flipH="1">
            <a:off x="4752472" y="4221088"/>
            <a:ext cx="601026" cy="936104"/>
          </a:xfrm>
          <a:prstGeom prst="line">
            <a:avLst/>
          </a:prstGeom>
          <a:ln w="28575"/>
        </p:spPr>
        <p:style>
          <a:lnRef idx="3">
            <a:schemeClr val="dk1"/>
          </a:lnRef>
          <a:fillRef idx="0">
            <a:schemeClr val="dk1"/>
          </a:fillRef>
          <a:effectRef idx="2">
            <a:schemeClr val="dk1"/>
          </a:effectRef>
          <a:fontRef idx="minor">
            <a:schemeClr val="tx1"/>
          </a:fontRef>
        </p:style>
      </p:cxnSp>
      <p:cxnSp>
        <p:nvCxnSpPr>
          <p:cNvPr id="30" name="Straight Connector 29"/>
          <p:cNvCxnSpPr>
            <a:endCxn id="10" idx="0"/>
          </p:cNvCxnSpPr>
          <p:nvPr/>
        </p:nvCxnSpPr>
        <p:spPr>
          <a:xfrm>
            <a:off x="6458938" y="4221088"/>
            <a:ext cx="788501" cy="936104"/>
          </a:xfrm>
          <a:prstGeom prst="line">
            <a:avLst/>
          </a:prstGeom>
          <a:ln w="28575"/>
        </p:spPr>
        <p:style>
          <a:lnRef idx="3">
            <a:schemeClr val="dk1"/>
          </a:lnRef>
          <a:fillRef idx="0">
            <a:schemeClr val="dk1"/>
          </a:fillRef>
          <a:effectRef idx="2">
            <a:schemeClr val="dk1"/>
          </a:effectRef>
          <a:fontRef idx="minor">
            <a:schemeClr val="tx1"/>
          </a:fontRef>
        </p:style>
      </p:cxnSp>
      <p:cxnSp>
        <p:nvCxnSpPr>
          <p:cNvPr id="34" name="Straight Connector 33"/>
          <p:cNvCxnSpPr>
            <a:stCxn id="13" idx="4"/>
            <a:endCxn id="12" idx="1"/>
          </p:cNvCxnSpPr>
          <p:nvPr/>
        </p:nvCxnSpPr>
        <p:spPr>
          <a:xfrm>
            <a:off x="7247438" y="4221089"/>
            <a:ext cx="1543078" cy="433483"/>
          </a:xfrm>
          <a:prstGeom prst="line">
            <a:avLst/>
          </a:prstGeom>
          <a:ln w="28575"/>
        </p:spPr>
        <p:style>
          <a:lnRef idx="3">
            <a:schemeClr val="dk1"/>
          </a:lnRef>
          <a:fillRef idx="0">
            <a:schemeClr val="dk1"/>
          </a:fillRef>
          <a:effectRef idx="2">
            <a:schemeClr val="dk1"/>
          </a:effectRef>
          <a:fontRef idx="minor">
            <a:schemeClr val="tx1"/>
          </a:fontRef>
        </p:style>
      </p:cxnSp>
      <p:sp>
        <p:nvSpPr>
          <p:cNvPr id="36" name="TextBox 35"/>
          <p:cNvSpPr txBox="1"/>
          <p:nvPr/>
        </p:nvSpPr>
        <p:spPr>
          <a:xfrm>
            <a:off x="5306046" y="3163501"/>
            <a:ext cx="1291187" cy="923330"/>
          </a:xfrm>
          <a:prstGeom prst="rect">
            <a:avLst/>
          </a:prstGeom>
          <a:noFill/>
        </p:spPr>
        <p:txBody>
          <a:bodyPr wrap="none" rtlCol="0">
            <a:spAutoFit/>
          </a:bodyPr>
          <a:lstStyle/>
          <a:p>
            <a:pPr algn="ctr"/>
            <a:r>
              <a:rPr lang="en-GB" dirty="0">
                <a:solidFill>
                  <a:srgbClr val="FFFFFF"/>
                </a:solidFill>
              </a:rPr>
              <a:t>Irish </a:t>
            </a:r>
          </a:p>
          <a:p>
            <a:pPr algn="ctr"/>
            <a:r>
              <a:rPr lang="en-GB" dirty="0">
                <a:solidFill>
                  <a:srgbClr val="FFFFFF"/>
                </a:solidFill>
              </a:rPr>
              <a:t>Investment </a:t>
            </a:r>
          </a:p>
          <a:p>
            <a:pPr algn="ctr"/>
            <a:r>
              <a:rPr lang="en-GB" dirty="0">
                <a:solidFill>
                  <a:srgbClr val="FFFFFF"/>
                </a:solidFill>
              </a:rPr>
              <a:t>Fund</a:t>
            </a:r>
          </a:p>
        </p:txBody>
      </p:sp>
      <p:cxnSp>
        <p:nvCxnSpPr>
          <p:cNvPr id="62" name="Straight Connector 61"/>
          <p:cNvCxnSpPr>
            <a:stCxn id="37" idx="2"/>
            <a:endCxn id="13" idx="0"/>
          </p:cNvCxnSpPr>
          <p:nvPr/>
        </p:nvCxnSpPr>
        <p:spPr>
          <a:xfrm flipH="1">
            <a:off x="5951640" y="1791290"/>
            <a:ext cx="1" cy="773615"/>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14" idx="2"/>
            <a:endCxn id="13" idx="0"/>
          </p:cNvCxnSpPr>
          <p:nvPr/>
        </p:nvCxnSpPr>
        <p:spPr>
          <a:xfrm>
            <a:off x="3950351" y="1800010"/>
            <a:ext cx="2001288" cy="764894"/>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13" idx="0"/>
            <a:endCxn id="38" idx="2"/>
          </p:cNvCxnSpPr>
          <p:nvPr/>
        </p:nvCxnSpPr>
        <p:spPr>
          <a:xfrm flipV="1">
            <a:off x="5951640" y="1802430"/>
            <a:ext cx="2108401" cy="762474"/>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5105459" y="1025931"/>
            <a:ext cx="1228861" cy="765359"/>
            <a:chOff x="3962458" y="1025930"/>
            <a:chExt cx="1228861" cy="765359"/>
          </a:xfrm>
        </p:grpSpPr>
        <p:pic>
          <p:nvPicPr>
            <p:cNvPr id="37" name="Picture 36"/>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4425960" y="1025930"/>
              <a:ext cx="765359" cy="765359"/>
            </a:xfrm>
            <a:prstGeom prst="rect">
              <a:avLst/>
            </a:prstGeom>
          </p:spPr>
        </p:pic>
        <p:pic>
          <p:nvPicPr>
            <p:cNvPr id="15" name="Picture 14"/>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962458" y="1037071"/>
              <a:ext cx="529517" cy="529517"/>
            </a:xfrm>
            <a:prstGeom prst="rect">
              <a:avLst/>
            </a:prstGeom>
          </p:spPr>
        </p:pic>
      </p:grpSp>
      <p:grpSp>
        <p:nvGrpSpPr>
          <p:cNvPr id="33" name="Group 32"/>
          <p:cNvGrpSpPr/>
          <p:nvPr/>
        </p:nvGrpSpPr>
        <p:grpSpPr>
          <a:xfrm>
            <a:off x="2961036" y="1034652"/>
            <a:ext cx="1371994" cy="765359"/>
            <a:chOff x="2126963" y="1025930"/>
            <a:chExt cx="1371994" cy="765359"/>
          </a:xfrm>
        </p:grpSpPr>
        <p:pic>
          <p:nvPicPr>
            <p:cNvPr id="14" name="Picture 13"/>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2733598" y="1025930"/>
              <a:ext cx="765359" cy="765359"/>
            </a:xfrm>
            <a:prstGeom prst="rect">
              <a:avLst/>
            </a:prstGeom>
          </p:spPr>
        </p:pic>
        <p:pic>
          <p:nvPicPr>
            <p:cNvPr id="32" name="Picture 31"/>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126963" y="1132064"/>
              <a:ext cx="679058" cy="339529"/>
            </a:xfrm>
            <a:prstGeom prst="rect">
              <a:avLst/>
            </a:prstGeom>
          </p:spPr>
        </p:pic>
      </p:grpSp>
      <p:sp>
        <p:nvSpPr>
          <p:cNvPr id="2" name="Untertitel 12">
            <a:extLst>
              <a:ext uri="{FF2B5EF4-FFF2-40B4-BE49-F238E27FC236}">
                <a16:creationId xmlns:a16="http://schemas.microsoft.com/office/drawing/2014/main" id="{0679DEED-1B4F-AD6B-9B2F-FEE17A992AC7}"/>
              </a:ext>
            </a:extLst>
          </p:cNvPr>
          <p:cNvSpPr txBox="1">
            <a:spLocks/>
          </p:cNvSpPr>
          <p:nvPr/>
        </p:nvSpPr>
        <p:spPr>
          <a:xfrm>
            <a:off x="690217" y="214835"/>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9829722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C6C14F1-7D37-F91D-65DD-A012A704EAE5}"/>
              </a:ext>
            </a:extLst>
          </p:cNvPr>
          <p:cNvSpPr txBox="1">
            <a:spLocks/>
          </p:cNvSpPr>
          <p:nvPr/>
        </p:nvSpPr>
        <p:spPr>
          <a:xfrm>
            <a:off x="472119" y="501307"/>
            <a:ext cx="9847587" cy="417250"/>
          </a:xfrm>
          <a:prstGeom prst="rect">
            <a:avLst/>
          </a:prstGeom>
        </p:spPr>
        <p:txBody>
          <a:bodyPr/>
          <a:lstStyle>
            <a:lvl1pPr algn="l" defTabSz="914377" rtl="0" eaLnBrk="1" latinLnBrk="0" hangingPunct="1">
              <a:lnSpc>
                <a:spcPct val="90000"/>
              </a:lnSpc>
              <a:spcBef>
                <a:spcPct val="0"/>
              </a:spcBef>
              <a:buNone/>
              <a:defRPr sz="2400" b="1" kern="1200">
                <a:solidFill>
                  <a:schemeClr val="tx1"/>
                </a:solidFill>
                <a:latin typeface="+mj-lt"/>
                <a:ea typeface="+mj-ea"/>
                <a:cs typeface="+mj-cs"/>
              </a:defRPr>
            </a:lvl1pPr>
          </a:lstStyle>
          <a:p>
            <a:r>
              <a:rPr lang="en-GB" dirty="0"/>
              <a:t>THE MEXICO PERSPECTIVE – HNWIs Mobility Overview </a:t>
            </a:r>
          </a:p>
        </p:txBody>
      </p:sp>
      <p:sp>
        <p:nvSpPr>
          <p:cNvPr id="13" name="CuadroTexto 12">
            <a:extLst>
              <a:ext uri="{FF2B5EF4-FFF2-40B4-BE49-F238E27FC236}">
                <a16:creationId xmlns:a16="http://schemas.microsoft.com/office/drawing/2014/main" id="{58DA9959-EECB-D3EB-2B1C-E10AF5625B02}"/>
              </a:ext>
            </a:extLst>
          </p:cNvPr>
          <p:cNvSpPr txBox="1"/>
          <p:nvPr/>
        </p:nvSpPr>
        <p:spPr>
          <a:xfrm>
            <a:off x="472119" y="1181800"/>
            <a:ext cx="11719881" cy="5016758"/>
          </a:xfrm>
          <a:prstGeom prst="rect">
            <a:avLst/>
          </a:prstGeom>
          <a:noFill/>
        </p:spPr>
        <p:txBody>
          <a:bodyPr wrap="square">
            <a:spAutoFit/>
          </a:bodyPr>
          <a:lstStyle/>
          <a:p>
            <a:pPr marL="285750" indent="-285750">
              <a:buClr>
                <a:srgbClr val="FF0000"/>
              </a:buClr>
              <a:buFont typeface="Arial" panose="020B0604020202020204" pitchFamily="34" charset="0"/>
              <a:buChar char="•"/>
            </a:pPr>
            <a:r>
              <a:rPr lang="en-US" sz="1600" dirty="0">
                <a:latin typeface="Arial" panose="020B0604020202020204" pitchFamily="34" charset="0"/>
                <a:ea typeface="Verdana" panose="020B0604030504040204" pitchFamily="34" charset="0"/>
                <a:cs typeface="Arial" panose="020B0604020202020204" pitchFamily="34" charset="0"/>
              </a:rPr>
              <a:t>Mexico - Residence Test (</a:t>
            </a:r>
            <a:r>
              <a:rPr lang="en-US" sz="1600" i="1" dirty="0">
                <a:latin typeface="Arial" panose="020B0604020202020204" pitchFamily="34" charset="0"/>
                <a:ea typeface="Verdana" panose="020B0604030504040204" pitchFamily="34" charset="0"/>
                <a:cs typeface="Arial" panose="020B0604020202020204" pitchFamily="34" charset="0"/>
              </a:rPr>
              <a:t>facts-and-circumstances test</a:t>
            </a:r>
            <a:r>
              <a:rPr lang="en-US" sz="1600" dirty="0">
                <a:latin typeface="Arial" panose="020B0604020202020204" pitchFamily="34" charset="0"/>
                <a:ea typeface="Verdana" panose="020B0604030504040204" pitchFamily="34" charset="0"/>
                <a:cs typeface="Arial" panose="020B0604020202020204" pitchFamily="34" charset="0"/>
              </a:rPr>
              <a:t>)</a:t>
            </a:r>
          </a:p>
          <a:p>
            <a:pPr marL="800100" lvl="1" indent="-342900">
              <a:buClr>
                <a:srgbClr val="FF0000"/>
              </a:buClr>
              <a:buFont typeface="+mj-lt"/>
              <a:buAutoNum type="arabicPeriod"/>
            </a:pPr>
            <a:r>
              <a:rPr lang="en-US" sz="1600" dirty="0">
                <a:latin typeface="Arial" panose="020B0604020202020204" pitchFamily="34" charset="0"/>
                <a:ea typeface="Verdana" panose="020B0604030504040204" pitchFamily="34" charset="0"/>
                <a:cs typeface="Arial" panose="020B0604020202020204" pitchFamily="34" charset="0"/>
              </a:rPr>
              <a:t>Available permanent home </a:t>
            </a:r>
            <a:r>
              <a:rPr lang="en-US" sz="1600" i="1" dirty="0">
                <a:latin typeface="Arial" panose="020B0604020202020204" pitchFamily="34" charset="0"/>
                <a:ea typeface="Verdana" panose="020B0604030504040204" pitchFamily="34" charset="0"/>
                <a:cs typeface="Arial" panose="020B0604020202020204" pitchFamily="34" charset="0"/>
              </a:rPr>
              <a:t>(Domestic Rule)</a:t>
            </a:r>
          </a:p>
          <a:p>
            <a:pPr marL="800100" lvl="1" indent="-342900">
              <a:buClr>
                <a:srgbClr val="FF0000"/>
              </a:buClr>
              <a:buFont typeface="+mj-lt"/>
              <a:buAutoNum type="arabicPeriod"/>
            </a:pPr>
            <a:r>
              <a:rPr lang="en-US" sz="1600" dirty="0">
                <a:latin typeface="Arial" panose="020B0604020202020204" pitchFamily="34" charset="0"/>
                <a:ea typeface="Verdana" panose="020B0604030504040204" pitchFamily="34" charset="0"/>
                <a:cs typeface="Arial" panose="020B0604020202020204" pitchFamily="34" charset="0"/>
              </a:rPr>
              <a:t>Centre of Vital Interest </a:t>
            </a:r>
            <a:r>
              <a:rPr lang="en-US" sz="1600" i="1" dirty="0">
                <a:latin typeface="Arial" panose="020B0604020202020204" pitchFamily="34" charset="0"/>
                <a:ea typeface="Verdana" panose="020B0604030504040204" pitchFamily="34" charset="0"/>
                <a:cs typeface="Arial" panose="020B0604020202020204" pitchFamily="34" charset="0"/>
              </a:rPr>
              <a:t>(Domestic Rule)</a:t>
            </a:r>
          </a:p>
          <a:p>
            <a:pPr marL="1257300" lvl="2" indent="-342900">
              <a:buClr>
                <a:srgbClr val="FF0000"/>
              </a:buClr>
              <a:buFont typeface="Arial" panose="020B0604020202020204" pitchFamily="34" charset="0"/>
              <a:buChar char="•"/>
            </a:pPr>
            <a:r>
              <a:rPr lang="en-US" sz="1600" i="1" dirty="0">
                <a:latin typeface="Arial" panose="020B0604020202020204" pitchFamily="34" charset="0"/>
                <a:ea typeface="Verdana" panose="020B0604030504040204" pitchFamily="34" charset="0"/>
                <a:cs typeface="Arial" panose="020B0604020202020204" pitchFamily="34" charset="0"/>
              </a:rPr>
              <a:t>Professional Activity or more than 50% of income from Mexico (Domestic Rule)</a:t>
            </a:r>
          </a:p>
          <a:p>
            <a:pPr marL="800100" lvl="1" indent="-342900">
              <a:buClr>
                <a:srgbClr val="FF0000"/>
              </a:buClr>
              <a:buFont typeface="+mj-lt"/>
              <a:buAutoNum type="arabicPeriod"/>
            </a:pPr>
            <a:r>
              <a:rPr lang="en-US" sz="1600" dirty="0">
                <a:latin typeface="Arial" panose="020B0604020202020204" pitchFamily="34" charset="0"/>
                <a:ea typeface="Verdana" panose="020B0604030504040204" pitchFamily="34" charset="0"/>
                <a:cs typeface="Arial" panose="020B0604020202020204" pitchFamily="34" charset="0"/>
              </a:rPr>
              <a:t>Habitual Abode (</a:t>
            </a:r>
            <a:r>
              <a:rPr lang="en-US" sz="1600" i="1" dirty="0">
                <a:latin typeface="Arial" panose="020B0604020202020204" pitchFamily="34" charset="0"/>
                <a:ea typeface="Verdana" panose="020B0604030504040204" pitchFamily="34" charset="0"/>
                <a:cs typeface="Arial" panose="020B0604020202020204" pitchFamily="34" charset="0"/>
              </a:rPr>
              <a:t>DTA</a:t>
            </a:r>
            <a:r>
              <a:rPr lang="en-US" sz="1600" dirty="0">
                <a:latin typeface="Arial" panose="020B0604020202020204" pitchFamily="34" charset="0"/>
                <a:ea typeface="Verdana" panose="020B0604030504040204" pitchFamily="34" charset="0"/>
                <a:cs typeface="Arial" panose="020B0604020202020204" pitchFamily="34" charset="0"/>
              </a:rPr>
              <a:t>)</a:t>
            </a:r>
          </a:p>
          <a:p>
            <a:pPr marL="800100" lvl="1" indent="-342900">
              <a:buClr>
                <a:srgbClr val="FF0000"/>
              </a:buClr>
              <a:buFont typeface="+mj-lt"/>
              <a:buAutoNum type="arabicPeriod"/>
            </a:pPr>
            <a:r>
              <a:rPr lang="en-US" sz="1600" dirty="0">
                <a:latin typeface="Arial" panose="020B0604020202020204" pitchFamily="34" charset="0"/>
                <a:ea typeface="Verdana" panose="020B0604030504040204" pitchFamily="34" charset="0"/>
                <a:cs typeface="Arial" panose="020B0604020202020204" pitchFamily="34" charset="0"/>
              </a:rPr>
              <a:t>MAP (</a:t>
            </a:r>
            <a:r>
              <a:rPr lang="en-US" sz="1600" i="1" dirty="0">
                <a:latin typeface="Arial" panose="020B0604020202020204" pitchFamily="34" charset="0"/>
                <a:ea typeface="Verdana" panose="020B0604030504040204" pitchFamily="34" charset="0"/>
                <a:cs typeface="Arial" panose="020B0604020202020204" pitchFamily="34" charset="0"/>
              </a:rPr>
              <a:t>DTA</a:t>
            </a:r>
            <a:r>
              <a:rPr lang="en-US" sz="1600" dirty="0">
                <a:latin typeface="Arial" panose="020B0604020202020204" pitchFamily="34" charset="0"/>
                <a:ea typeface="Verdana" panose="020B0604030504040204" pitchFamily="34" charset="0"/>
                <a:cs typeface="Arial" panose="020B0604020202020204" pitchFamily="34" charset="0"/>
              </a:rPr>
              <a:t>) </a:t>
            </a:r>
          </a:p>
          <a:p>
            <a:pPr marL="285750" indent="-285750">
              <a:buClr>
                <a:srgbClr val="FF0000"/>
              </a:buClr>
              <a:buFont typeface="Arial" panose="020B0604020202020204" pitchFamily="34" charset="0"/>
              <a:buChar char="•"/>
            </a:pPr>
            <a:endParaRPr lang="en-US" sz="1600" i="1" dirty="0">
              <a:latin typeface="Arial" panose="020B0604020202020204" pitchFamily="34" charset="0"/>
              <a:ea typeface="Verdana" panose="020B0604030504040204" pitchFamily="34" charset="0"/>
              <a:cs typeface="Arial" panose="020B0604020202020204" pitchFamily="34" charset="0"/>
            </a:endParaRPr>
          </a:p>
          <a:p>
            <a:pPr marL="285750" indent="-285750">
              <a:buClr>
                <a:srgbClr val="FF0000"/>
              </a:buClr>
              <a:buFont typeface="Arial" panose="020B0604020202020204" pitchFamily="34" charset="0"/>
              <a:buChar char="•"/>
            </a:pPr>
            <a:r>
              <a:rPr lang="en-US" sz="1600" dirty="0">
                <a:latin typeface="Arial" panose="020B0604020202020204" pitchFamily="34" charset="0"/>
                <a:ea typeface="Verdana" panose="020B0604030504040204" pitchFamily="34" charset="0"/>
                <a:cs typeface="Arial" panose="020B0604020202020204" pitchFamily="34" charset="0"/>
              </a:rPr>
              <a:t>Change of Tax Residency</a:t>
            </a:r>
          </a:p>
          <a:p>
            <a:pPr marL="742950" lvl="1" indent="-285750">
              <a:buClr>
                <a:srgbClr val="FF0000"/>
              </a:buClr>
              <a:buFont typeface="Arial" panose="020B0604020202020204" pitchFamily="34" charset="0"/>
              <a:buChar char="•"/>
            </a:pPr>
            <a:r>
              <a:rPr lang="en-US" sz="1600" dirty="0">
                <a:latin typeface="Arial" panose="020B0604020202020204" pitchFamily="34" charset="0"/>
                <a:ea typeface="Verdana" panose="020B0604030504040204" pitchFamily="34" charset="0"/>
                <a:cs typeface="Arial" panose="020B0604020202020204" pitchFamily="34" charset="0"/>
              </a:rPr>
              <a:t>Change of tax residency notice </a:t>
            </a:r>
          </a:p>
          <a:p>
            <a:pPr marL="1200150" lvl="2" indent="-285750">
              <a:buClr>
                <a:srgbClr val="FF0000"/>
              </a:buClr>
              <a:buFont typeface="Courier New" panose="02070309020205020404" pitchFamily="49" charset="0"/>
              <a:buChar char="o"/>
            </a:pPr>
            <a:r>
              <a:rPr lang="en-US" sz="1600" dirty="0">
                <a:latin typeface="Arial" panose="020B0604020202020204" pitchFamily="34" charset="0"/>
                <a:ea typeface="Verdana" panose="020B0604030504040204" pitchFamily="34" charset="0"/>
                <a:cs typeface="Arial" panose="020B0604020202020204" pitchFamily="34" charset="0"/>
              </a:rPr>
              <a:t>Tax Residency Certificate</a:t>
            </a:r>
          </a:p>
          <a:p>
            <a:pPr marL="1200150" lvl="2" indent="-285750">
              <a:buClr>
                <a:srgbClr val="FF0000"/>
              </a:buClr>
              <a:buFont typeface="Courier New" panose="02070309020205020404" pitchFamily="49" charset="0"/>
              <a:buChar char="o"/>
            </a:pPr>
            <a:r>
              <a:rPr lang="en-US" sz="1600" dirty="0">
                <a:latin typeface="Arial" panose="020B0604020202020204" pitchFamily="34" charset="0"/>
                <a:ea typeface="Verdana" panose="020B0604030504040204" pitchFamily="34" charset="0"/>
                <a:cs typeface="Arial" panose="020B0604020202020204" pitchFamily="34" charset="0"/>
              </a:rPr>
              <a:t>Mexican Tax Resident appointment as Legal Representative (5 years)</a:t>
            </a:r>
          </a:p>
          <a:p>
            <a:pPr marL="1657350" lvl="3" indent="-285750">
              <a:buClr>
                <a:srgbClr val="FF0000"/>
              </a:buClr>
              <a:buFont typeface="Arial" panose="020B0604020202020204" pitchFamily="34" charset="0"/>
              <a:buChar char="•"/>
            </a:pPr>
            <a:r>
              <a:rPr lang="en-US" sz="1600" i="1" dirty="0">
                <a:latin typeface="Arial" panose="020B0604020202020204" pitchFamily="34" charset="0"/>
                <a:ea typeface="Verdana" panose="020B0604030504040204" pitchFamily="34" charset="0"/>
                <a:cs typeface="Arial" panose="020B0604020202020204" pitchFamily="34" charset="0"/>
              </a:rPr>
              <a:t>Joint and several liability</a:t>
            </a:r>
          </a:p>
          <a:p>
            <a:pPr marL="742950" lvl="1" indent="-285750">
              <a:buClr>
                <a:srgbClr val="FF0000"/>
              </a:buClr>
              <a:buFont typeface="Arial" panose="020B0604020202020204" pitchFamily="34" charset="0"/>
              <a:buChar char="•"/>
            </a:pPr>
            <a:r>
              <a:rPr lang="en-US" sz="1600" dirty="0">
                <a:latin typeface="Arial" panose="020B0604020202020204" pitchFamily="34" charset="0"/>
                <a:ea typeface="Verdana" panose="020B0604030504040204" pitchFamily="34" charset="0"/>
                <a:cs typeface="Arial" panose="020B0604020202020204" pitchFamily="34" charset="0"/>
              </a:rPr>
              <a:t>Tax preferential regime (less than 75% of the income tax to be paid in Mexico)</a:t>
            </a:r>
          </a:p>
          <a:p>
            <a:pPr marL="1200150" lvl="2" indent="-285750">
              <a:buClr>
                <a:srgbClr val="FF0000"/>
              </a:buClr>
              <a:buFont typeface="Arial" panose="020B0604020202020204" pitchFamily="34" charset="0"/>
              <a:buChar char="•"/>
            </a:pPr>
            <a:r>
              <a:rPr lang="en-US" sz="1600" dirty="0">
                <a:latin typeface="Arial" panose="020B0604020202020204" pitchFamily="34" charset="0"/>
                <a:ea typeface="Verdana" panose="020B0604030504040204" pitchFamily="34" charset="0"/>
                <a:cs typeface="Arial" panose="020B0604020202020204" pitchFamily="34" charset="0"/>
              </a:rPr>
              <a:t>Continue as Mexican Tax Residency for 5 years</a:t>
            </a:r>
          </a:p>
          <a:p>
            <a:pPr marL="1200150" lvl="2" indent="-285750">
              <a:buClr>
                <a:srgbClr val="FF0000"/>
              </a:buClr>
              <a:buFont typeface="Arial" panose="020B0604020202020204" pitchFamily="34" charset="0"/>
              <a:buChar char="•"/>
            </a:pPr>
            <a:r>
              <a:rPr lang="en-US" sz="1600" dirty="0">
                <a:latin typeface="Arial" panose="020B0604020202020204" pitchFamily="34" charset="0"/>
                <a:ea typeface="Verdana" panose="020B0604030504040204" pitchFamily="34" charset="0"/>
                <a:cs typeface="Arial" panose="020B0604020202020204" pitchFamily="34" charset="0"/>
              </a:rPr>
              <a:t>Exception: Jurisdictions with (</a:t>
            </a:r>
            <a:r>
              <a:rPr lang="en-US" sz="1600" dirty="0" err="1">
                <a:latin typeface="Arial" panose="020B0604020202020204" pitchFamily="34" charset="0"/>
                <a:ea typeface="Verdana" panose="020B0604030504040204" pitchFamily="34" charset="0"/>
                <a:cs typeface="Arial" panose="020B0604020202020204" pitchFamily="34" charset="0"/>
              </a:rPr>
              <a:t>i</a:t>
            </a:r>
            <a:r>
              <a:rPr lang="en-US" sz="1600" dirty="0">
                <a:latin typeface="Arial" panose="020B0604020202020204" pitchFamily="34" charset="0"/>
                <a:ea typeface="Verdana" panose="020B0604030504040204" pitchFamily="34" charset="0"/>
                <a:cs typeface="Arial" panose="020B0604020202020204" pitchFamily="34" charset="0"/>
              </a:rPr>
              <a:t>) Tax information exchange agreements and (ii) Convention on Mutual Administrative Assistance in Tax Matters</a:t>
            </a:r>
          </a:p>
          <a:p>
            <a:pPr marL="285750" indent="-285750">
              <a:buClr>
                <a:srgbClr val="FF0000"/>
              </a:buClr>
              <a:buFont typeface="Arial" panose="020B0604020202020204" pitchFamily="34" charset="0"/>
              <a:buChar char="•"/>
            </a:pPr>
            <a:endParaRPr lang="en-US" sz="1600" dirty="0">
              <a:latin typeface="Arial" panose="020B0604020202020204" pitchFamily="34" charset="0"/>
              <a:ea typeface="Verdana" panose="020B0604030504040204" pitchFamily="34" charset="0"/>
              <a:cs typeface="Arial" panose="020B0604020202020204" pitchFamily="34" charset="0"/>
            </a:endParaRPr>
          </a:p>
          <a:p>
            <a:pPr marL="285750" indent="-285750">
              <a:buClr>
                <a:srgbClr val="FF0000"/>
              </a:buClr>
              <a:buFont typeface="Arial" panose="020B0604020202020204" pitchFamily="34" charset="0"/>
              <a:buChar char="•"/>
            </a:pPr>
            <a:r>
              <a:rPr lang="en-US" sz="1600" dirty="0">
                <a:latin typeface="Arial" panose="020B0604020202020204" pitchFamily="34" charset="0"/>
                <a:ea typeface="Verdana" panose="020B0604030504040204" pitchFamily="34" charset="0"/>
                <a:cs typeface="Arial" panose="020B0604020202020204" pitchFamily="34" charset="0"/>
              </a:rPr>
              <a:t>Doble Tax Residency &amp; Doble taxation / Treaty Override with jurisdictions with a DTA?</a:t>
            </a:r>
          </a:p>
          <a:p>
            <a:pPr marL="285750" indent="-285750">
              <a:buClr>
                <a:srgbClr val="FF0000"/>
              </a:buClr>
              <a:buFont typeface="Arial" panose="020B0604020202020204" pitchFamily="34" charset="0"/>
              <a:buChar char="•"/>
            </a:pPr>
            <a:endParaRPr lang="en-US" sz="1600" dirty="0">
              <a:latin typeface="Arial" panose="020B0604020202020204" pitchFamily="34" charset="0"/>
              <a:ea typeface="Verdana" panose="020B0604030504040204" pitchFamily="34" charset="0"/>
              <a:cs typeface="Arial" panose="020B0604020202020204" pitchFamily="34" charset="0"/>
            </a:endParaRPr>
          </a:p>
          <a:p>
            <a:pPr marL="285750" indent="-285750">
              <a:buClr>
                <a:srgbClr val="FF0000"/>
              </a:buClr>
              <a:buFont typeface="Arial" panose="020B0604020202020204" pitchFamily="34" charset="0"/>
              <a:buChar char="•"/>
            </a:pPr>
            <a:r>
              <a:rPr lang="en-US" sz="1600" dirty="0">
                <a:latin typeface="Arial" panose="020B0604020202020204" pitchFamily="34" charset="0"/>
                <a:ea typeface="Verdana" panose="020B0604030504040204" pitchFamily="34" charset="0"/>
                <a:cs typeface="Arial" panose="020B0604020202020204" pitchFamily="34" charset="0"/>
              </a:rPr>
              <a:t>Mexico nationals presumed Mexico tax residents</a:t>
            </a:r>
          </a:p>
        </p:txBody>
      </p:sp>
      <p:sp>
        <p:nvSpPr>
          <p:cNvPr id="2" name="Untertitel 12">
            <a:extLst>
              <a:ext uri="{FF2B5EF4-FFF2-40B4-BE49-F238E27FC236}">
                <a16:creationId xmlns:a16="http://schemas.microsoft.com/office/drawing/2014/main" id="{58DD9E46-C2E5-49A9-C53F-58B70A36209E}"/>
              </a:ext>
            </a:extLst>
          </p:cNvPr>
          <p:cNvSpPr txBox="1">
            <a:spLocks/>
          </p:cNvSpPr>
          <p:nvPr/>
        </p:nvSpPr>
        <p:spPr>
          <a:xfrm>
            <a:off x="472119" y="156726"/>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36046100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B7EBDE0-6CEA-C0C9-87AC-ACD4ECBD7EEE}"/>
              </a:ext>
            </a:extLst>
          </p:cNvPr>
          <p:cNvSpPr txBox="1">
            <a:spLocks/>
          </p:cNvSpPr>
          <p:nvPr/>
        </p:nvSpPr>
        <p:spPr>
          <a:xfrm>
            <a:off x="472119" y="501307"/>
            <a:ext cx="9847587" cy="417250"/>
          </a:xfrm>
          <a:prstGeom prst="rect">
            <a:avLst/>
          </a:prstGeom>
        </p:spPr>
        <p:txBody>
          <a:bodyPr/>
          <a:lstStyle>
            <a:lvl1pPr algn="l" defTabSz="914377" rtl="0" eaLnBrk="1" latinLnBrk="0" hangingPunct="1">
              <a:lnSpc>
                <a:spcPct val="90000"/>
              </a:lnSpc>
              <a:spcBef>
                <a:spcPct val="0"/>
              </a:spcBef>
              <a:buNone/>
              <a:defRPr sz="2400" b="1" kern="1200">
                <a:solidFill>
                  <a:schemeClr val="tx1"/>
                </a:solidFill>
                <a:latin typeface="+mj-lt"/>
                <a:ea typeface="+mj-ea"/>
                <a:cs typeface="+mj-cs"/>
              </a:defRPr>
            </a:lvl1pPr>
          </a:lstStyle>
          <a:p>
            <a:r>
              <a:rPr lang="en-GB" dirty="0"/>
              <a:t>Mexico’s HNWIs Structuring investments abroad and Migration tax issues</a:t>
            </a:r>
          </a:p>
        </p:txBody>
      </p:sp>
      <p:pic>
        <p:nvPicPr>
          <p:cNvPr id="12" name="Imagen 11">
            <a:extLst>
              <a:ext uri="{FF2B5EF4-FFF2-40B4-BE49-F238E27FC236}">
                <a16:creationId xmlns:a16="http://schemas.microsoft.com/office/drawing/2014/main" id="{87148050-EC30-59D6-0C5A-1F17BA1B245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56072" y="1498169"/>
            <a:ext cx="255507" cy="681352"/>
          </a:xfrm>
          <a:prstGeom prst="rect">
            <a:avLst/>
          </a:prstGeom>
        </p:spPr>
      </p:pic>
      <p:sp>
        <p:nvSpPr>
          <p:cNvPr id="13" name="CuadroTexto 12">
            <a:extLst>
              <a:ext uri="{FF2B5EF4-FFF2-40B4-BE49-F238E27FC236}">
                <a16:creationId xmlns:a16="http://schemas.microsoft.com/office/drawing/2014/main" id="{7D2A9043-875F-E4D1-528A-FC640BA096F6}"/>
              </a:ext>
            </a:extLst>
          </p:cNvPr>
          <p:cNvSpPr txBox="1"/>
          <p:nvPr/>
        </p:nvSpPr>
        <p:spPr>
          <a:xfrm>
            <a:off x="1093819" y="1023697"/>
            <a:ext cx="3867480" cy="369332"/>
          </a:xfrm>
          <a:prstGeom prst="rect">
            <a:avLst/>
          </a:prstGeom>
          <a:noFill/>
        </p:spPr>
        <p:txBody>
          <a:bodyPr wrap="square" rtlCol="0">
            <a:spAutoFit/>
          </a:bodyPr>
          <a:lstStyle/>
          <a:p>
            <a:r>
              <a:rPr lang="en-US" b="1" i="1" dirty="0"/>
              <a:t>Outbound typically structures</a:t>
            </a:r>
          </a:p>
        </p:txBody>
      </p:sp>
      <p:sp>
        <p:nvSpPr>
          <p:cNvPr id="17" name="Rectángulo: esquinas redondeadas 16">
            <a:extLst>
              <a:ext uri="{FF2B5EF4-FFF2-40B4-BE49-F238E27FC236}">
                <a16:creationId xmlns:a16="http://schemas.microsoft.com/office/drawing/2014/main" id="{3BDB68CF-EB1B-19E7-27F9-C08D9B78F134}"/>
              </a:ext>
            </a:extLst>
          </p:cNvPr>
          <p:cNvSpPr/>
          <p:nvPr/>
        </p:nvSpPr>
        <p:spPr>
          <a:xfrm>
            <a:off x="736058" y="2908931"/>
            <a:ext cx="1483430" cy="50699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50000"/>
                  </a:schemeClr>
                </a:solidFill>
              </a:rPr>
              <a:t>Mexico</a:t>
            </a:r>
          </a:p>
          <a:p>
            <a:pPr algn="ctr"/>
            <a:r>
              <a:rPr lang="en-US" dirty="0">
                <a:solidFill>
                  <a:schemeClr val="tx1">
                    <a:lumMod val="50000"/>
                  </a:schemeClr>
                </a:solidFill>
              </a:rPr>
              <a:t> Corp</a:t>
            </a:r>
          </a:p>
        </p:txBody>
      </p:sp>
      <p:cxnSp>
        <p:nvCxnSpPr>
          <p:cNvPr id="19" name="Conector recto de flecha 18">
            <a:extLst>
              <a:ext uri="{FF2B5EF4-FFF2-40B4-BE49-F238E27FC236}">
                <a16:creationId xmlns:a16="http://schemas.microsoft.com/office/drawing/2014/main" id="{3E9D5ADD-CF95-D80F-A69C-999EF21EA561}"/>
              </a:ext>
            </a:extLst>
          </p:cNvPr>
          <p:cNvCxnSpPr>
            <a:stCxn id="12" idx="2"/>
            <a:endCxn id="17" idx="0"/>
          </p:cNvCxnSpPr>
          <p:nvPr/>
        </p:nvCxnSpPr>
        <p:spPr>
          <a:xfrm flipH="1">
            <a:off x="1477773" y="2179521"/>
            <a:ext cx="1206053" cy="729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a:extLst>
              <a:ext uri="{FF2B5EF4-FFF2-40B4-BE49-F238E27FC236}">
                <a16:creationId xmlns:a16="http://schemas.microsoft.com/office/drawing/2014/main" id="{4EC790E1-21A3-88F6-6666-0A91A48B9C62}"/>
              </a:ext>
            </a:extLst>
          </p:cNvPr>
          <p:cNvCxnSpPr>
            <a:cxnSpLocks/>
            <a:stCxn id="12" idx="2"/>
            <a:endCxn id="24" idx="0"/>
          </p:cNvCxnSpPr>
          <p:nvPr/>
        </p:nvCxnSpPr>
        <p:spPr>
          <a:xfrm>
            <a:off x="2683826" y="2179521"/>
            <a:ext cx="1103585" cy="5368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riángulo isósceles 23">
            <a:extLst>
              <a:ext uri="{FF2B5EF4-FFF2-40B4-BE49-F238E27FC236}">
                <a16:creationId xmlns:a16="http://schemas.microsoft.com/office/drawing/2014/main" id="{8DD4BD13-C025-C574-F718-C09D1E6DF4B8}"/>
              </a:ext>
            </a:extLst>
          </p:cNvPr>
          <p:cNvSpPr/>
          <p:nvPr/>
        </p:nvSpPr>
        <p:spPr>
          <a:xfrm>
            <a:off x="2811579" y="2716354"/>
            <a:ext cx="1951664" cy="681352"/>
          </a:xfrm>
          <a:prstGeom prst="triangle">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50000"/>
                  </a:schemeClr>
                </a:solidFill>
              </a:rPr>
              <a:t>US Trust</a:t>
            </a:r>
          </a:p>
        </p:txBody>
      </p:sp>
      <p:sp>
        <p:nvSpPr>
          <p:cNvPr id="33" name="Triángulo isósceles 32">
            <a:extLst>
              <a:ext uri="{FF2B5EF4-FFF2-40B4-BE49-F238E27FC236}">
                <a16:creationId xmlns:a16="http://schemas.microsoft.com/office/drawing/2014/main" id="{F0687353-4329-7BA8-10F2-C6B930DB3896}"/>
              </a:ext>
            </a:extLst>
          </p:cNvPr>
          <p:cNvSpPr/>
          <p:nvPr/>
        </p:nvSpPr>
        <p:spPr>
          <a:xfrm>
            <a:off x="2923980" y="4055589"/>
            <a:ext cx="1726862" cy="651910"/>
          </a:xfrm>
          <a:prstGeom prst="triangle">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50000"/>
                  </a:schemeClr>
                </a:solidFill>
              </a:rPr>
              <a:t>Can LP</a:t>
            </a:r>
          </a:p>
        </p:txBody>
      </p:sp>
      <p:cxnSp>
        <p:nvCxnSpPr>
          <p:cNvPr id="35" name="Conector recto de flecha 34">
            <a:extLst>
              <a:ext uri="{FF2B5EF4-FFF2-40B4-BE49-F238E27FC236}">
                <a16:creationId xmlns:a16="http://schemas.microsoft.com/office/drawing/2014/main" id="{2F4ACA35-562D-155A-79F9-29BF21735715}"/>
              </a:ext>
            </a:extLst>
          </p:cNvPr>
          <p:cNvCxnSpPr>
            <a:cxnSpLocks/>
            <a:stCxn id="24" idx="3"/>
            <a:endCxn id="33" idx="0"/>
          </p:cNvCxnSpPr>
          <p:nvPr/>
        </p:nvCxnSpPr>
        <p:spPr>
          <a:xfrm>
            <a:off x="3787411" y="3397706"/>
            <a:ext cx="0" cy="6578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Rectángulo 36">
            <a:extLst>
              <a:ext uri="{FF2B5EF4-FFF2-40B4-BE49-F238E27FC236}">
                <a16:creationId xmlns:a16="http://schemas.microsoft.com/office/drawing/2014/main" id="{5FFD4C4F-A4BB-5987-B997-13166F0A08FC}"/>
              </a:ext>
            </a:extLst>
          </p:cNvPr>
          <p:cNvSpPr/>
          <p:nvPr/>
        </p:nvSpPr>
        <p:spPr>
          <a:xfrm>
            <a:off x="2923980" y="4057934"/>
            <a:ext cx="1726863" cy="65191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endParaRPr>
          </a:p>
        </p:txBody>
      </p:sp>
      <p:sp>
        <p:nvSpPr>
          <p:cNvPr id="43" name="Rectángulo: esquinas redondeadas 42">
            <a:extLst>
              <a:ext uri="{FF2B5EF4-FFF2-40B4-BE49-F238E27FC236}">
                <a16:creationId xmlns:a16="http://schemas.microsoft.com/office/drawing/2014/main" id="{DF86A8C3-D810-5B0F-EB51-12D11E23EC85}"/>
              </a:ext>
            </a:extLst>
          </p:cNvPr>
          <p:cNvSpPr/>
          <p:nvPr/>
        </p:nvSpPr>
        <p:spPr>
          <a:xfrm>
            <a:off x="340664" y="4149501"/>
            <a:ext cx="1483430" cy="506994"/>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lumMod val="50000"/>
                  </a:schemeClr>
                </a:solidFill>
              </a:rPr>
              <a:t>Spain Corp</a:t>
            </a:r>
          </a:p>
        </p:txBody>
      </p:sp>
      <p:sp>
        <p:nvSpPr>
          <p:cNvPr id="49" name="Rectángulo: esquinas redondeadas 48">
            <a:extLst>
              <a:ext uri="{FF2B5EF4-FFF2-40B4-BE49-F238E27FC236}">
                <a16:creationId xmlns:a16="http://schemas.microsoft.com/office/drawing/2014/main" id="{E472236F-5404-9338-7753-01E1A6E55F3B}"/>
              </a:ext>
            </a:extLst>
          </p:cNvPr>
          <p:cNvSpPr/>
          <p:nvPr/>
        </p:nvSpPr>
        <p:spPr>
          <a:xfrm>
            <a:off x="2106180" y="5358521"/>
            <a:ext cx="1483430" cy="506994"/>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lumMod val="50000"/>
                  </a:schemeClr>
                </a:solidFill>
              </a:rPr>
              <a:t>US-Montana LLC</a:t>
            </a:r>
          </a:p>
          <a:p>
            <a:pPr algn="ctr"/>
            <a:r>
              <a:rPr lang="en-US" sz="1400">
                <a:solidFill>
                  <a:schemeClr val="tx1">
                    <a:lumMod val="50000"/>
                  </a:schemeClr>
                </a:solidFill>
              </a:rPr>
              <a:t> </a:t>
            </a:r>
            <a:r>
              <a:rPr lang="en-US" sz="1400" i="1">
                <a:solidFill>
                  <a:schemeClr val="tx1">
                    <a:lumMod val="50000"/>
                  </a:schemeClr>
                </a:solidFill>
              </a:rPr>
              <a:t>Corp </a:t>
            </a:r>
            <a:endParaRPr lang="en-US" sz="1400" i="1" dirty="0">
              <a:solidFill>
                <a:schemeClr val="tx1">
                  <a:lumMod val="50000"/>
                </a:schemeClr>
              </a:solidFill>
            </a:endParaRPr>
          </a:p>
        </p:txBody>
      </p:sp>
      <p:sp>
        <p:nvSpPr>
          <p:cNvPr id="56" name="Triángulo isósceles 55">
            <a:extLst>
              <a:ext uri="{FF2B5EF4-FFF2-40B4-BE49-F238E27FC236}">
                <a16:creationId xmlns:a16="http://schemas.microsoft.com/office/drawing/2014/main" id="{3A22ED8D-072F-D660-00D1-366A1EBFA528}"/>
              </a:ext>
            </a:extLst>
          </p:cNvPr>
          <p:cNvSpPr/>
          <p:nvPr/>
        </p:nvSpPr>
        <p:spPr>
          <a:xfrm>
            <a:off x="4983601" y="3397706"/>
            <a:ext cx="975746" cy="462148"/>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50000"/>
                  </a:schemeClr>
                </a:solidFill>
              </a:rPr>
              <a:t>GP</a:t>
            </a:r>
          </a:p>
        </p:txBody>
      </p:sp>
      <p:cxnSp>
        <p:nvCxnSpPr>
          <p:cNvPr id="58" name="Conector recto 57">
            <a:extLst>
              <a:ext uri="{FF2B5EF4-FFF2-40B4-BE49-F238E27FC236}">
                <a16:creationId xmlns:a16="http://schemas.microsoft.com/office/drawing/2014/main" id="{F59E9BBE-AA48-70BE-7E7A-36F9D4E9B105}"/>
              </a:ext>
            </a:extLst>
          </p:cNvPr>
          <p:cNvCxnSpPr>
            <a:cxnSpLocks/>
          </p:cNvCxnSpPr>
          <p:nvPr/>
        </p:nvCxnSpPr>
        <p:spPr>
          <a:xfrm>
            <a:off x="3787411" y="3651322"/>
            <a:ext cx="14378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Conector recto de flecha 62">
            <a:extLst>
              <a:ext uri="{FF2B5EF4-FFF2-40B4-BE49-F238E27FC236}">
                <a16:creationId xmlns:a16="http://schemas.microsoft.com/office/drawing/2014/main" id="{4F2AAC8A-6AF4-70DD-B583-2860F86D7142}"/>
              </a:ext>
            </a:extLst>
          </p:cNvPr>
          <p:cNvCxnSpPr>
            <a:stCxn id="17" idx="2"/>
            <a:endCxn id="43" idx="0"/>
          </p:cNvCxnSpPr>
          <p:nvPr/>
        </p:nvCxnSpPr>
        <p:spPr>
          <a:xfrm flipH="1">
            <a:off x="1082379" y="3415925"/>
            <a:ext cx="395394" cy="7335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Conector recto de flecha 64">
            <a:extLst>
              <a:ext uri="{FF2B5EF4-FFF2-40B4-BE49-F238E27FC236}">
                <a16:creationId xmlns:a16="http://schemas.microsoft.com/office/drawing/2014/main" id="{C0235BAC-807A-CEC7-FD64-A3FBC5FA71F1}"/>
              </a:ext>
            </a:extLst>
          </p:cNvPr>
          <p:cNvCxnSpPr>
            <a:stCxn id="43" idx="2"/>
          </p:cNvCxnSpPr>
          <p:nvPr/>
        </p:nvCxnSpPr>
        <p:spPr>
          <a:xfrm>
            <a:off x="1082379" y="4656495"/>
            <a:ext cx="0" cy="5926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CuadroTexto 65">
            <a:extLst>
              <a:ext uri="{FF2B5EF4-FFF2-40B4-BE49-F238E27FC236}">
                <a16:creationId xmlns:a16="http://schemas.microsoft.com/office/drawing/2014/main" id="{95576B40-5B63-7250-19F6-5DAB4F8C36D2}"/>
              </a:ext>
            </a:extLst>
          </p:cNvPr>
          <p:cNvSpPr txBox="1"/>
          <p:nvPr/>
        </p:nvSpPr>
        <p:spPr>
          <a:xfrm>
            <a:off x="545597" y="5249182"/>
            <a:ext cx="1171257" cy="338554"/>
          </a:xfrm>
          <a:prstGeom prst="rect">
            <a:avLst/>
          </a:prstGeom>
          <a:noFill/>
        </p:spPr>
        <p:txBody>
          <a:bodyPr wrap="square" rtlCol="0">
            <a:spAutoFit/>
          </a:bodyPr>
          <a:lstStyle/>
          <a:p>
            <a:r>
              <a:rPr lang="en-US" sz="1600" i="1" dirty="0"/>
              <a:t>Real Estate</a:t>
            </a:r>
          </a:p>
        </p:txBody>
      </p:sp>
      <p:cxnSp>
        <p:nvCxnSpPr>
          <p:cNvPr id="70" name="Conector recto de flecha 69">
            <a:extLst>
              <a:ext uri="{FF2B5EF4-FFF2-40B4-BE49-F238E27FC236}">
                <a16:creationId xmlns:a16="http://schemas.microsoft.com/office/drawing/2014/main" id="{E989876B-04AB-0DD7-E86A-252314DEDD47}"/>
              </a:ext>
            </a:extLst>
          </p:cNvPr>
          <p:cNvCxnSpPr>
            <a:cxnSpLocks/>
            <a:stCxn id="33" idx="3"/>
          </p:cNvCxnSpPr>
          <p:nvPr/>
        </p:nvCxnSpPr>
        <p:spPr>
          <a:xfrm>
            <a:off x="3787411" y="4707499"/>
            <a:ext cx="1196190" cy="2106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CuadroTexto 71">
            <a:extLst>
              <a:ext uri="{FF2B5EF4-FFF2-40B4-BE49-F238E27FC236}">
                <a16:creationId xmlns:a16="http://schemas.microsoft.com/office/drawing/2014/main" id="{D7961381-9BFC-DB3A-E91D-EF21C10D5A3B}"/>
              </a:ext>
            </a:extLst>
          </p:cNvPr>
          <p:cNvSpPr txBox="1"/>
          <p:nvPr/>
        </p:nvSpPr>
        <p:spPr>
          <a:xfrm>
            <a:off x="2022900" y="5942304"/>
            <a:ext cx="1972117" cy="523220"/>
          </a:xfrm>
          <a:prstGeom prst="rect">
            <a:avLst/>
          </a:prstGeom>
          <a:noFill/>
        </p:spPr>
        <p:txBody>
          <a:bodyPr wrap="square" rtlCol="0">
            <a:spAutoFit/>
          </a:bodyPr>
          <a:lstStyle/>
          <a:p>
            <a:pPr marL="285750" indent="-285750">
              <a:buFont typeface="Arial" panose="020B0604020202020204" pitchFamily="34" charset="0"/>
              <a:buChar char="•"/>
            </a:pPr>
            <a:r>
              <a:rPr lang="en-US" sz="1400" i="1" dirty="0"/>
              <a:t>Real Estate</a:t>
            </a:r>
          </a:p>
          <a:p>
            <a:pPr marL="285750" indent="-285750">
              <a:buFont typeface="Arial" panose="020B0604020202020204" pitchFamily="34" charset="0"/>
              <a:buChar char="•"/>
            </a:pPr>
            <a:r>
              <a:rPr lang="en-US" sz="1400" i="1" dirty="0"/>
              <a:t>PE &amp; VC (equity)</a:t>
            </a:r>
          </a:p>
        </p:txBody>
      </p:sp>
      <p:sp>
        <p:nvSpPr>
          <p:cNvPr id="77" name="Rectángulo: esquinas redondeadas 76">
            <a:extLst>
              <a:ext uri="{FF2B5EF4-FFF2-40B4-BE49-F238E27FC236}">
                <a16:creationId xmlns:a16="http://schemas.microsoft.com/office/drawing/2014/main" id="{A61A6C6F-16E6-3DBE-E5D2-1DA7A9565A26}"/>
              </a:ext>
            </a:extLst>
          </p:cNvPr>
          <p:cNvSpPr/>
          <p:nvPr/>
        </p:nvSpPr>
        <p:spPr>
          <a:xfrm>
            <a:off x="3871696" y="5392947"/>
            <a:ext cx="1483430" cy="506994"/>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50000"/>
                  </a:schemeClr>
                </a:solidFill>
              </a:rPr>
              <a:t>US-Delaware LLC</a:t>
            </a:r>
          </a:p>
          <a:p>
            <a:pPr algn="ctr"/>
            <a:r>
              <a:rPr lang="en-US" sz="1400" dirty="0">
                <a:solidFill>
                  <a:schemeClr val="tx1">
                    <a:lumMod val="50000"/>
                  </a:schemeClr>
                </a:solidFill>
              </a:rPr>
              <a:t> </a:t>
            </a:r>
            <a:r>
              <a:rPr lang="en-US" sz="1400" i="1" dirty="0">
                <a:solidFill>
                  <a:schemeClr val="tx1">
                    <a:lumMod val="50000"/>
                  </a:schemeClr>
                </a:solidFill>
              </a:rPr>
              <a:t>Corp </a:t>
            </a:r>
          </a:p>
        </p:txBody>
      </p:sp>
      <p:cxnSp>
        <p:nvCxnSpPr>
          <p:cNvPr id="79" name="Conector recto de flecha 78">
            <a:extLst>
              <a:ext uri="{FF2B5EF4-FFF2-40B4-BE49-F238E27FC236}">
                <a16:creationId xmlns:a16="http://schemas.microsoft.com/office/drawing/2014/main" id="{BFD3668C-1AE8-7A70-2F06-2EE0EDC26166}"/>
              </a:ext>
            </a:extLst>
          </p:cNvPr>
          <p:cNvCxnSpPr>
            <a:cxnSpLocks/>
            <a:stCxn id="33" idx="3"/>
            <a:endCxn id="77" idx="0"/>
          </p:cNvCxnSpPr>
          <p:nvPr/>
        </p:nvCxnSpPr>
        <p:spPr>
          <a:xfrm>
            <a:off x="3787411" y="4707499"/>
            <a:ext cx="826000" cy="6854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CuadroTexto 88">
            <a:extLst>
              <a:ext uri="{FF2B5EF4-FFF2-40B4-BE49-F238E27FC236}">
                <a16:creationId xmlns:a16="http://schemas.microsoft.com/office/drawing/2014/main" id="{A51C4DD0-F280-E415-8515-5960B0401E4C}"/>
              </a:ext>
            </a:extLst>
          </p:cNvPr>
          <p:cNvSpPr txBox="1"/>
          <p:nvPr/>
        </p:nvSpPr>
        <p:spPr>
          <a:xfrm>
            <a:off x="3956093" y="5887471"/>
            <a:ext cx="2354426" cy="523220"/>
          </a:xfrm>
          <a:prstGeom prst="rect">
            <a:avLst/>
          </a:prstGeom>
          <a:noFill/>
        </p:spPr>
        <p:txBody>
          <a:bodyPr wrap="square" rtlCol="0">
            <a:spAutoFit/>
          </a:bodyPr>
          <a:lstStyle/>
          <a:p>
            <a:pPr marL="285750" indent="-285750">
              <a:buFont typeface="Arial" panose="020B0604020202020204" pitchFamily="34" charset="0"/>
              <a:buChar char="•"/>
            </a:pPr>
            <a:r>
              <a:rPr lang="en-US" sz="1400" i="1" dirty="0"/>
              <a:t>Financial Assets (Debt and non-qualified equity)</a:t>
            </a:r>
          </a:p>
        </p:txBody>
      </p:sp>
      <p:cxnSp>
        <p:nvCxnSpPr>
          <p:cNvPr id="92" name="Conector recto de flecha 91">
            <a:extLst>
              <a:ext uri="{FF2B5EF4-FFF2-40B4-BE49-F238E27FC236}">
                <a16:creationId xmlns:a16="http://schemas.microsoft.com/office/drawing/2014/main" id="{2D20AAF7-716D-B2ED-4525-39A675A569F0}"/>
              </a:ext>
            </a:extLst>
          </p:cNvPr>
          <p:cNvCxnSpPr>
            <a:stCxn id="17" idx="2"/>
            <a:endCxn id="49" idx="0"/>
          </p:cNvCxnSpPr>
          <p:nvPr/>
        </p:nvCxnSpPr>
        <p:spPr>
          <a:xfrm>
            <a:off x="1477773" y="3415925"/>
            <a:ext cx="1370122" cy="19425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4" name="CuadroTexto 113">
            <a:extLst>
              <a:ext uri="{FF2B5EF4-FFF2-40B4-BE49-F238E27FC236}">
                <a16:creationId xmlns:a16="http://schemas.microsoft.com/office/drawing/2014/main" id="{92BBF168-EFCA-B1D7-6A37-08CEF47BF6B0}"/>
              </a:ext>
            </a:extLst>
          </p:cNvPr>
          <p:cNvSpPr txBox="1"/>
          <p:nvPr/>
        </p:nvSpPr>
        <p:spPr>
          <a:xfrm>
            <a:off x="5088109" y="4606284"/>
            <a:ext cx="1517845" cy="523220"/>
          </a:xfrm>
          <a:prstGeom prst="rect">
            <a:avLst/>
          </a:prstGeom>
          <a:noFill/>
        </p:spPr>
        <p:txBody>
          <a:bodyPr wrap="square" rtlCol="0">
            <a:spAutoFit/>
          </a:bodyPr>
          <a:lstStyle/>
          <a:p>
            <a:r>
              <a:rPr lang="en-US" sz="1400" i="1" dirty="0"/>
              <a:t>Financial Assets </a:t>
            </a:r>
          </a:p>
          <a:p>
            <a:r>
              <a:rPr lang="en-US" sz="1400" i="1" dirty="0"/>
              <a:t>(Qualified Equity)</a:t>
            </a:r>
          </a:p>
        </p:txBody>
      </p:sp>
      <p:pic>
        <p:nvPicPr>
          <p:cNvPr id="123" name="Imagen 122">
            <a:extLst>
              <a:ext uri="{FF2B5EF4-FFF2-40B4-BE49-F238E27FC236}">
                <a16:creationId xmlns:a16="http://schemas.microsoft.com/office/drawing/2014/main" id="{E2E6E973-6C01-BE4E-9F13-55640BE83FC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11579" y="1944298"/>
            <a:ext cx="394760" cy="216261"/>
          </a:xfrm>
          <a:prstGeom prst="rect">
            <a:avLst/>
          </a:prstGeom>
        </p:spPr>
      </p:pic>
      <p:pic>
        <p:nvPicPr>
          <p:cNvPr id="125" name="Imagen 124">
            <a:extLst>
              <a:ext uri="{FF2B5EF4-FFF2-40B4-BE49-F238E27FC236}">
                <a16:creationId xmlns:a16="http://schemas.microsoft.com/office/drawing/2014/main" id="{DD6DD940-B5C6-768A-3A5A-A9807A44ED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5886" y="3183796"/>
            <a:ext cx="394760" cy="216261"/>
          </a:xfrm>
          <a:prstGeom prst="rect">
            <a:avLst/>
          </a:prstGeom>
        </p:spPr>
      </p:pic>
      <p:pic>
        <p:nvPicPr>
          <p:cNvPr id="127" name="Imagen 126">
            <a:extLst>
              <a:ext uri="{FF2B5EF4-FFF2-40B4-BE49-F238E27FC236}">
                <a16:creationId xmlns:a16="http://schemas.microsoft.com/office/drawing/2014/main" id="{F533492E-6520-01B8-9A65-765272DF7C8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01888" y="3145655"/>
            <a:ext cx="345141" cy="234747"/>
          </a:xfrm>
          <a:prstGeom prst="rect">
            <a:avLst/>
          </a:prstGeom>
        </p:spPr>
      </p:pic>
      <p:pic>
        <p:nvPicPr>
          <p:cNvPr id="129" name="Imagen 128">
            <a:extLst>
              <a:ext uri="{FF2B5EF4-FFF2-40B4-BE49-F238E27FC236}">
                <a16:creationId xmlns:a16="http://schemas.microsoft.com/office/drawing/2014/main" id="{460B9D7B-8236-3EE1-57AB-9E6205D357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4469" y="5679314"/>
            <a:ext cx="345141" cy="234747"/>
          </a:xfrm>
          <a:prstGeom prst="rect">
            <a:avLst/>
          </a:prstGeom>
        </p:spPr>
      </p:pic>
      <p:pic>
        <p:nvPicPr>
          <p:cNvPr id="131" name="Imagen 130">
            <a:extLst>
              <a:ext uri="{FF2B5EF4-FFF2-40B4-BE49-F238E27FC236}">
                <a16:creationId xmlns:a16="http://schemas.microsoft.com/office/drawing/2014/main" id="{5B863E93-8239-86DE-5B37-E250A77AFFE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12565" y="5652724"/>
            <a:ext cx="345141" cy="234747"/>
          </a:xfrm>
          <a:prstGeom prst="rect">
            <a:avLst/>
          </a:prstGeom>
        </p:spPr>
      </p:pic>
      <p:pic>
        <p:nvPicPr>
          <p:cNvPr id="133" name="Imagen 132" descr="Imagen que contiene Cuadrado&#10;&#10;Descripción generada automáticamente">
            <a:extLst>
              <a:ext uri="{FF2B5EF4-FFF2-40B4-BE49-F238E27FC236}">
                <a16:creationId xmlns:a16="http://schemas.microsoft.com/office/drawing/2014/main" id="{37D00650-29D6-EBD2-0206-988F1E87447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89339" y="4461635"/>
            <a:ext cx="316668" cy="210728"/>
          </a:xfrm>
          <a:prstGeom prst="rect">
            <a:avLst/>
          </a:prstGeom>
        </p:spPr>
      </p:pic>
      <p:pic>
        <p:nvPicPr>
          <p:cNvPr id="150" name="Imagen 149">
            <a:extLst>
              <a:ext uri="{FF2B5EF4-FFF2-40B4-BE49-F238E27FC236}">
                <a16:creationId xmlns:a16="http://schemas.microsoft.com/office/drawing/2014/main" id="{4C9B6F8E-0A75-1C9E-C434-85EE748D1CB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9669" y="1875654"/>
            <a:ext cx="502752" cy="341946"/>
          </a:xfrm>
          <a:prstGeom prst="rect">
            <a:avLst/>
          </a:prstGeom>
        </p:spPr>
      </p:pic>
      <p:sp>
        <p:nvSpPr>
          <p:cNvPr id="155" name="Forma libre: forma 154">
            <a:extLst>
              <a:ext uri="{FF2B5EF4-FFF2-40B4-BE49-F238E27FC236}">
                <a16:creationId xmlns:a16="http://schemas.microsoft.com/office/drawing/2014/main" id="{BF0E7F08-0898-4189-C831-5449AE95B5D1}"/>
              </a:ext>
            </a:extLst>
          </p:cNvPr>
          <p:cNvSpPr/>
          <p:nvPr/>
        </p:nvSpPr>
        <p:spPr>
          <a:xfrm>
            <a:off x="3333842" y="1393137"/>
            <a:ext cx="5251010" cy="519338"/>
          </a:xfrm>
          <a:custGeom>
            <a:avLst/>
            <a:gdLst>
              <a:gd name="connsiteX0" fmla="*/ 0 w 5251010"/>
              <a:gd name="connsiteY0" fmla="*/ 519338 h 519338"/>
              <a:gd name="connsiteX1" fmla="*/ 2308634 w 5251010"/>
              <a:gd name="connsiteY1" fmla="*/ 3290 h 519338"/>
              <a:gd name="connsiteX2" fmla="*/ 5251010 w 5251010"/>
              <a:gd name="connsiteY2" fmla="*/ 338269 h 519338"/>
            </a:gdLst>
            <a:ahLst/>
            <a:cxnLst>
              <a:cxn ang="0">
                <a:pos x="connsiteX0" y="connsiteY0"/>
              </a:cxn>
              <a:cxn ang="0">
                <a:pos x="connsiteX1" y="connsiteY1"/>
              </a:cxn>
              <a:cxn ang="0">
                <a:pos x="connsiteX2" y="connsiteY2"/>
              </a:cxn>
            </a:cxnLst>
            <a:rect l="l" t="t" r="r" b="b"/>
            <a:pathLst>
              <a:path w="5251010" h="519338">
                <a:moveTo>
                  <a:pt x="0" y="519338"/>
                </a:moveTo>
                <a:cubicBezTo>
                  <a:pt x="716733" y="276403"/>
                  <a:pt x="1433466" y="33468"/>
                  <a:pt x="2308634" y="3290"/>
                </a:cubicBezTo>
                <a:cubicBezTo>
                  <a:pt x="3183802" y="-26888"/>
                  <a:pt x="4217406" y="155690"/>
                  <a:pt x="5251010" y="338269"/>
                </a:cubicBezTo>
              </a:path>
            </a:pathLst>
          </a:custGeom>
          <a:noFill/>
          <a:ln>
            <a:prstDash val="lg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CuadroTexto 165">
            <a:extLst>
              <a:ext uri="{FF2B5EF4-FFF2-40B4-BE49-F238E27FC236}">
                <a16:creationId xmlns:a16="http://schemas.microsoft.com/office/drawing/2014/main" id="{65681643-131C-3E7B-2E16-38DAF4941F2E}"/>
              </a:ext>
            </a:extLst>
          </p:cNvPr>
          <p:cNvSpPr txBox="1"/>
          <p:nvPr/>
        </p:nvSpPr>
        <p:spPr>
          <a:xfrm>
            <a:off x="6350802" y="2409977"/>
            <a:ext cx="5735574" cy="3816429"/>
          </a:xfrm>
          <a:prstGeom prst="rect">
            <a:avLst/>
          </a:prstGeom>
          <a:noFill/>
        </p:spPr>
        <p:txBody>
          <a:bodyPr wrap="square">
            <a:spAutoFit/>
          </a:bodyPr>
          <a:lstStyle/>
          <a:p>
            <a:pPr marL="285750"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No exit tax in Mexico for HNWI </a:t>
            </a:r>
          </a:p>
          <a:p>
            <a:pPr marL="285750"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Doble Tax Residency &amp; Doble taxation issues</a:t>
            </a:r>
          </a:p>
          <a:p>
            <a:pPr marL="742950" lvl="1" indent="-285750">
              <a:buClr>
                <a:srgbClr val="FF0000"/>
              </a:buClr>
              <a:buFont typeface="Arial" panose="020B0604020202020204" pitchFamily="34" charset="0"/>
              <a:buChar char="•"/>
            </a:pPr>
            <a:r>
              <a:rPr lang="en-US" sz="1200" i="1" dirty="0">
                <a:latin typeface="Verdana" panose="020B0604030504040204" pitchFamily="34" charset="0"/>
                <a:ea typeface="Verdana" panose="020B0604030504040204" pitchFamily="34" charset="0"/>
                <a:cs typeface="Arial" panose="020B0604020202020204" pitchFamily="34" charset="0"/>
              </a:rPr>
              <a:t>For the fiscal year of the migration</a:t>
            </a:r>
          </a:p>
          <a:p>
            <a:pPr marL="742950" lvl="1" indent="-285750">
              <a:buClr>
                <a:srgbClr val="FF0000"/>
              </a:buClr>
              <a:buFont typeface="Arial" panose="020B0604020202020204" pitchFamily="34" charset="0"/>
              <a:buChar char="•"/>
            </a:pPr>
            <a:r>
              <a:rPr lang="en-US" sz="1200" i="1" dirty="0">
                <a:latin typeface="Verdana" panose="020B0604030504040204" pitchFamily="34" charset="0"/>
                <a:ea typeface="Verdana" panose="020B0604030504040204" pitchFamily="34" charset="0"/>
                <a:cs typeface="Arial" panose="020B0604020202020204" pitchFamily="34" charset="0"/>
              </a:rPr>
              <a:t>For the next five years (tax preferential regimes)</a:t>
            </a:r>
          </a:p>
          <a:p>
            <a:pPr marL="742950" lvl="1" indent="-285750">
              <a:buClr>
                <a:srgbClr val="FF0000"/>
              </a:buClr>
              <a:buFont typeface="Arial" panose="020B0604020202020204" pitchFamily="34" charset="0"/>
              <a:buChar char="•"/>
            </a:pPr>
            <a:r>
              <a:rPr lang="en-US" sz="1200" i="1" dirty="0">
                <a:latin typeface="Verdana" panose="020B0604030504040204" pitchFamily="34" charset="0"/>
                <a:ea typeface="Verdana" panose="020B0604030504040204" pitchFamily="34" charset="0"/>
                <a:cs typeface="Arial" panose="020B0604020202020204" pitchFamily="34" charset="0"/>
              </a:rPr>
              <a:t>Treaty override?</a:t>
            </a:r>
          </a:p>
          <a:p>
            <a:pPr marL="285750"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Source of taxable income in Mexico and DTA Benefits</a:t>
            </a:r>
          </a:p>
          <a:p>
            <a:pPr marL="742950" lvl="1" indent="-285750">
              <a:buClr>
                <a:srgbClr val="FF0000"/>
              </a:buClr>
              <a:buFont typeface="Arial" panose="020B0604020202020204" pitchFamily="34" charset="0"/>
              <a:buChar char="•"/>
            </a:pPr>
            <a:r>
              <a:rPr lang="en-US" sz="1200" i="1" dirty="0">
                <a:latin typeface="Verdana" panose="020B0604030504040204" pitchFamily="34" charset="0"/>
                <a:ea typeface="Verdana" panose="020B0604030504040204" pitchFamily="34" charset="0"/>
                <a:cs typeface="Arial" panose="020B0604020202020204" pitchFamily="34" charset="0"/>
              </a:rPr>
              <a:t>i.e., 25% Estate tax on Mexico direct shares or indirect real-estate shares, and real estate (*no DTA benefits)</a:t>
            </a:r>
          </a:p>
          <a:p>
            <a:pPr marL="285750"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Residence jurisdiction issues</a:t>
            </a:r>
          </a:p>
          <a:p>
            <a:pPr marL="742950" lvl="1"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Estate and Wealth taxes (i.e., USA, Spain, France, etc.)</a:t>
            </a:r>
          </a:p>
          <a:p>
            <a:pPr marL="742950" lvl="1"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Spain - Beckham Law for Expats / Adequations to Trust structures</a:t>
            </a:r>
          </a:p>
          <a:p>
            <a:pPr marL="742950" lvl="1"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Tax regimes for individuals, tax rates, CFC Rules, etc.</a:t>
            </a:r>
          </a:p>
          <a:p>
            <a:pPr marL="742950" lvl="1"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International corporate reorganizations and capital gains</a:t>
            </a:r>
          </a:p>
          <a:p>
            <a:pPr marL="742950" lvl="1" indent="-285750">
              <a:buClr>
                <a:srgbClr val="FF0000"/>
              </a:buClr>
              <a:buFont typeface="Arial" panose="020B0604020202020204" pitchFamily="34" charset="0"/>
              <a:buChar char="•"/>
            </a:pPr>
            <a:r>
              <a:rPr lang="en-US" sz="1400" dirty="0">
                <a:latin typeface="Verdana" panose="020B0604030504040204" pitchFamily="34" charset="0"/>
                <a:ea typeface="Verdana" panose="020B0604030504040204" pitchFamily="34" charset="0"/>
                <a:cs typeface="Arial" panose="020B0604020202020204" pitchFamily="34" charset="0"/>
              </a:rPr>
              <a:t>etc.</a:t>
            </a:r>
          </a:p>
          <a:p>
            <a:pPr marL="742950" lvl="1" indent="-285750">
              <a:buClr>
                <a:srgbClr val="FF0000"/>
              </a:buClr>
              <a:buFont typeface="Arial" panose="020B0604020202020204" pitchFamily="34" charset="0"/>
              <a:buChar char="•"/>
            </a:pPr>
            <a:endParaRPr lang="en-GB" sz="1400" dirty="0">
              <a:latin typeface="Verdana" panose="020B0604030504040204" pitchFamily="34" charset="0"/>
              <a:ea typeface="Verdana" panose="020B0604030504040204" pitchFamily="34" charset="0"/>
              <a:cs typeface="Arial" panose="020B0604020202020204" pitchFamily="34" charset="0"/>
            </a:endParaRPr>
          </a:p>
        </p:txBody>
      </p:sp>
      <p:pic>
        <p:nvPicPr>
          <p:cNvPr id="168" name="Imagen 167" descr="Una caricatura de una persona&#10;&#10;Descripción generada automáticamente con confianza baja">
            <a:extLst>
              <a:ext uri="{FF2B5EF4-FFF2-40B4-BE49-F238E27FC236}">
                <a16:creationId xmlns:a16="http://schemas.microsoft.com/office/drawing/2014/main" id="{ED8749F5-E618-3EC9-37AF-065BD3299E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0741" y="1883439"/>
            <a:ext cx="456742" cy="303733"/>
          </a:xfrm>
          <a:prstGeom prst="rect">
            <a:avLst/>
          </a:prstGeom>
        </p:spPr>
      </p:pic>
      <p:pic>
        <p:nvPicPr>
          <p:cNvPr id="170" name="Imagen 169" descr="Logotipo&#10;&#10;Descripción generada automáticamente">
            <a:extLst>
              <a:ext uri="{FF2B5EF4-FFF2-40B4-BE49-F238E27FC236}">
                <a16:creationId xmlns:a16="http://schemas.microsoft.com/office/drawing/2014/main" id="{AB83F823-39B8-82BE-AA16-1346C6E95A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V="1">
            <a:off x="9051432" y="1892733"/>
            <a:ext cx="456742" cy="303734"/>
          </a:xfrm>
          <a:prstGeom prst="rect">
            <a:avLst/>
          </a:prstGeom>
        </p:spPr>
      </p:pic>
      <p:sp>
        <p:nvSpPr>
          <p:cNvPr id="172" name="CuadroTexto 171">
            <a:extLst>
              <a:ext uri="{FF2B5EF4-FFF2-40B4-BE49-F238E27FC236}">
                <a16:creationId xmlns:a16="http://schemas.microsoft.com/office/drawing/2014/main" id="{77E965C6-2CD7-22CD-1DD2-9090B3840004}"/>
              </a:ext>
            </a:extLst>
          </p:cNvPr>
          <p:cNvSpPr txBox="1"/>
          <p:nvPr/>
        </p:nvSpPr>
        <p:spPr>
          <a:xfrm>
            <a:off x="7372890" y="1081736"/>
            <a:ext cx="3867480" cy="369332"/>
          </a:xfrm>
          <a:prstGeom prst="rect">
            <a:avLst/>
          </a:prstGeom>
          <a:noFill/>
        </p:spPr>
        <p:txBody>
          <a:bodyPr wrap="square" rtlCol="0">
            <a:spAutoFit/>
          </a:bodyPr>
          <a:lstStyle/>
          <a:p>
            <a:r>
              <a:rPr lang="en-US" b="1" i="1" dirty="0"/>
              <a:t>Migration Tax Issues</a:t>
            </a:r>
          </a:p>
        </p:txBody>
      </p:sp>
      <p:sp>
        <p:nvSpPr>
          <p:cNvPr id="2" name="Untertitel 12">
            <a:extLst>
              <a:ext uri="{FF2B5EF4-FFF2-40B4-BE49-F238E27FC236}">
                <a16:creationId xmlns:a16="http://schemas.microsoft.com/office/drawing/2014/main" id="{4E654BE6-FA23-610F-7306-E4D1E22565B6}"/>
              </a:ext>
            </a:extLst>
          </p:cNvPr>
          <p:cNvSpPr txBox="1">
            <a:spLocks/>
          </p:cNvSpPr>
          <p:nvPr/>
        </p:nvSpPr>
        <p:spPr>
          <a:xfrm>
            <a:off x="472119" y="199359"/>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1857229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3EDBD0-A2B7-4D20-AE36-6E6314A132A2}"/>
              </a:ext>
            </a:extLst>
          </p:cNvPr>
          <p:cNvSpPr>
            <a:spLocks noGrp="1"/>
          </p:cNvSpPr>
          <p:nvPr>
            <p:ph type="title"/>
          </p:nvPr>
        </p:nvSpPr>
        <p:spPr>
          <a:xfrm>
            <a:off x="737821" y="671185"/>
            <a:ext cx="10515600" cy="1325563"/>
          </a:xfrm>
        </p:spPr>
        <p:txBody>
          <a:bodyPr>
            <a:normAutofit/>
          </a:bodyPr>
          <a:lstStyle/>
          <a:p>
            <a:r>
              <a:rPr lang="de-DE" sz="2400" b="1" dirty="0">
                <a:latin typeface="Cambria" panose="02040503050406030204" pitchFamily="18" charset="0"/>
                <a:ea typeface="Cambria" panose="02040503050406030204" pitchFamily="18" charset="0"/>
              </a:rPr>
              <a:t>The </a:t>
            </a:r>
            <a:r>
              <a:rPr lang="de-DE" sz="2400" b="1" dirty="0" err="1">
                <a:latin typeface="Cambria" panose="02040503050406030204" pitchFamily="18" charset="0"/>
                <a:ea typeface="Cambria" panose="02040503050406030204" pitchFamily="18" charset="0"/>
              </a:rPr>
              <a:t>new</a:t>
            </a:r>
            <a:r>
              <a:rPr lang="de-DE" sz="2400" b="1" dirty="0">
                <a:latin typeface="Cambria" panose="02040503050406030204" pitchFamily="18" charset="0"/>
                <a:ea typeface="Cambria" panose="02040503050406030204" pitchFamily="18" charset="0"/>
              </a:rPr>
              <a:t> German </a:t>
            </a:r>
            <a:r>
              <a:rPr lang="de-DE" sz="2400" b="1" dirty="0" err="1">
                <a:latin typeface="Cambria" panose="02040503050406030204" pitchFamily="18" charset="0"/>
                <a:ea typeface="Cambria" panose="02040503050406030204" pitchFamily="18" charset="0"/>
              </a:rPr>
              <a:t>exit</a:t>
            </a:r>
            <a:r>
              <a:rPr lang="de-DE" sz="2400" b="1" dirty="0">
                <a:latin typeface="Cambria" panose="02040503050406030204" pitchFamily="18" charset="0"/>
                <a:ea typeface="Cambria" panose="02040503050406030204" pitchFamily="18" charset="0"/>
              </a:rPr>
              <a:t> taxation </a:t>
            </a:r>
            <a:r>
              <a:rPr lang="de-DE" sz="2400" b="1" dirty="0">
                <a:solidFill>
                  <a:srgbClr val="FFC000"/>
                </a:solidFill>
                <a:latin typeface="Cambria" panose="02040503050406030204" pitchFamily="18" charset="0"/>
                <a:ea typeface="Cambria" panose="02040503050406030204" pitchFamily="18" charset="0"/>
              </a:rPr>
              <a:t>| </a:t>
            </a:r>
            <a:r>
              <a:rPr lang="de-DE" sz="2400" b="1" dirty="0" err="1">
                <a:solidFill>
                  <a:srgbClr val="FFC000"/>
                </a:solidFill>
                <a:latin typeface="Cambria" panose="02040503050406030204" pitchFamily="18" charset="0"/>
                <a:ea typeface="Cambria" panose="02040503050406030204" pitchFamily="18" charset="0"/>
              </a:rPr>
              <a:t>Overview</a:t>
            </a:r>
            <a:endParaRPr lang="de-DE" sz="2400" b="1" dirty="0">
              <a:solidFill>
                <a:srgbClr val="FFC000"/>
              </a:solidFill>
              <a:latin typeface="Cambria" panose="02040503050406030204" pitchFamily="18" charset="0"/>
              <a:ea typeface="Cambria" panose="02040503050406030204" pitchFamily="18" charset="0"/>
            </a:endParaRPr>
          </a:p>
        </p:txBody>
      </p:sp>
      <p:sp>
        <p:nvSpPr>
          <p:cNvPr id="5" name="Foliennummernplatzhalter 4">
            <a:extLst>
              <a:ext uri="{FF2B5EF4-FFF2-40B4-BE49-F238E27FC236}">
                <a16:creationId xmlns:a16="http://schemas.microsoft.com/office/drawing/2014/main" id="{8EB52139-1541-44BD-B3B2-D7C3A58F5C2C}"/>
              </a:ext>
            </a:extLst>
          </p:cNvPr>
          <p:cNvSpPr>
            <a:spLocks noGrp="1"/>
          </p:cNvSpPr>
          <p:nvPr>
            <p:ph type="sldNum" sz="quarter" idx="16"/>
          </p:nvPr>
        </p:nvSpPr>
        <p:spPr>
          <a:xfrm>
            <a:off x="10955661" y="6453194"/>
            <a:ext cx="826872" cy="179341"/>
          </a:xfrm>
          <a:prstGeom prst="rect">
            <a:avLst/>
          </a:prstGeom>
        </p:spPr>
        <p:txBody>
          <a:bodyPr vert="horz" lIns="0" tIns="0" rIns="0" bIns="0" rtlCol="0" anchor="ctr"/>
          <a:lstStyle>
            <a:defPPr>
              <a:defRPr lang="de-DE"/>
            </a:defPPr>
            <a:lvl1pPr algn="r" defTabSz="1088449" rtl="0" fontAlgn="auto">
              <a:spcBef>
                <a:spcPts val="0"/>
              </a:spcBef>
              <a:spcAft>
                <a:spcPts val="0"/>
              </a:spcAft>
              <a:defRPr sz="1000" kern="1200">
                <a:solidFill>
                  <a:schemeClr val="tx1"/>
                </a:solidFill>
                <a:latin typeface="+mj-lt"/>
                <a:ea typeface="+mn-ea"/>
                <a:cs typeface="+mn-cs"/>
              </a:defRPr>
            </a:lvl1pPr>
            <a:lvl2pPr marL="542762" indent="-85699" algn="l" defTabSz="1087112" rtl="0" fontAlgn="base">
              <a:spcBef>
                <a:spcPct val="0"/>
              </a:spcBef>
              <a:spcAft>
                <a:spcPct val="0"/>
              </a:spcAft>
              <a:defRPr sz="2099" kern="1200">
                <a:solidFill>
                  <a:schemeClr val="tx1"/>
                </a:solidFill>
                <a:latin typeface="Cambria" pitchFamily="18" charset="0"/>
                <a:ea typeface="+mn-ea"/>
                <a:cs typeface="Arial" charset="0"/>
              </a:defRPr>
            </a:lvl2pPr>
            <a:lvl3pPr marL="1087112" indent="-172986" algn="l" defTabSz="1087112" rtl="0" fontAlgn="base">
              <a:spcBef>
                <a:spcPct val="0"/>
              </a:spcBef>
              <a:spcAft>
                <a:spcPct val="0"/>
              </a:spcAft>
              <a:defRPr sz="2099" kern="1200">
                <a:solidFill>
                  <a:schemeClr val="tx1"/>
                </a:solidFill>
                <a:latin typeface="Cambria" pitchFamily="18" charset="0"/>
                <a:ea typeface="+mn-ea"/>
                <a:cs typeface="Arial" charset="0"/>
              </a:defRPr>
            </a:lvl3pPr>
            <a:lvl4pPr marL="1631460" indent="-260272" algn="l" defTabSz="1087112" rtl="0" fontAlgn="base">
              <a:spcBef>
                <a:spcPct val="0"/>
              </a:spcBef>
              <a:spcAft>
                <a:spcPct val="0"/>
              </a:spcAft>
              <a:defRPr sz="2099" kern="1200">
                <a:solidFill>
                  <a:schemeClr val="tx1"/>
                </a:solidFill>
                <a:latin typeface="Cambria" pitchFamily="18" charset="0"/>
                <a:ea typeface="+mn-ea"/>
                <a:cs typeface="Arial" charset="0"/>
              </a:defRPr>
            </a:lvl4pPr>
            <a:lvl5pPr marL="2175810" indent="-347559" algn="l" defTabSz="1087112" rtl="0" fontAlgn="base">
              <a:spcBef>
                <a:spcPct val="0"/>
              </a:spcBef>
              <a:spcAft>
                <a:spcPct val="0"/>
              </a:spcAft>
              <a:defRPr sz="2099" kern="1200">
                <a:solidFill>
                  <a:schemeClr val="tx1"/>
                </a:solidFill>
                <a:latin typeface="Cambria" pitchFamily="18" charset="0"/>
                <a:ea typeface="+mn-ea"/>
                <a:cs typeface="Arial" charset="0"/>
              </a:defRPr>
            </a:lvl5pPr>
            <a:lvl6pPr marL="2285314" algn="l" defTabSz="914126" rtl="0" eaLnBrk="1" latinLnBrk="0" hangingPunct="1">
              <a:defRPr sz="2099" kern="1200">
                <a:solidFill>
                  <a:schemeClr val="tx1"/>
                </a:solidFill>
                <a:latin typeface="Cambria" pitchFamily="18" charset="0"/>
                <a:ea typeface="+mn-ea"/>
                <a:cs typeface="Arial" charset="0"/>
              </a:defRPr>
            </a:lvl6pPr>
            <a:lvl7pPr marL="2742377" algn="l" defTabSz="914126" rtl="0" eaLnBrk="1" latinLnBrk="0" hangingPunct="1">
              <a:defRPr sz="2099" kern="1200">
                <a:solidFill>
                  <a:schemeClr val="tx1"/>
                </a:solidFill>
                <a:latin typeface="Cambria" pitchFamily="18" charset="0"/>
                <a:ea typeface="+mn-ea"/>
                <a:cs typeface="Arial" charset="0"/>
              </a:defRPr>
            </a:lvl7pPr>
            <a:lvl8pPr marL="3199440" algn="l" defTabSz="914126" rtl="0" eaLnBrk="1" latinLnBrk="0" hangingPunct="1">
              <a:defRPr sz="2099" kern="1200">
                <a:solidFill>
                  <a:schemeClr val="tx1"/>
                </a:solidFill>
                <a:latin typeface="Cambria" pitchFamily="18" charset="0"/>
                <a:ea typeface="+mn-ea"/>
                <a:cs typeface="Arial" charset="0"/>
              </a:defRPr>
            </a:lvl8pPr>
            <a:lvl9pPr marL="3656503" algn="l" defTabSz="914126" rtl="0" eaLnBrk="1" latinLnBrk="0" hangingPunct="1">
              <a:defRPr sz="2099" kern="1200">
                <a:solidFill>
                  <a:schemeClr val="tx1"/>
                </a:solidFill>
                <a:latin typeface="Cambria" pitchFamily="18" charset="0"/>
                <a:ea typeface="+mn-ea"/>
                <a:cs typeface="Arial" charset="0"/>
              </a:defRPr>
            </a:lvl9pPr>
          </a:lstStyle>
          <a:p>
            <a:pPr>
              <a:defRPr/>
            </a:pPr>
            <a:fld id="{87562767-5355-481A-B419-BA9238D8C97C}" type="slidenum">
              <a:rPr lang="de-DE" smtClean="0"/>
              <a:pPr>
                <a:defRPr/>
              </a:pPr>
              <a:t>23</a:t>
            </a:fld>
            <a:endParaRPr lang="de-DE" dirty="0"/>
          </a:p>
        </p:txBody>
      </p:sp>
      <p:grpSp>
        <p:nvGrpSpPr>
          <p:cNvPr id="6" name="Gruppieren 5">
            <a:extLst>
              <a:ext uri="{FF2B5EF4-FFF2-40B4-BE49-F238E27FC236}">
                <a16:creationId xmlns:a16="http://schemas.microsoft.com/office/drawing/2014/main" id="{D8695644-491A-49EF-B077-54A5D42BE79E}"/>
              </a:ext>
            </a:extLst>
          </p:cNvPr>
          <p:cNvGrpSpPr/>
          <p:nvPr/>
        </p:nvGrpSpPr>
        <p:grpSpPr>
          <a:xfrm>
            <a:off x="9407509" y="2241178"/>
            <a:ext cx="2936145" cy="2375645"/>
            <a:chOff x="8790842" y="2625840"/>
            <a:chExt cx="2327530" cy="2028090"/>
          </a:xfrm>
        </p:grpSpPr>
        <p:sp>
          <p:nvSpPr>
            <p:cNvPr id="7" name="Rechteck 6">
              <a:extLst>
                <a:ext uri="{FF2B5EF4-FFF2-40B4-BE49-F238E27FC236}">
                  <a16:creationId xmlns:a16="http://schemas.microsoft.com/office/drawing/2014/main" id="{83273F12-866A-4161-9E03-C569D1B78A61}"/>
                </a:ext>
              </a:extLst>
            </p:cNvPr>
            <p:cNvSpPr/>
            <p:nvPr/>
          </p:nvSpPr>
          <p:spPr bwMode="auto">
            <a:xfrm>
              <a:off x="9031722" y="3990355"/>
              <a:ext cx="1354137" cy="663575"/>
            </a:xfrm>
            <a:prstGeom prst="rect">
              <a:avLst/>
            </a:prstGeom>
            <a:gradFill>
              <a:gsLst>
                <a:gs pos="0">
                  <a:srgbClr val="9E9284">
                    <a:tint val="50000"/>
                    <a:satMod val="300000"/>
                  </a:srgbClr>
                </a:gs>
                <a:gs pos="35000">
                  <a:srgbClr val="9E9284">
                    <a:tint val="37000"/>
                    <a:satMod val="300000"/>
                  </a:srgbClr>
                </a:gs>
                <a:gs pos="100000">
                  <a:srgbClr val="9E9284">
                    <a:tint val="15000"/>
                    <a:satMod val="350000"/>
                  </a:srgbClr>
                </a:gs>
              </a:gsLst>
              <a:lin ang="16200000" scaled="1"/>
            </a:gradFill>
            <a:ln w="19050" cap="flat" cmpd="sng" algn="ctr">
              <a:solidFill>
                <a:srgbClr val="B3ABA0"/>
              </a:solidFill>
              <a:prstDash val="solid"/>
              <a:headEnd/>
              <a:tailEnd/>
            </a:ln>
            <a:effectLst/>
          </p:spPr>
          <p:txBody>
            <a:bodyPr lIns="0" tIns="0" rIns="0" bIns="0" anchor="ctr"/>
            <a:lstStyle>
              <a:defPPr>
                <a:defRPr lang="de-DE"/>
              </a:defPPr>
              <a:lvl1pPr algn="l" rtl="0" eaLnBrk="0" fontAlgn="base" hangingPunct="0">
                <a:spcBef>
                  <a:spcPct val="0"/>
                </a:spcBef>
                <a:spcAft>
                  <a:spcPct val="100000"/>
                </a:spcAft>
                <a:buChar char="•"/>
                <a:defRPr sz="2000" kern="1200">
                  <a:solidFill>
                    <a:schemeClr val="tx1"/>
                  </a:solidFill>
                  <a:latin typeface="Times New Roman" charset="0"/>
                  <a:ea typeface="ＭＳ Ｐゴシック" charset="-128"/>
                  <a:cs typeface="+mn-cs"/>
                </a:defRPr>
              </a:lvl1pPr>
              <a:lvl2pPr marL="457200" algn="l" rtl="0" eaLnBrk="0" fontAlgn="base" hangingPunct="0">
                <a:spcBef>
                  <a:spcPct val="0"/>
                </a:spcBef>
                <a:spcAft>
                  <a:spcPct val="100000"/>
                </a:spcAft>
                <a:buChar char="•"/>
                <a:defRPr sz="2000" kern="1200">
                  <a:solidFill>
                    <a:schemeClr val="tx1"/>
                  </a:solidFill>
                  <a:latin typeface="Times New Roman" charset="0"/>
                  <a:ea typeface="ＭＳ Ｐゴシック" charset="-128"/>
                  <a:cs typeface="+mn-cs"/>
                </a:defRPr>
              </a:lvl2pPr>
              <a:lvl3pPr marL="914400" algn="l" rtl="0" eaLnBrk="0" fontAlgn="base" hangingPunct="0">
                <a:spcBef>
                  <a:spcPct val="0"/>
                </a:spcBef>
                <a:spcAft>
                  <a:spcPct val="100000"/>
                </a:spcAft>
                <a:buChar char="•"/>
                <a:defRPr sz="2000" kern="1200">
                  <a:solidFill>
                    <a:schemeClr val="tx1"/>
                  </a:solidFill>
                  <a:latin typeface="Times New Roman" charset="0"/>
                  <a:ea typeface="ＭＳ Ｐゴシック" charset="-128"/>
                  <a:cs typeface="+mn-cs"/>
                </a:defRPr>
              </a:lvl3pPr>
              <a:lvl4pPr marL="1371600" algn="l" rtl="0" eaLnBrk="0" fontAlgn="base" hangingPunct="0">
                <a:spcBef>
                  <a:spcPct val="0"/>
                </a:spcBef>
                <a:spcAft>
                  <a:spcPct val="100000"/>
                </a:spcAft>
                <a:buChar char="•"/>
                <a:defRPr sz="2000" kern="1200">
                  <a:solidFill>
                    <a:schemeClr val="tx1"/>
                  </a:solidFill>
                  <a:latin typeface="Times New Roman" charset="0"/>
                  <a:ea typeface="ＭＳ Ｐゴシック" charset="-128"/>
                  <a:cs typeface="+mn-cs"/>
                </a:defRPr>
              </a:lvl4pPr>
              <a:lvl5pPr marL="1828800" algn="l" rtl="0" eaLnBrk="0" fontAlgn="base" hangingPunct="0">
                <a:spcBef>
                  <a:spcPct val="0"/>
                </a:spcBef>
                <a:spcAft>
                  <a:spcPct val="100000"/>
                </a:spcAft>
                <a:buChar char="•"/>
                <a:defRPr sz="2000" kern="1200">
                  <a:solidFill>
                    <a:schemeClr val="tx1"/>
                  </a:solidFill>
                  <a:latin typeface="Times New Roman" charset="0"/>
                  <a:ea typeface="ＭＳ Ｐゴシック" charset="-128"/>
                  <a:cs typeface="+mn-cs"/>
                </a:defRPr>
              </a:lvl5pPr>
              <a:lvl6pPr marL="2286000" algn="l" defTabSz="914400" rtl="0" eaLnBrk="1" latinLnBrk="0" hangingPunct="1">
                <a:defRPr sz="2000" kern="1200">
                  <a:solidFill>
                    <a:schemeClr val="tx1"/>
                  </a:solidFill>
                  <a:latin typeface="Times New Roman" charset="0"/>
                  <a:ea typeface="ＭＳ Ｐゴシック" charset="-128"/>
                  <a:cs typeface="+mn-cs"/>
                </a:defRPr>
              </a:lvl6pPr>
              <a:lvl7pPr marL="2743200" algn="l" defTabSz="914400" rtl="0" eaLnBrk="1" latinLnBrk="0" hangingPunct="1">
                <a:defRPr sz="2000" kern="1200">
                  <a:solidFill>
                    <a:schemeClr val="tx1"/>
                  </a:solidFill>
                  <a:latin typeface="Times New Roman" charset="0"/>
                  <a:ea typeface="ＭＳ Ｐゴシック" charset="-128"/>
                  <a:cs typeface="+mn-cs"/>
                </a:defRPr>
              </a:lvl7pPr>
              <a:lvl8pPr marL="3200400" algn="l" defTabSz="914400" rtl="0" eaLnBrk="1" latinLnBrk="0" hangingPunct="1">
                <a:defRPr sz="2000" kern="1200">
                  <a:solidFill>
                    <a:schemeClr val="tx1"/>
                  </a:solidFill>
                  <a:latin typeface="Times New Roman" charset="0"/>
                  <a:ea typeface="ＭＳ Ｐゴシック" charset="-128"/>
                  <a:cs typeface="+mn-cs"/>
                </a:defRPr>
              </a:lvl8pPr>
              <a:lvl9pPr marL="3657600" algn="l" defTabSz="914400" rtl="0" eaLnBrk="1" latinLnBrk="0" hangingPunct="1">
                <a:defRPr sz="2000" kern="1200">
                  <a:solidFill>
                    <a:schemeClr val="tx1"/>
                  </a:solidFill>
                  <a:latin typeface="Times New Roman" charset="0"/>
                  <a:ea typeface="ＭＳ Ｐゴシック" charset="-128"/>
                  <a:cs typeface="+mn-cs"/>
                </a:defRPr>
              </a:lvl9pPr>
            </a:lstStyle>
            <a:p>
              <a:pPr algn="ctr" defTabSz="685594" eaLnBrk="1" fontAlgn="auto" hangingPunct="1">
                <a:spcBef>
                  <a:spcPts val="0"/>
                </a:spcBef>
                <a:buNone/>
              </a:pPr>
              <a:r>
                <a:rPr lang="en-GB" sz="1200" b="1" kern="0" dirty="0">
                  <a:solidFill>
                    <a:srgbClr val="002B55"/>
                  </a:solidFill>
                  <a:latin typeface="+mn-lt"/>
                </a:rPr>
                <a:t>Corporation</a:t>
              </a:r>
            </a:p>
          </p:txBody>
        </p:sp>
        <p:cxnSp>
          <p:nvCxnSpPr>
            <p:cNvPr id="8" name="Gerade Verbindung 13">
              <a:extLst>
                <a:ext uri="{FF2B5EF4-FFF2-40B4-BE49-F238E27FC236}">
                  <a16:creationId xmlns:a16="http://schemas.microsoft.com/office/drawing/2014/main" id="{D880A5C4-C8BB-4479-ADC2-73526650A405}"/>
                </a:ext>
              </a:extLst>
            </p:cNvPr>
            <p:cNvCxnSpPr>
              <a:cxnSpLocks noChangeShapeType="1"/>
            </p:cNvCxnSpPr>
            <p:nvPr/>
          </p:nvCxnSpPr>
          <p:spPr bwMode="auto">
            <a:xfrm flipV="1">
              <a:off x="9702386" y="3069754"/>
              <a:ext cx="0" cy="920601"/>
            </a:xfrm>
            <a:prstGeom prst="straightConnector1">
              <a:avLst/>
            </a:prstGeom>
            <a:noFill/>
            <a:ln w="19050" algn="ctr">
              <a:solidFill>
                <a:srgbClr val="B3ABA0"/>
              </a:solidFill>
              <a:round/>
              <a:headEnd/>
              <a:tailEnd type="none" w="lg" len="med"/>
            </a:ln>
            <a:extLst>
              <a:ext uri="{909E8E84-426E-40DD-AFC4-6F175D3DCCD1}">
                <a14:hiddenFill xmlns:a14="http://schemas.microsoft.com/office/drawing/2010/main">
                  <a:noFill/>
                </a14:hiddenFill>
              </a:ext>
            </a:extLst>
          </p:spPr>
        </p:cxnSp>
        <p:pic>
          <p:nvPicPr>
            <p:cNvPr id="9" name="Picture 163" descr="MCj04326210000[1]">
              <a:extLst>
                <a:ext uri="{FF2B5EF4-FFF2-40B4-BE49-F238E27FC236}">
                  <a16:creationId xmlns:a16="http://schemas.microsoft.com/office/drawing/2014/main" id="{DFED7832-467A-4748-80D9-5DA99CF65A47}"/>
                </a:ext>
              </a:extLst>
            </p:cNvPr>
            <p:cNvPicPr>
              <a:picLocks noChangeAspect="1" noChangeArrowheads="1"/>
            </p:cNvPicPr>
            <p:nvPr>
              <p:custDataLst>
                <p:tags r:id="rId1"/>
              </p:custDataLst>
            </p:nvPr>
          </p:nvPicPr>
          <p:blipFill>
            <a:blip r:embed="rId4" cstate="screen">
              <a:lum contrast="18000"/>
              <a:extLst>
                <a:ext uri="{28A0092B-C50C-407E-A947-70E740481C1C}">
                  <a14:useLocalDpi xmlns:a14="http://schemas.microsoft.com/office/drawing/2010/main" val="0"/>
                </a:ext>
              </a:extLst>
            </a:blip>
            <a:srcRect/>
            <a:stretch>
              <a:fillRect/>
            </a:stretch>
          </p:blipFill>
          <p:spPr bwMode="auto">
            <a:xfrm>
              <a:off x="9549986" y="2625840"/>
              <a:ext cx="3048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feld 35">
              <a:extLst>
                <a:ext uri="{FF2B5EF4-FFF2-40B4-BE49-F238E27FC236}">
                  <a16:creationId xmlns:a16="http://schemas.microsoft.com/office/drawing/2014/main" id="{142707A6-0FA1-42EE-970B-A0E814477611}"/>
                </a:ext>
              </a:extLst>
            </p:cNvPr>
            <p:cNvSpPr txBox="1">
              <a:spLocks noChangeArrowheads="1"/>
            </p:cNvSpPr>
            <p:nvPr/>
          </p:nvSpPr>
          <p:spPr bwMode="auto">
            <a:xfrm>
              <a:off x="8790842" y="3429794"/>
              <a:ext cx="2327530" cy="295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900"/>
                </a:spcBef>
                <a:defRPr sz="2000">
                  <a:solidFill>
                    <a:schemeClr val="tx1"/>
                  </a:solidFill>
                  <a:latin typeface="Cambria" panose="02040503050406030204" pitchFamily="18" charset="0"/>
                </a:defRPr>
              </a:lvl1pPr>
              <a:lvl2pPr marL="742950" indent="-285750" eaLnBrk="0" hangingPunct="0">
                <a:spcBef>
                  <a:spcPts val="900"/>
                </a:spcBef>
                <a:buClr>
                  <a:schemeClr val="tx2"/>
                </a:buClr>
                <a:buSzPct val="85000"/>
                <a:buFont typeface="Wingdings 2" panose="05020102010507070707" pitchFamily="18" charset="2"/>
                <a:buChar char=""/>
                <a:defRPr sz="2000">
                  <a:solidFill>
                    <a:schemeClr val="tx1"/>
                  </a:solidFill>
                  <a:latin typeface="Cambria" panose="02040503050406030204" pitchFamily="18" charset="0"/>
                </a:defRPr>
              </a:lvl2pPr>
              <a:lvl3pPr marL="1143000" indent="-228600" eaLnBrk="0" hangingPunct="0">
                <a:spcBef>
                  <a:spcPts val="900"/>
                </a:spcBef>
                <a:buClr>
                  <a:schemeClr val="tx2"/>
                </a:buClr>
                <a:defRPr>
                  <a:solidFill>
                    <a:schemeClr val="tx1"/>
                  </a:solidFill>
                  <a:latin typeface="Cambria" panose="02040503050406030204" pitchFamily="18" charset="0"/>
                </a:defRPr>
              </a:lvl3pPr>
              <a:lvl4pPr marL="1600200" indent="-228600" eaLnBrk="0" hangingPunct="0">
                <a:spcBef>
                  <a:spcPts val="900"/>
                </a:spcBef>
                <a:buClr>
                  <a:schemeClr val="tx2"/>
                </a:buClr>
                <a:buFont typeface="Wingdings 2" panose="05020102010507070707" pitchFamily="18" charset="2"/>
                <a:buChar char=""/>
                <a:defRPr>
                  <a:solidFill>
                    <a:schemeClr val="tx1"/>
                  </a:solidFill>
                  <a:latin typeface="Cambria" panose="02040503050406030204" pitchFamily="18" charset="0"/>
                </a:defRPr>
              </a:lvl4pPr>
              <a:lvl5pPr marL="2057400" indent="-228600" eaLnBrk="0" hangingPunct="0">
                <a:spcBef>
                  <a:spcPts val="900"/>
                </a:spcBef>
                <a:buFont typeface="Arial" panose="020B0604020202020204" pitchFamily="34" charset="0"/>
                <a:buChar char="–"/>
                <a:defRPr sz="1600">
                  <a:solidFill>
                    <a:schemeClr val="tx1"/>
                  </a:solidFill>
                  <a:latin typeface="Cambria" panose="02040503050406030204" pitchFamily="18" charset="0"/>
                </a:defRPr>
              </a:lvl5pPr>
              <a:lvl6pPr marL="2514600" indent="-228600" defTabSz="1087438" eaLnBrk="0" fontAlgn="base" hangingPunct="0">
                <a:spcBef>
                  <a:spcPts val="900"/>
                </a:spcBef>
                <a:spcAft>
                  <a:spcPct val="0"/>
                </a:spcAft>
                <a:buFont typeface="Arial" panose="020B0604020202020204" pitchFamily="34" charset="0"/>
                <a:buChar char="–"/>
                <a:defRPr sz="1600">
                  <a:solidFill>
                    <a:schemeClr val="tx1"/>
                  </a:solidFill>
                  <a:latin typeface="Cambria" panose="02040503050406030204" pitchFamily="18" charset="0"/>
                </a:defRPr>
              </a:lvl6pPr>
              <a:lvl7pPr marL="2971800" indent="-228600" defTabSz="1087438" eaLnBrk="0" fontAlgn="base" hangingPunct="0">
                <a:spcBef>
                  <a:spcPts val="900"/>
                </a:spcBef>
                <a:spcAft>
                  <a:spcPct val="0"/>
                </a:spcAft>
                <a:buFont typeface="Arial" panose="020B0604020202020204" pitchFamily="34" charset="0"/>
                <a:buChar char="–"/>
                <a:defRPr sz="1600">
                  <a:solidFill>
                    <a:schemeClr val="tx1"/>
                  </a:solidFill>
                  <a:latin typeface="Cambria" panose="02040503050406030204" pitchFamily="18" charset="0"/>
                </a:defRPr>
              </a:lvl7pPr>
              <a:lvl8pPr marL="3429000" indent="-228600" defTabSz="1087438" eaLnBrk="0" fontAlgn="base" hangingPunct="0">
                <a:spcBef>
                  <a:spcPts val="900"/>
                </a:spcBef>
                <a:spcAft>
                  <a:spcPct val="0"/>
                </a:spcAft>
                <a:buFont typeface="Arial" panose="020B0604020202020204" pitchFamily="34" charset="0"/>
                <a:buChar char="–"/>
                <a:defRPr sz="1600">
                  <a:solidFill>
                    <a:schemeClr val="tx1"/>
                  </a:solidFill>
                  <a:latin typeface="Cambria" panose="02040503050406030204" pitchFamily="18" charset="0"/>
                </a:defRPr>
              </a:lvl8pPr>
              <a:lvl9pPr marL="3886200" indent="-228600" defTabSz="1087438" eaLnBrk="0" fontAlgn="base" hangingPunct="0">
                <a:spcBef>
                  <a:spcPts val="900"/>
                </a:spcBef>
                <a:spcAft>
                  <a:spcPct val="0"/>
                </a:spcAft>
                <a:buFont typeface="Arial" panose="020B0604020202020204" pitchFamily="34" charset="0"/>
                <a:buChar char="–"/>
                <a:defRPr sz="1600">
                  <a:solidFill>
                    <a:schemeClr val="tx1"/>
                  </a:solidFill>
                  <a:latin typeface="Cambria" panose="02040503050406030204" pitchFamily="18" charset="0"/>
                </a:defRPr>
              </a:lvl9pPr>
            </a:lstStyle>
            <a:p>
              <a:pPr eaLnBrk="1" hangingPunct="1">
                <a:spcBef>
                  <a:spcPts val="300"/>
                </a:spcBef>
                <a:buClr>
                  <a:schemeClr val="accent1"/>
                </a:buClr>
              </a:pPr>
              <a:r>
                <a:rPr lang="en-GB" altLang="de-DE" sz="1000" dirty="0"/>
                <a:t>Share in a corporation</a:t>
              </a:r>
            </a:p>
            <a:p>
              <a:pPr eaLnBrk="1" hangingPunct="1">
                <a:spcBef>
                  <a:spcPts val="300"/>
                </a:spcBef>
                <a:buClr>
                  <a:schemeClr val="accent1"/>
                </a:buClr>
              </a:pPr>
              <a:r>
                <a:rPr lang="en-GB" altLang="de-DE" sz="1000" dirty="0"/>
                <a:t>of at least 1% (!)</a:t>
              </a:r>
            </a:p>
          </p:txBody>
        </p:sp>
        <p:pic>
          <p:nvPicPr>
            <p:cNvPr id="11" name="Picture 4" descr="Bildergebnis für flagge deutschland">
              <a:hlinkClick r:id="rId5"/>
              <a:extLst>
                <a:ext uri="{FF2B5EF4-FFF2-40B4-BE49-F238E27FC236}">
                  <a16:creationId xmlns:a16="http://schemas.microsoft.com/office/drawing/2014/main" id="{6B758E34-0EE5-409B-BD44-AF95DAB86A98}"/>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9749524" y="3083008"/>
              <a:ext cx="256966" cy="19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Gerade Verbindung 13">
              <a:extLst>
                <a:ext uri="{FF2B5EF4-FFF2-40B4-BE49-F238E27FC236}">
                  <a16:creationId xmlns:a16="http://schemas.microsoft.com/office/drawing/2014/main" id="{14CD5444-3149-4DD5-B040-9C4A56DED2C4}"/>
                </a:ext>
              </a:extLst>
            </p:cNvPr>
            <p:cNvCxnSpPr>
              <a:cxnSpLocks noChangeShapeType="1"/>
            </p:cNvCxnSpPr>
            <p:nvPr/>
          </p:nvCxnSpPr>
          <p:spPr bwMode="auto">
            <a:xfrm flipV="1">
              <a:off x="10166298" y="2969896"/>
              <a:ext cx="0" cy="806148"/>
            </a:xfrm>
            <a:prstGeom prst="straightConnector1">
              <a:avLst/>
            </a:prstGeom>
            <a:noFill/>
            <a:ln w="19050" algn="ctr">
              <a:solidFill>
                <a:srgbClr val="B3ABA0"/>
              </a:solidFill>
              <a:prstDash val="sysDash"/>
              <a:round/>
              <a:headEnd/>
              <a:tailEnd type="none" w="lg" len="med"/>
            </a:ln>
            <a:extLst>
              <a:ext uri="{909E8E84-426E-40DD-AFC4-6F175D3DCCD1}">
                <a14:hiddenFill xmlns:a14="http://schemas.microsoft.com/office/drawing/2010/main">
                  <a:noFill/>
                </a14:hiddenFill>
              </a:ext>
            </a:extLst>
          </p:spPr>
        </p:cxnSp>
        <p:sp>
          <p:nvSpPr>
            <p:cNvPr id="13" name="Pfeil: nach rechts 12">
              <a:extLst>
                <a:ext uri="{FF2B5EF4-FFF2-40B4-BE49-F238E27FC236}">
                  <a16:creationId xmlns:a16="http://schemas.microsoft.com/office/drawing/2014/main" id="{6046842A-565A-4507-864E-1A39F9B34CA0}"/>
                </a:ext>
              </a:extLst>
            </p:cNvPr>
            <p:cNvSpPr/>
            <p:nvPr/>
          </p:nvSpPr>
          <p:spPr>
            <a:xfrm rot="10800000" flipH="1">
              <a:off x="9878008" y="2706728"/>
              <a:ext cx="756084" cy="263168"/>
            </a:xfrm>
            <a:prstGeom prst="right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8449"/>
              <a:endParaRPr lang="de-DE" sz="1799">
                <a:solidFill>
                  <a:schemeClr val="tx1"/>
                </a:solidFill>
              </a:endParaRPr>
            </a:p>
          </p:txBody>
        </p:sp>
      </p:grpSp>
      <p:sp>
        <p:nvSpPr>
          <p:cNvPr id="15" name="Textfeld 35">
            <a:extLst>
              <a:ext uri="{FF2B5EF4-FFF2-40B4-BE49-F238E27FC236}">
                <a16:creationId xmlns:a16="http://schemas.microsoft.com/office/drawing/2014/main" id="{05E49912-353D-45DD-B2F5-4FEA5C7F58BD}"/>
              </a:ext>
            </a:extLst>
          </p:cNvPr>
          <p:cNvSpPr txBox="1">
            <a:spLocks noChangeArrowheads="1"/>
          </p:cNvSpPr>
          <p:nvPr/>
        </p:nvSpPr>
        <p:spPr bwMode="auto">
          <a:xfrm>
            <a:off x="10983113" y="2220802"/>
            <a:ext cx="972863" cy="15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ts val="900"/>
              </a:spcBef>
              <a:defRPr sz="2000">
                <a:solidFill>
                  <a:schemeClr val="tx1"/>
                </a:solidFill>
                <a:latin typeface="Cambria" panose="02040503050406030204" pitchFamily="18" charset="0"/>
              </a:defRPr>
            </a:lvl1pPr>
            <a:lvl2pPr marL="742950" indent="-285750" eaLnBrk="0" hangingPunct="0">
              <a:spcBef>
                <a:spcPts val="900"/>
              </a:spcBef>
              <a:buClr>
                <a:schemeClr val="tx2"/>
              </a:buClr>
              <a:buSzPct val="85000"/>
              <a:buFont typeface="Wingdings 2" panose="05020102010507070707" pitchFamily="18" charset="2"/>
              <a:buChar char=""/>
              <a:defRPr sz="2000">
                <a:solidFill>
                  <a:schemeClr val="tx1"/>
                </a:solidFill>
                <a:latin typeface="Cambria" panose="02040503050406030204" pitchFamily="18" charset="0"/>
              </a:defRPr>
            </a:lvl2pPr>
            <a:lvl3pPr marL="1143000" indent="-228600" eaLnBrk="0" hangingPunct="0">
              <a:spcBef>
                <a:spcPts val="900"/>
              </a:spcBef>
              <a:buClr>
                <a:schemeClr val="tx2"/>
              </a:buClr>
              <a:defRPr>
                <a:solidFill>
                  <a:schemeClr val="tx1"/>
                </a:solidFill>
                <a:latin typeface="Cambria" panose="02040503050406030204" pitchFamily="18" charset="0"/>
              </a:defRPr>
            </a:lvl3pPr>
            <a:lvl4pPr marL="1600200" indent="-228600" eaLnBrk="0" hangingPunct="0">
              <a:spcBef>
                <a:spcPts val="900"/>
              </a:spcBef>
              <a:buClr>
                <a:schemeClr val="tx2"/>
              </a:buClr>
              <a:buFont typeface="Wingdings 2" panose="05020102010507070707" pitchFamily="18" charset="2"/>
              <a:buChar char=""/>
              <a:defRPr>
                <a:solidFill>
                  <a:schemeClr val="tx1"/>
                </a:solidFill>
                <a:latin typeface="Cambria" panose="02040503050406030204" pitchFamily="18" charset="0"/>
              </a:defRPr>
            </a:lvl4pPr>
            <a:lvl5pPr marL="2057400" indent="-228600" eaLnBrk="0" hangingPunct="0">
              <a:spcBef>
                <a:spcPts val="900"/>
              </a:spcBef>
              <a:buFont typeface="Arial" panose="020B0604020202020204" pitchFamily="34" charset="0"/>
              <a:buChar char="–"/>
              <a:defRPr sz="1600">
                <a:solidFill>
                  <a:schemeClr val="tx1"/>
                </a:solidFill>
                <a:latin typeface="Cambria" panose="02040503050406030204" pitchFamily="18" charset="0"/>
              </a:defRPr>
            </a:lvl5pPr>
            <a:lvl6pPr marL="2514600" indent="-228600" defTabSz="1087438" eaLnBrk="0" fontAlgn="base" hangingPunct="0">
              <a:spcBef>
                <a:spcPts val="900"/>
              </a:spcBef>
              <a:spcAft>
                <a:spcPct val="0"/>
              </a:spcAft>
              <a:buFont typeface="Arial" panose="020B0604020202020204" pitchFamily="34" charset="0"/>
              <a:buChar char="–"/>
              <a:defRPr sz="1600">
                <a:solidFill>
                  <a:schemeClr val="tx1"/>
                </a:solidFill>
                <a:latin typeface="Cambria" panose="02040503050406030204" pitchFamily="18" charset="0"/>
              </a:defRPr>
            </a:lvl6pPr>
            <a:lvl7pPr marL="2971800" indent="-228600" defTabSz="1087438" eaLnBrk="0" fontAlgn="base" hangingPunct="0">
              <a:spcBef>
                <a:spcPts val="900"/>
              </a:spcBef>
              <a:spcAft>
                <a:spcPct val="0"/>
              </a:spcAft>
              <a:buFont typeface="Arial" panose="020B0604020202020204" pitchFamily="34" charset="0"/>
              <a:buChar char="–"/>
              <a:defRPr sz="1600">
                <a:solidFill>
                  <a:schemeClr val="tx1"/>
                </a:solidFill>
                <a:latin typeface="Cambria" panose="02040503050406030204" pitchFamily="18" charset="0"/>
              </a:defRPr>
            </a:lvl7pPr>
            <a:lvl8pPr marL="3429000" indent="-228600" defTabSz="1087438" eaLnBrk="0" fontAlgn="base" hangingPunct="0">
              <a:spcBef>
                <a:spcPts val="900"/>
              </a:spcBef>
              <a:spcAft>
                <a:spcPct val="0"/>
              </a:spcAft>
              <a:buFont typeface="Arial" panose="020B0604020202020204" pitchFamily="34" charset="0"/>
              <a:buChar char="–"/>
              <a:defRPr sz="1600">
                <a:solidFill>
                  <a:schemeClr val="tx1"/>
                </a:solidFill>
                <a:latin typeface="Cambria" panose="02040503050406030204" pitchFamily="18" charset="0"/>
              </a:defRPr>
            </a:lvl8pPr>
            <a:lvl9pPr marL="3886200" indent="-228600" defTabSz="1087438" eaLnBrk="0" fontAlgn="base" hangingPunct="0">
              <a:spcBef>
                <a:spcPts val="900"/>
              </a:spcBef>
              <a:spcAft>
                <a:spcPct val="0"/>
              </a:spcAft>
              <a:buFont typeface="Arial" panose="020B0604020202020204" pitchFamily="34" charset="0"/>
              <a:buChar char="–"/>
              <a:defRPr sz="1600">
                <a:solidFill>
                  <a:schemeClr val="tx1"/>
                </a:solidFill>
                <a:latin typeface="Cambria" panose="02040503050406030204" pitchFamily="18" charset="0"/>
              </a:defRPr>
            </a:lvl9pPr>
          </a:lstStyle>
          <a:p>
            <a:pPr eaLnBrk="1" hangingPunct="1">
              <a:spcBef>
                <a:spcPts val="300"/>
              </a:spcBef>
              <a:buClr>
                <a:schemeClr val="accent1"/>
              </a:buClr>
            </a:pPr>
            <a:r>
              <a:rPr lang="en-GB" altLang="de-DE" sz="1000" dirty="0">
                <a:solidFill>
                  <a:schemeClr val="accent1"/>
                </a:solidFill>
              </a:rPr>
              <a:t>Move abroad </a:t>
            </a:r>
          </a:p>
        </p:txBody>
      </p:sp>
      <p:graphicFrame>
        <p:nvGraphicFramePr>
          <p:cNvPr id="19" name="Tabelle 18">
            <a:extLst>
              <a:ext uri="{FF2B5EF4-FFF2-40B4-BE49-F238E27FC236}">
                <a16:creationId xmlns:a16="http://schemas.microsoft.com/office/drawing/2014/main" id="{645D392D-3EA3-4E6B-A76B-D1BABE6F95F9}"/>
              </a:ext>
            </a:extLst>
          </p:cNvPr>
          <p:cNvGraphicFramePr>
            <a:graphicFrameLocks noGrp="1" noChangeAspect="1"/>
          </p:cNvGraphicFramePr>
          <p:nvPr>
            <p:extLst>
              <p:ext uri="{D42A27DB-BD31-4B8C-83A1-F6EECF244321}">
                <p14:modId xmlns:p14="http://schemas.microsoft.com/office/powerpoint/2010/main" val="1982744552"/>
              </p:ext>
            </p:extLst>
          </p:nvPr>
        </p:nvGraphicFramePr>
        <p:xfrm>
          <a:off x="737821" y="1845236"/>
          <a:ext cx="8580581" cy="4231817"/>
        </p:xfrm>
        <a:graphic>
          <a:graphicData uri="http://schemas.openxmlformats.org/drawingml/2006/table">
            <a:tbl>
              <a:tblPr bandRow="1">
                <a:tableStyleId>{5FD0F851-EC5A-4D38-B0AD-8093EC10F338}</a:tableStyleId>
              </a:tblPr>
              <a:tblGrid>
                <a:gridCol w="763433">
                  <a:extLst>
                    <a:ext uri="{9D8B030D-6E8A-4147-A177-3AD203B41FA5}">
                      <a16:colId xmlns:a16="http://schemas.microsoft.com/office/drawing/2014/main" val="20000"/>
                    </a:ext>
                  </a:extLst>
                </a:gridCol>
                <a:gridCol w="7817148">
                  <a:extLst>
                    <a:ext uri="{9D8B030D-6E8A-4147-A177-3AD203B41FA5}">
                      <a16:colId xmlns:a16="http://schemas.microsoft.com/office/drawing/2014/main" val="20001"/>
                    </a:ext>
                  </a:extLst>
                </a:gridCol>
              </a:tblGrid>
              <a:tr h="1242154">
                <a:tc>
                  <a:txBody>
                    <a:bodyPr/>
                    <a:lstStyle/>
                    <a:p>
                      <a:pPr algn="l"/>
                      <a:r>
                        <a:rPr lang="de-DE" sz="1500" b="1" dirty="0">
                          <a:latin typeface="Cambria" panose="02040503050406030204" pitchFamily="18" charset="0"/>
                          <a:ea typeface="Cambria" panose="02040503050406030204" pitchFamily="18" charset="0"/>
                        </a:rPr>
                        <a:t>Para. 1</a:t>
                      </a:r>
                    </a:p>
                  </a:txBody>
                  <a:tcPr marL="51279" marR="51279" marT="25635" marB="25635"/>
                </a:tc>
                <a:tc>
                  <a:txBody>
                    <a:bodyPr/>
                    <a:lstStyle/>
                    <a:p>
                      <a:pPr algn="l"/>
                      <a:r>
                        <a:rPr lang="en-US" sz="1500" b="0" dirty="0">
                          <a:latin typeface="Cambria" panose="02040503050406030204" pitchFamily="18" charset="0"/>
                          <a:ea typeface="Cambria" panose="02040503050406030204" pitchFamily="18" charset="0"/>
                        </a:rPr>
                        <a:t>Basic facts and legal consequence</a:t>
                      </a:r>
                    </a:p>
                    <a:p>
                      <a:pPr algn="l"/>
                      <a:r>
                        <a:rPr lang="en-US" sz="1500" b="0" dirty="0">
                          <a:latin typeface="Cambria" panose="02040503050406030204" pitchFamily="18" charset="0"/>
                          <a:ea typeface="Cambria" panose="02040503050406030204" pitchFamily="18" charset="0"/>
                        </a:rPr>
                        <a:t>No. 1: Termination of unlimited tax liability by giving up the domicile or habitual abode</a:t>
                      </a:r>
                    </a:p>
                    <a:p>
                      <a:pPr algn="l"/>
                      <a:r>
                        <a:rPr lang="en-US" sz="1500" b="0" dirty="0">
                          <a:latin typeface="Cambria" panose="02040503050406030204" pitchFamily="18" charset="0"/>
                          <a:ea typeface="Cambria" panose="02040503050406030204" pitchFamily="18" charset="0"/>
                        </a:rPr>
                        <a:t>No. 2: gratuitous transfer to a person not subject to unlimited tax liability</a:t>
                      </a:r>
                    </a:p>
                    <a:p>
                      <a:pPr algn="l"/>
                      <a:r>
                        <a:rPr lang="en-US" sz="1500" b="0" dirty="0">
                          <a:latin typeface="Cambria" panose="02040503050406030204" pitchFamily="18" charset="0"/>
                          <a:ea typeface="Cambria" panose="02040503050406030204" pitchFamily="18" charset="0"/>
                        </a:rPr>
                        <a:t>No. 3: Exclusion or restriction of Germany's right of taxation</a:t>
                      </a:r>
                    </a:p>
                    <a:p>
                      <a:pPr algn="l"/>
                      <a:r>
                        <a:rPr lang="en-US" sz="1500" b="0" dirty="0">
                          <a:latin typeface="Cambria" panose="02040503050406030204" pitchFamily="18" charset="0"/>
                          <a:ea typeface="Cambria" panose="02040503050406030204" pitchFamily="18" charset="0"/>
                        </a:rPr>
                        <a:t>= Equivalent to sale at fair market value</a:t>
                      </a:r>
                      <a:endParaRPr lang="de-DE" sz="1500" b="0" dirty="0">
                        <a:latin typeface="Cambria" panose="02040503050406030204" pitchFamily="18" charset="0"/>
                        <a:ea typeface="Cambria" panose="02040503050406030204" pitchFamily="18" charset="0"/>
                      </a:endParaRPr>
                    </a:p>
                  </a:txBody>
                  <a:tcPr marL="51279" marR="51279" marT="25635" marB="25635"/>
                </a:tc>
                <a:extLst>
                  <a:ext uri="{0D108BD9-81ED-4DB2-BD59-A6C34878D82A}">
                    <a16:rowId xmlns:a16="http://schemas.microsoft.com/office/drawing/2014/main" val="10001"/>
                  </a:ext>
                </a:extLst>
              </a:tr>
              <a:tr h="965433">
                <a:tc>
                  <a:txBody>
                    <a:bodyPr/>
                    <a:lstStyle/>
                    <a:p>
                      <a:pPr algn="l"/>
                      <a:r>
                        <a:rPr lang="de-DE" sz="1500" b="1" dirty="0">
                          <a:latin typeface="Cambria" panose="02040503050406030204" pitchFamily="18" charset="0"/>
                          <a:ea typeface="Cambria" panose="02040503050406030204" pitchFamily="18" charset="0"/>
                        </a:rPr>
                        <a:t>Para. 2</a:t>
                      </a:r>
                    </a:p>
                  </a:txBody>
                  <a:tcPr marL="51279" marR="51279" marT="25635" marB="25635"/>
                </a:tc>
                <a:tc>
                  <a:txBody>
                    <a:bodyPr/>
                    <a:lstStyle/>
                    <a:p>
                      <a:pPr algn="l"/>
                      <a:r>
                        <a:rPr lang="en-US" sz="1500" b="1" dirty="0">
                          <a:latin typeface="Cambria" panose="02040503050406030204" pitchFamily="18" charset="0"/>
                          <a:ea typeface="Cambria" panose="02040503050406030204" pitchFamily="18" charset="0"/>
                        </a:rPr>
                        <a:t>Personal scope of application</a:t>
                      </a:r>
                    </a:p>
                    <a:p>
                      <a:pPr algn="l"/>
                      <a:r>
                        <a:rPr lang="en-US" sz="1500" b="0" dirty="0">
                          <a:latin typeface="Cambria" panose="02040503050406030204" pitchFamily="18" charset="0"/>
                          <a:ea typeface="Cambria" panose="02040503050406030204" pitchFamily="18" charset="0"/>
                        </a:rPr>
                        <a:t>Individuals who were subject to unlimited tax liability for at least seven of the last twelve years; attribution of the period of unlimited tax liability of the legal predecessors in the case of gratuitous transfer</a:t>
                      </a:r>
                      <a:endParaRPr lang="de-DE" sz="1500" b="0" dirty="0">
                        <a:latin typeface="Cambria" panose="02040503050406030204" pitchFamily="18" charset="0"/>
                        <a:ea typeface="Cambria" panose="02040503050406030204" pitchFamily="18" charset="0"/>
                      </a:endParaRPr>
                    </a:p>
                  </a:txBody>
                  <a:tcPr marL="51279" marR="51279" marT="25635" marB="25635"/>
                </a:tc>
                <a:extLst>
                  <a:ext uri="{0D108BD9-81ED-4DB2-BD59-A6C34878D82A}">
                    <a16:rowId xmlns:a16="http://schemas.microsoft.com/office/drawing/2014/main" val="10002"/>
                  </a:ext>
                </a:extLst>
              </a:tr>
              <a:tr h="843025">
                <a:tc>
                  <a:txBody>
                    <a:bodyPr/>
                    <a:lstStyle/>
                    <a:p>
                      <a:pPr algn="l"/>
                      <a:r>
                        <a:rPr lang="de-DE" sz="1500" b="1" dirty="0">
                          <a:latin typeface="Cambria" panose="02040503050406030204" pitchFamily="18" charset="0"/>
                          <a:ea typeface="Cambria" panose="02040503050406030204" pitchFamily="18" charset="0"/>
                        </a:rPr>
                        <a:t>Para. 3</a:t>
                      </a:r>
                    </a:p>
                  </a:txBody>
                  <a:tcPr marL="51279" marR="51279" marT="25635" marB="25635"/>
                </a:tc>
                <a:tc>
                  <a:txBody>
                    <a:bodyPr/>
                    <a:lstStyle/>
                    <a:p>
                      <a:pPr algn="l"/>
                      <a:r>
                        <a:rPr lang="en-US" sz="1500" b="1" dirty="0">
                          <a:latin typeface="Cambria" panose="02040503050406030204" pitchFamily="18" charset="0"/>
                          <a:ea typeface="Cambria" panose="02040503050406030204" pitchFamily="18" charset="0"/>
                        </a:rPr>
                        <a:t>Temporary absence (intention to return)</a:t>
                      </a:r>
                    </a:p>
                    <a:p>
                      <a:pPr algn="l"/>
                      <a:r>
                        <a:rPr lang="en-US" sz="1500" b="0" dirty="0">
                          <a:latin typeface="Cambria" panose="02040503050406030204" pitchFamily="18" charset="0"/>
                          <a:ea typeface="Cambria" panose="02040503050406030204" pitchFamily="18" charset="0"/>
                        </a:rPr>
                        <a:t>Obtain for non-application in the event of intention to return within seven years; renewable for a further five years provided the intention to return remains unchanged </a:t>
                      </a:r>
                    </a:p>
                  </a:txBody>
                  <a:tcPr marL="51279" marR="51279" marT="25635" marB="25635"/>
                </a:tc>
                <a:extLst>
                  <a:ext uri="{0D108BD9-81ED-4DB2-BD59-A6C34878D82A}">
                    <a16:rowId xmlns:a16="http://schemas.microsoft.com/office/drawing/2014/main" val="10003"/>
                  </a:ext>
                </a:extLst>
              </a:tr>
              <a:tr h="736892">
                <a:tc>
                  <a:txBody>
                    <a:bodyPr/>
                    <a:lstStyle/>
                    <a:p>
                      <a:pPr algn="l"/>
                      <a:r>
                        <a:rPr lang="de-DE" sz="1500" b="1" dirty="0">
                          <a:latin typeface="Cambria" panose="02040503050406030204" pitchFamily="18" charset="0"/>
                          <a:ea typeface="Cambria" panose="02040503050406030204" pitchFamily="18" charset="0"/>
                        </a:rPr>
                        <a:t>Para. 4</a:t>
                      </a:r>
                    </a:p>
                  </a:txBody>
                  <a:tcPr marL="51279" marR="51279" marT="25635" marB="25635"/>
                </a:tc>
                <a:tc>
                  <a:txBody>
                    <a:bodyPr/>
                    <a:lstStyle/>
                    <a:p>
                      <a:pPr algn="l"/>
                      <a:r>
                        <a:rPr lang="en-US" sz="1500" b="1" dirty="0">
                          <a:latin typeface="Cambria" panose="02040503050406030204" pitchFamily="18" charset="0"/>
                          <a:ea typeface="Cambria" panose="02040503050406030204" pitchFamily="18" charset="0"/>
                        </a:rPr>
                        <a:t>General application-linked instalment payment concept</a:t>
                      </a:r>
                    </a:p>
                    <a:p>
                      <a:pPr algn="l"/>
                      <a:r>
                        <a:rPr lang="en-US" sz="1500" b="0" dirty="0">
                          <a:latin typeface="Cambria" panose="02040503050406030204" pitchFamily="18" charset="0"/>
                          <a:ea typeface="Cambria" panose="02040503050406030204" pitchFamily="18" charset="0"/>
                        </a:rPr>
                        <a:t>Non-interest-bearing distribution of payment of tax over seven years; balance due immediately if harmful event occurs (sale or similar events).</a:t>
                      </a:r>
                      <a:endParaRPr lang="de-DE" sz="1500" b="0" dirty="0">
                        <a:latin typeface="Cambria" panose="02040503050406030204" pitchFamily="18" charset="0"/>
                        <a:ea typeface="Cambria" panose="02040503050406030204" pitchFamily="18" charset="0"/>
                      </a:endParaRPr>
                    </a:p>
                  </a:txBody>
                  <a:tcPr marL="51279" marR="51279" marT="25635" marB="25635"/>
                </a:tc>
                <a:extLst>
                  <a:ext uri="{0D108BD9-81ED-4DB2-BD59-A6C34878D82A}">
                    <a16:rowId xmlns:a16="http://schemas.microsoft.com/office/drawing/2014/main" val="10004"/>
                  </a:ext>
                </a:extLst>
              </a:tr>
              <a:tr h="443898">
                <a:tc>
                  <a:txBody>
                    <a:bodyPr/>
                    <a:lstStyle/>
                    <a:p>
                      <a:pPr algn="l"/>
                      <a:r>
                        <a:rPr lang="de-DE" sz="1500" b="1" dirty="0">
                          <a:solidFill>
                            <a:schemeClr val="tx1"/>
                          </a:solidFill>
                          <a:latin typeface="Cambria" panose="02040503050406030204" pitchFamily="18" charset="0"/>
                          <a:ea typeface="Cambria" panose="02040503050406030204" pitchFamily="18" charset="0"/>
                        </a:rPr>
                        <a:t>Para. 5</a:t>
                      </a:r>
                    </a:p>
                  </a:txBody>
                  <a:tcPr marL="51279" marR="51279" marT="25635" marB="25635"/>
                </a:tc>
                <a:tc>
                  <a:txBody>
                    <a:bodyPr/>
                    <a:lstStyle/>
                    <a:p>
                      <a:pPr algn="l"/>
                      <a:r>
                        <a:rPr lang="en-US" sz="1500" b="1" dirty="0">
                          <a:solidFill>
                            <a:schemeClr val="tx1"/>
                          </a:solidFill>
                          <a:latin typeface="Cambria" panose="02040503050406030204" pitchFamily="18" charset="0"/>
                          <a:ea typeface="Cambria" panose="02040503050406030204" pitchFamily="18" charset="0"/>
                        </a:rPr>
                        <a:t>Obligation to cooperate in the case of deferral</a:t>
                      </a:r>
                      <a:endParaRPr lang="de-DE" sz="1500" b="1" dirty="0">
                        <a:solidFill>
                          <a:schemeClr val="tx1"/>
                        </a:solidFill>
                        <a:latin typeface="Cambria" panose="02040503050406030204" pitchFamily="18" charset="0"/>
                        <a:ea typeface="Cambria" panose="02040503050406030204" pitchFamily="18" charset="0"/>
                      </a:endParaRPr>
                    </a:p>
                  </a:txBody>
                  <a:tcPr marL="51279" marR="51279" marT="25635" marB="25635"/>
                </a:tc>
                <a:extLst>
                  <a:ext uri="{0D108BD9-81ED-4DB2-BD59-A6C34878D82A}">
                    <a16:rowId xmlns:a16="http://schemas.microsoft.com/office/drawing/2014/main" val="10009"/>
                  </a:ext>
                </a:extLst>
              </a:tr>
            </a:tbl>
          </a:graphicData>
        </a:graphic>
      </p:graphicFrame>
      <p:pic>
        <p:nvPicPr>
          <p:cNvPr id="20" name="Grafik 19">
            <a:extLst>
              <a:ext uri="{FF2B5EF4-FFF2-40B4-BE49-F238E27FC236}">
                <a16:creationId xmlns:a16="http://schemas.microsoft.com/office/drawing/2014/main" id="{B2257D53-B64C-43FF-A621-A2A84CF3F142}"/>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312315" y="2738985"/>
            <a:ext cx="347494" cy="348748"/>
          </a:xfrm>
          <a:prstGeom prst="rect">
            <a:avLst/>
          </a:prstGeom>
        </p:spPr>
      </p:pic>
      <p:pic>
        <p:nvPicPr>
          <p:cNvPr id="3" name="Picture 2" descr="S:\Kunden\SilkeHaars\Zubehoer\FGS.png">
            <a:extLst>
              <a:ext uri="{FF2B5EF4-FFF2-40B4-BE49-F238E27FC236}">
                <a16:creationId xmlns:a16="http://schemas.microsoft.com/office/drawing/2014/main" id="{AB70F431-0426-C97A-2E2B-91B0C933C7C4}"/>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838201" y="227756"/>
            <a:ext cx="1331422" cy="443429"/>
          </a:xfrm>
          <a:prstGeom prst="rect">
            <a:avLst/>
          </a:prstGeom>
          <a:noFill/>
          <a:extLst>
            <a:ext uri="{909E8E84-426E-40DD-AFC4-6F175D3DCCD1}">
              <a14:hiddenFill xmlns:a14="http://schemas.microsoft.com/office/drawing/2010/main">
                <a:solidFill>
                  <a:srgbClr val="FFFFFF"/>
                </a:solidFill>
              </a14:hiddenFill>
            </a:ext>
          </a:extLst>
        </p:spPr>
      </p:pic>
      <p:sp>
        <p:nvSpPr>
          <p:cNvPr id="4" name="Untertitel 12">
            <a:extLst>
              <a:ext uri="{FF2B5EF4-FFF2-40B4-BE49-F238E27FC236}">
                <a16:creationId xmlns:a16="http://schemas.microsoft.com/office/drawing/2014/main" id="{53278492-0988-E253-7EB4-1754D7C42E7B}"/>
              </a:ext>
            </a:extLst>
          </p:cNvPr>
          <p:cNvSpPr txBox="1">
            <a:spLocks/>
          </p:cNvSpPr>
          <p:nvPr/>
        </p:nvSpPr>
        <p:spPr>
          <a:xfrm>
            <a:off x="737821" y="79991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11217386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206518-26DC-4622-A258-944F411A6731}"/>
              </a:ext>
            </a:extLst>
          </p:cNvPr>
          <p:cNvSpPr>
            <a:spLocks noGrp="1"/>
          </p:cNvSpPr>
          <p:nvPr>
            <p:ph type="title"/>
          </p:nvPr>
        </p:nvSpPr>
        <p:spPr>
          <a:xfrm>
            <a:off x="689076" y="1012260"/>
            <a:ext cx="10515600" cy="676535"/>
          </a:xfrm>
        </p:spPr>
        <p:txBody>
          <a:bodyPr>
            <a:normAutofit/>
          </a:bodyPr>
          <a:lstStyle/>
          <a:p>
            <a:r>
              <a:rPr lang="de-DE" sz="2400" dirty="0" err="1">
                <a:latin typeface="Cambria" panose="02040503050406030204" pitchFamily="18" charset="0"/>
                <a:ea typeface="Cambria" panose="02040503050406030204" pitchFamily="18" charset="0"/>
              </a:rPr>
              <a:t>Optimization</a:t>
            </a:r>
            <a:r>
              <a:rPr lang="de-DE" sz="2400" dirty="0">
                <a:latin typeface="Cambria" panose="02040503050406030204" pitchFamily="18" charset="0"/>
                <a:ea typeface="Cambria" panose="02040503050406030204" pitchFamily="18" charset="0"/>
              </a:rPr>
              <a:t> </a:t>
            </a:r>
            <a:r>
              <a:rPr lang="de-DE" sz="2400" dirty="0" err="1">
                <a:latin typeface="Cambria" panose="02040503050406030204" pitchFamily="18" charset="0"/>
                <a:ea typeface="Cambria" panose="02040503050406030204" pitchFamily="18" charset="0"/>
              </a:rPr>
              <a:t>strategies</a:t>
            </a:r>
            <a:r>
              <a:rPr lang="de-DE" sz="2400" dirty="0">
                <a:solidFill>
                  <a:srgbClr val="FFC000"/>
                </a:solidFill>
                <a:latin typeface="Cambria" panose="02040503050406030204" pitchFamily="18" charset="0"/>
                <a:ea typeface="Cambria" panose="02040503050406030204" pitchFamily="18" charset="0"/>
              </a:rPr>
              <a:t>| Management Holding </a:t>
            </a:r>
            <a:endParaRPr lang="de-DE" sz="2400" dirty="0">
              <a:latin typeface="Cambria" panose="02040503050406030204" pitchFamily="18" charset="0"/>
              <a:ea typeface="Cambria" panose="02040503050406030204" pitchFamily="18" charset="0"/>
            </a:endParaRPr>
          </a:p>
        </p:txBody>
      </p:sp>
      <p:sp>
        <p:nvSpPr>
          <p:cNvPr id="3" name="Inhaltsplatzhalter 2">
            <a:extLst>
              <a:ext uri="{FF2B5EF4-FFF2-40B4-BE49-F238E27FC236}">
                <a16:creationId xmlns:a16="http://schemas.microsoft.com/office/drawing/2014/main" id="{30D7C78F-6D67-4CD3-B043-79E79940C421}"/>
              </a:ext>
            </a:extLst>
          </p:cNvPr>
          <p:cNvSpPr>
            <a:spLocks noGrp="1"/>
          </p:cNvSpPr>
          <p:nvPr>
            <p:ph sz="quarter" idx="14"/>
          </p:nvPr>
        </p:nvSpPr>
        <p:spPr>
          <a:xfrm>
            <a:off x="696732" y="2421150"/>
            <a:ext cx="4103461" cy="3887420"/>
          </a:xfrm>
        </p:spPr>
        <p:txBody>
          <a:bodyPr>
            <a:normAutofit/>
          </a:bodyPr>
          <a:lstStyle/>
          <a:p>
            <a:pPr marL="357188" lvl="4" indent="-265113">
              <a:spcBef>
                <a:spcPts val="300"/>
              </a:spcBef>
              <a:buClr>
                <a:schemeClr val="accent1"/>
              </a:buClr>
            </a:pPr>
            <a:r>
              <a:rPr lang="en-GB" sz="1500" dirty="0">
                <a:latin typeface="Cambria" panose="02040503050406030204" pitchFamily="18" charset="0"/>
                <a:ea typeface="Cambria" panose="02040503050406030204" pitchFamily="18" charset="0"/>
              </a:rPr>
              <a:t>Establishment of a management holding company</a:t>
            </a:r>
          </a:p>
          <a:p>
            <a:pPr marL="357188" lvl="4" indent="-265113">
              <a:spcBef>
                <a:spcPts val="300"/>
              </a:spcBef>
              <a:buClr>
                <a:schemeClr val="accent1"/>
              </a:buClr>
            </a:pPr>
            <a:r>
              <a:rPr lang="en-GB" sz="1500" dirty="0">
                <a:latin typeface="Cambria" panose="02040503050406030204" pitchFamily="18" charset="0"/>
                <a:ea typeface="Cambria" panose="02040503050406030204" pitchFamily="18" charset="0"/>
              </a:rPr>
              <a:t>Contribution of shares to a limited partnership (KG), which exercises management holding functions vis-à-vis subsidiary companies, </a:t>
            </a:r>
            <a:r>
              <a:rPr lang="en-GB" sz="1500" dirty="0" err="1">
                <a:latin typeface="Cambria" panose="02040503050406030204" pitchFamily="18" charset="0"/>
                <a:ea typeface="Cambria" panose="02040503050406030204" pitchFamily="18" charset="0"/>
              </a:rPr>
              <a:t>e.g</a:t>
            </a:r>
            <a:r>
              <a:rPr lang="en-GB" sz="1500" dirty="0">
                <a:latin typeface="Cambria" panose="02040503050406030204" pitchFamily="18" charset="0"/>
                <a:ea typeface="Cambria" panose="02040503050406030204" pitchFamily="18" charset="0"/>
              </a:rPr>
              <a:t>:</a:t>
            </a:r>
          </a:p>
          <a:p>
            <a:pPr marL="357188" lvl="4" indent="-265113">
              <a:spcBef>
                <a:spcPts val="300"/>
              </a:spcBef>
              <a:buClr>
                <a:schemeClr val="accent1"/>
              </a:buClr>
            </a:pPr>
            <a:r>
              <a:rPr lang="en-GB" sz="1500" dirty="0">
                <a:latin typeface="Cambria" panose="02040503050406030204" pitchFamily="18" charset="0"/>
                <a:ea typeface="Cambria" panose="02040503050406030204" pitchFamily="18" charset="0"/>
              </a:rPr>
              <a:t>Influence on business and personnel policy (guidelines, written instructions, contractual obligations).</a:t>
            </a:r>
          </a:p>
          <a:p>
            <a:pPr marL="357188" lvl="4" indent="-265113">
              <a:spcBef>
                <a:spcPts val="300"/>
              </a:spcBef>
              <a:buClr>
                <a:schemeClr val="accent1"/>
              </a:buClr>
            </a:pPr>
            <a:r>
              <a:rPr lang="en-GB" sz="1500" dirty="0">
                <a:latin typeface="Cambria" panose="02040503050406030204" pitchFamily="18" charset="0"/>
                <a:ea typeface="Cambria" panose="02040503050406030204" pitchFamily="18" charset="0"/>
              </a:rPr>
              <a:t>Coordination and control of work processes</a:t>
            </a:r>
          </a:p>
          <a:p>
            <a:pPr marL="357188" lvl="4" indent="-265113">
              <a:spcBef>
                <a:spcPts val="300"/>
              </a:spcBef>
              <a:buClr>
                <a:schemeClr val="accent1"/>
              </a:buClr>
            </a:pPr>
            <a:r>
              <a:rPr lang="en-GB" sz="1500" dirty="0">
                <a:latin typeface="Cambria" panose="02040503050406030204" pitchFamily="18" charset="0"/>
                <a:ea typeface="Cambria" panose="02040503050406030204" pitchFamily="18" charset="0"/>
              </a:rPr>
              <a:t>Financing</a:t>
            </a:r>
          </a:p>
          <a:p>
            <a:pPr marL="357188" lvl="4" indent="-265113">
              <a:spcBef>
                <a:spcPts val="300"/>
              </a:spcBef>
              <a:buClr>
                <a:schemeClr val="accent1"/>
              </a:buClr>
            </a:pPr>
            <a:r>
              <a:rPr lang="en-GB" sz="1500" dirty="0">
                <a:latin typeface="Cambria" panose="02040503050406030204" pitchFamily="18" charset="0"/>
                <a:ea typeface="Cambria" panose="02040503050406030204" pitchFamily="18" charset="0"/>
              </a:rPr>
              <a:t>Appropriate material and personnel resources (substance!)</a:t>
            </a:r>
          </a:p>
          <a:p>
            <a:pPr marL="357188" lvl="4" indent="-265113">
              <a:spcBef>
                <a:spcPts val="300"/>
              </a:spcBef>
              <a:buClr>
                <a:schemeClr val="accent1"/>
              </a:buClr>
            </a:pPr>
            <a:r>
              <a:rPr lang="en-GB" sz="1500" dirty="0">
                <a:latin typeface="Cambria" panose="02040503050406030204" pitchFamily="18" charset="0"/>
                <a:ea typeface="Cambria" panose="02040503050406030204" pitchFamily="18" charset="0"/>
              </a:rPr>
              <a:t>"active" investment management within the meaning of German income tax law requires at least two subsidiaries for which management functions are provided.</a:t>
            </a:r>
          </a:p>
          <a:p>
            <a:endParaRPr lang="en-GB" dirty="0">
              <a:latin typeface="Cambria" panose="02040503050406030204" pitchFamily="18" charset="0"/>
              <a:ea typeface="Cambria" panose="02040503050406030204" pitchFamily="18" charset="0"/>
            </a:endParaRPr>
          </a:p>
        </p:txBody>
      </p:sp>
      <p:sp>
        <p:nvSpPr>
          <p:cNvPr id="4" name="Inhaltsplatzhalter 3">
            <a:extLst>
              <a:ext uri="{FF2B5EF4-FFF2-40B4-BE49-F238E27FC236}">
                <a16:creationId xmlns:a16="http://schemas.microsoft.com/office/drawing/2014/main" id="{07E445F4-23D3-44ED-973E-FEB75580B5AA}"/>
              </a:ext>
            </a:extLst>
          </p:cNvPr>
          <p:cNvSpPr>
            <a:spLocks noGrp="1"/>
          </p:cNvSpPr>
          <p:nvPr>
            <p:ph sz="quarter" idx="15"/>
          </p:nvPr>
        </p:nvSpPr>
        <p:spPr/>
        <p:txBody>
          <a:bodyPr/>
          <a:lstStyle/>
          <a:p>
            <a:pPr marL="342797" indent="-342797">
              <a:spcBef>
                <a:spcPts val="300"/>
              </a:spcBef>
              <a:buClr>
                <a:schemeClr val="accent1"/>
              </a:buClr>
              <a:buFont typeface="Wingdings" panose="05000000000000000000" pitchFamily="2" charset="2"/>
              <a:buChar char="è"/>
            </a:pPr>
            <a:r>
              <a:rPr lang="en-GB" sz="1600" b="1" dirty="0">
                <a:latin typeface="Cambria" panose="02040503050406030204" pitchFamily="18" charset="0"/>
                <a:ea typeface="Cambria" panose="02040503050406030204" pitchFamily="18" charset="0"/>
              </a:rPr>
              <a:t>No exit tax </a:t>
            </a:r>
            <a:endParaRPr lang="en-GB" sz="1600" dirty="0">
              <a:latin typeface="Cambria" panose="02040503050406030204" pitchFamily="18" charset="0"/>
              <a:ea typeface="Cambria" panose="02040503050406030204" pitchFamily="18" charset="0"/>
            </a:endParaRPr>
          </a:p>
          <a:p>
            <a:pPr marL="342797" indent="-342797">
              <a:spcBef>
                <a:spcPts val="300"/>
              </a:spcBef>
              <a:buClr>
                <a:schemeClr val="accent1"/>
              </a:buClr>
              <a:buFont typeface="Wingdings" panose="05000000000000000000" pitchFamily="2" charset="2"/>
              <a:buChar char="è"/>
            </a:pPr>
            <a:r>
              <a:rPr lang="en-GB" sz="1600" b="1" dirty="0">
                <a:latin typeface="Cambria" panose="02040503050406030204" pitchFamily="18" charset="0"/>
                <a:ea typeface="Cambria" panose="02040503050406030204" pitchFamily="18" charset="0"/>
              </a:rPr>
              <a:t>No other taxation (realization of built-in-gains) </a:t>
            </a:r>
            <a:r>
              <a:rPr lang="en-GB" sz="1600" dirty="0">
                <a:latin typeface="Cambria" panose="02040503050406030204" pitchFamily="18" charset="0"/>
                <a:ea typeface="Cambria" panose="02040503050406030204" pitchFamily="18" charset="0"/>
              </a:rPr>
              <a:t>as the German taxation right remains </a:t>
            </a:r>
          </a:p>
          <a:p>
            <a:pPr marL="558632" lvl="1" indent="-342797">
              <a:spcBef>
                <a:spcPts val="300"/>
              </a:spcBef>
              <a:buClr>
                <a:schemeClr val="accent1"/>
              </a:buClr>
              <a:buFont typeface="Wingdings" panose="05000000000000000000" pitchFamily="2" charset="2"/>
              <a:buChar char="è"/>
            </a:pPr>
            <a:r>
              <a:rPr lang="en-GB" i="1" dirty="0">
                <a:latin typeface="Cambria" panose="02040503050406030204" pitchFamily="18" charset="0"/>
                <a:ea typeface="Cambria" panose="02040503050406030204" pitchFamily="18" charset="0"/>
                <a:sym typeface="Wingdings" panose="05000000000000000000" pitchFamily="2" charset="2"/>
              </a:rPr>
              <a:t>Functional attribution to the German permanent establishment </a:t>
            </a:r>
          </a:p>
          <a:p>
            <a:endParaRPr lang="en-GB" dirty="0">
              <a:latin typeface="Cambria" panose="02040503050406030204" pitchFamily="18" charset="0"/>
              <a:ea typeface="Cambria" panose="02040503050406030204" pitchFamily="18" charset="0"/>
            </a:endParaRPr>
          </a:p>
        </p:txBody>
      </p:sp>
      <p:sp>
        <p:nvSpPr>
          <p:cNvPr id="7" name="Foliennummernplatzhalter 6">
            <a:extLst>
              <a:ext uri="{FF2B5EF4-FFF2-40B4-BE49-F238E27FC236}">
                <a16:creationId xmlns:a16="http://schemas.microsoft.com/office/drawing/2014/main" id="{DB5F2398-593C-4E7F-98E8-50B53D6FBDC4}"/>
              </a:ext>
            </a:extLst>
          </p:cNvPr>
          <p:cNvSpPr>
            <a:spLocks noGrp="1"/>
          </p:cNvSpPr>
          <p:nvPr>
            <p:ph type="sldNum" sz="quarter" idx="18"/>
          </p:nvPr>
        </p:nvSpPr>
        <p:spPr/>
        <p:txBody>
          <a:bodyPr/>
          <a:lstStyle/>
          <a:p>
            <a:fld id="{761F7C54-956E-4035-96E5-E3754B49D8A7}" type="slidenum">
              <a:rPr lang="en-GB" smtClean="0">
                <a:latin typeface="Cambria" panose="02040503050406030204" pitchFamily="18" charset="0"/>
                <a:ea typeface="Cambria" panose="02040503050406030204" pitchFamily="18" charset="0"/>
              </a:rPr>
              <a:pPr/>
              <a:t>24</a:t>
            </a:fld>
            <a:endParaRPr lang="en-GB">
              <a:latin typeface="Cambria" panose="02040503050406030204" pitchFamily="18" charset="0"/>
              <a:ea typeface="Cambria" panose="02040503050406030204" pitchFamily="18" charset="0"/>
            </a:endParaRPr>
          </a:p>
        </p:txBody>
      </p:sp>
      <p:sp>
        <p:nvSpPr>
          <p:cNvPr id="8" name="Textplatzhalter 7">
            <a:extLst>
              <a:ext uri="{FF2B5EF4-FFF2-40B4-BE49-F238E27FC236}">
                <a16:creationId xmlns:a16="http://schemas.microsoft.com/office/drawing/2014/main" id="{1B35DD9F-C5B6-491A-8308-E83A08614A9B}"/>
              </a:ext>
            </a:extLst>
          </p:cNvPr>
          <p:cNvSpPr>
            <a:spLocks noGrp="1"/>
          </p:cNvSpPr>
          <p:nvPr>
            <p:ph type="body" sz="quarter" idx="19"/>
          </p:nvPr>
        </p:nvSpPr>
        <p:spPr>
          <a:xfrm>
            <a:off x="689076" y="1746681"/>
            <a:ext cx="4103461" cy="576112"/>
          </a:xfrm>
          <a:solidFill>
            <a:schemeClr val="tx1">
              <a:lumMod val="50000"/>
              <a:lumOff val="50000"/>
            </a:schemeClr>
          </a:solidFill>
        </p:spPr>
        <p:txBody>
          <a:bodyPr>
            <a:normAutofit/>
          </a:bodyPr>
          <a:lstStyle/>
          <a:p>
            <a:pPr indent="0">
              <a:buNone/>
            </a:pPr>
            <a:r>
              <a:rPr lang="en-GB" sz="2000" dirty="0">
                <a:latin typeface="Cambria" panose="02040503050406030204" pitchFamily="18" charset="0"/>
                <a:ea typeface="Cambria" panose="02040503050406030204" pitchFamily="18" charset="0"/>
              </a:rPr>
              <a:t>Requirements: </a:t>
            </a:r>
          </a:p>
        </p:txBody>
      </p:sp>
      <p:sp>
        <p:nvSpPr>
          <p:cNvPr id="9" name="Textplatzhalter 8">
            <a:extLst>
              <a:ext uri="{FF2B5EF4-FFF2-40B4-BE49-F238E27FC236}">
                <a16:creationId xmlns:a16="http://schemas.microsoft.com/office/drawing/2014/main" id="{B693802C-97B6-4571-AB20-3FBD3752133D}"/>
              </a:ext>
            </a:extLst>
          </p:cNvPr>
          <p:cNvSpPr>
            <a:spLocks noGrp="1"/>
          </p:cNvSpPr>
          <p:nvPr>
            <p:ph type="body" sz="quarter" idx="20"/>
          </p:nvPr>
        </p:nvSpPr>
        <p:spPr>
          <a:solidFill>
            <a:schemeClr val="tx1">
              <a:lumMod val="50000"/>
              <a:lumOff val="50000"/>
            </a:schemeClr>
          </a:solidFill>
        </p:spPr>
        <p:txBody>
          <a:bodyPr>
            <a:normAutofit/>
          </a:bodyPr>
          <a:lstStyle/>
          <a:p>
            <a:pPr>
              <a:buNone/>
            </a:pPr>
            <a:r>
              <a:rPr lang="en-GB" sz="2000" dirty="0">
                <a:latin typeface="Cambria" panose="02040503050406030204" pitchFamily="18" charset="0"/>
                <a:ea typeface="Cambria" panose="02040503050406030204" pitchFamily="18" charset="0"/>
              </a:rPr>
              <a:t>Consequences: </a:t>
            </a:r>
          </a:p>
        </p:txBody>
      </p:sp>
      <p:pic>
        <p:nvPicPr>
          <p:cNvPr id="14" name="Grafik 13" descr="Kreis mit Pfeil nach rechts">
            <a:extLst>
              <a:ext uri="{FF2B5EF4-FFF2-40B4-BE49-F238E27FC236}">
                <a16:creationId xmlns:a16="http://schemas.microsoft.com/office/drawing/2014/main" id="{1090C3C9-8F7F-4173-8C6C-13305EF0CD76}"/>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5376107" y="2925075"/>
            <a:ext cx="503925" cy="503925"/>
          </a:xfrm>
          <a:prstGeom prst="rect">
            <a:avLst/>
          </a:prstGeom>
        </p:spPr>
      </p:pic>
      <p:pic>
        <p:nvPicPr>
          <p:cNvPr id="15" name="Grafik 14" descr="Kreis mit Pfeil nach rechts">
            <a:extLst>
              <a:ext uri="{FF2B5EF4-FFF2-40B4-BE49-F238E27FC236}">
                <a16:creationId xmlns:a16="http://schemas.microsoft.com/office/drawing/2014/main" id="{60D5B628-A1DC-4351-A843-D0D090ACA46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5376107" y="4004639"/>
            <a:ext cx="503925" cy="503925"/>
          </a:xfrm>
          <a:prstGeom prst="rect">
            <a:avLst/>
          </a:prstGeom>
        </p:spPr>
      </p:pic>
      <p:pic>
        <p:nvPicPr>
          <p:cNvPr id="16" name="Grafik 15" descr="Kreis mit Pfeil nach rechts">
            <a:extLst>
              <a:ext uri="{FF2B5EF4-FFF2-40B4-BE49-F238E27FC236}">
                <a16:creationId xmlns:a16="http://schemas.microsoft.com/office/drawing/2014/main" id="{72F9D005-77A0-487F-8BD6-1E036C740D1F}"/>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5376107" y="5152701"/>
            <a:ext cx="503925" cy="503925"/>
          </a:xfrm>
          <a:prstGeom prst="rect">
            <a:avLst/>
          </a:prstGeom>
        </p:spPr>
      </p:pic>
      <p:pic>
        <p:nvPicPr>
          <p:cNvPr id="6" name="Picture 5" descr="S:\Kunden\SilkeHaars\Zubehoer\FGS.png">
            <a:extLst>
              <a:ext uri="{FF2B5EF4-FFF2-40B4-BE49-F238E27FC236}">
                <a16:creationId xmlns:a16="http://schemas.microsoft.com/office/drawing/2014/main" id="{78BEA9BF-5EB8-8330-2887-F8E562B24CE2}"/>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38201" y="227756"/>
            <a:ext cx="1331422" cy="443429"/>
          </a:xfrm>
          <a:prstGeom prst="rect">
            <a:avLst/>
          </a:prstGeom>
          <a:noFill/>
          <a:extLst>
            <a:ext uri="{909E8E84-426E-40DD-AFC4-6F175D3DCCD1}">
              <a14:hiddenFill xmlns:a14="http://schemas.microsoft.com/office/drawing/2010/main">
                <a:solidFill>
                  <a:srgbClr val="FFFFFF"/>
                </a:solidFill>
              </a14:hiddenFill>
            </a:ext>
          </a:extLst>
        </p:spPr>
      </p:pic>
      <p:sp>
        <p:nvSpPr>
          <p:cNvPr id="5" name="Untertitel 12">
            <a:extLst>
              <a:ext uri="{FF2B5EF4-FFF2-40B4-BE49-F238E27FC236}">
                <a16:creationId xmlns:a16="http://schemas.microsoft.com/office/drawing/2014/main" id="{D02D1137-2511-4869-D8F4-7E11878B11E9}"/>
              </a:ext>
            </a:extLst>
          </p:cNvPr>
          <p:cNvSpPr txBox="1">
            <a:spLocks/>
          </p:cNvSpPr>
          <p:nvPr/>
        </p:nvSpPr>
        <p:spPr>
          <a:xfrm>
            <a:off x="737821" y="79991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6134566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206518-26DC-4622-A258-944F411A6731}"/>
              </a:ext>
            </a:extLst>
          </p:cNvPr>
          <p:cNvSpPr>
            <a:spLocks noGrp="1"/>
          </p:cNvSpPr>
          <p:nvPr>
            <p:ph type="title"/>
          </p:nvPr>
        </p:nvSpPr>
        <p:spPr>
          <a:xfrm>
            <a:off x="696732" y="1011939"/>
            <a:ext cx="10515600" cy="725092"/>
          </a:xfrm>
        </p:spPr>
        <p:txBody>
          <a:bodyPr>
            <a:normAutofit/>
          </a:bodyPr>
          <a:lstStyle/>
          <a:p>
            <a:r>
              <a:rPr lang="de-DE" sz="2400" dirty="0">
                <a:latin typeface="Cambria" panose="02040503050406030204" pitchFamily="18" charset="0"/>
                <a:ea typeface="Cambria" panose="02040503050406030204" pitchFamily="18" charset="0"/>
              </a:rPr>
              <a:t>Alternative </a:t>
            </a:r>
            <a:r>
              <a:rPr lang="de-DE" sz="2400" dirty="0" err="1">
                <a:latin typeface="Cambria" panose="02040503050406030204" pitchFamily="18" charset="0"/>
                <a:ea typeface="Cambria" panose="02040503050406030204" pitchFamily="18" charset="0"/>
              </a:rPr>
              <a:t>strategy</a:t>
            </a:r>
            <a:r>
              <a:rPr lang="de-DE" sz="2400" dirty="0">
                <a:latin typeface="Cambria" panose="02040503050406030204" pitchFamily="18" charset="0"/>
                <a:ea typeface="Cambria" panose="02040503050406030204" pitchFamily="18" charset="0"/>
              </a:rPr>
              <a:t> </a:t>
            </a:r>
            <a:r>
              <a:rPr lang="de-DE" sz="2400" dirty="0">
                <a:solidFill>
                  <a:srgbClr val="FFC000"/>
                </a:solidFill>
                <a:latin typeface="Cambria" panose="02040503050406030204" pitchFamily="18" charset="0"/>
                <a:ea typeface="Cambria" panose="02040503050406030204" pitchFamily="18" charset="0"/>
              </a:rPr>
              <a:t>| </a:t>
            </a:r>
            <a:r>
              <a:rPr lang="de-DE" sz="2400" dirty="0" err="1">
                <a:solidFill>
                  <a:srgbClr val="FFC000"/>
                </a:solidFill>
                <a:latin typeface="Cambria" panose="02040503050406030204" pitchFamily="18" charset="0"/>
                <a:ea typeface="Cambria" panose="02040503050406030204" pitchFamily="18" charset="0"/>
              </a:rPr>
              <a:t>Foundation</a:t>
            </a:r>
            <a:r>
              <a:rPr lang="de-DE" sz="2400" dirty="0">
                <a:solidFill>
                  <a:srgbClr val="FFC000"/>
                </a:solidFill>
                <a:latin typeface="Cambria" panose="02040503050406030204" pitchFamily="18" charset="0"/>
                <a:ea typeface="Cambria" panose="02040503050406030204" pitchFamily="18" charset="0"/>
              </a:rPr>
              <a:t>   </a:t>
            </a:r>
            <a:endParaRPr lang="de-DE" sz="2400" dirty="0">
              <a:latin typeface="Cambria" panose="02040503050406030204" pitchFamily="18" charset="0"/>
              <a:ea typeface="Cambria" panose="02040503050406030204" pitchFamily="18" charset="0"/>
            </a:endParaRPr>
          </a:p>
        </p:txBody>
      </p:sp>
      <p:sp>
        <p:nvSpPr>
          <p:cNvPr id="3" name="Inhaltsplatzhalter 2">
            <a:extLst>
              <a:ext uri="{FF2B5EF4-FFF2-40B4-BE49-F238E27FC236}">
                <a16:creationId xmlns:a16="http://schemas.microsoft.com/office/drawing/2014/main" id="{30D7C78F-6D67-4CD3-B043-79E79940C421}"/>
              </a:ext>
            </a:extLst>
          </p:cNvPr>
          <p:cNvSpPr>
            <a:spLocks noGrp="1"/>
          </p:cNvSpPr>
          <p:nvPr>
            <p:ph sz="quarter" idx="14"/>
          </p:nvPr>
        </p:nvSpPr>
        <p:spPr/>
        <p:txBody>
          <a:bodyPr/>
          <a:lstStyle/>
          <a:p>
            <a:pPr lvl="1" algn="just">
              <a:spcBef>
                <a:spcPts val="300"/>
              </a:spcBef>
              <a:buClr>
                <a:srgbClr val="0070C0"/>
              </a:buClr>
              <a:tabLst>
                <a:tab pos="482552" algn="l"/>
              </a:tabLst>
            </a:pPr>
            <a:r>
              <a:rPr lang="en-US" sz="1600" dirty="0">
                <a:latin typeface="Cambria" panose="02040503050406030204" pitchFamily="18" charset="0"/>
                <a:ea typeface="Cambria" panose="02040503050406030204" pitchFamily="18" charset="0"/>
              </a:rPr>
              <a:t>Natural person transfers shares to foundation (best case: tax-privileged)</a:t>
            </a:r>
          </a:p>
          <a:p>
            <a:pPr lvl="1" algn="just">
              <a:spcBef>
                <a:spcPts val="300"/>
              </a:spcBef>
              <a:buClr>
                <a:srgbClr val="0070C0"/>
              </a:buClr>
              <a:tabLst>
                <a:tab pos="482552" algn="l"/>
              </a:tabLst>
            </a:pPr>
            <a:r>
              <a:rPr lang="en-US" sz="1600" dirty="0">
                <a:latin typeface="Cambria" panose="02040503050406030204" pitchFamily="18" charset="0"/>
                <a:ea typeface="Cambria" panose="02040503050406030204" pitchFamily="18" charset="0"/>
              </a:rPr>
              <a:t>If applicable, the foundation sells shares tax-exempt after the end of the lock-up periods for inheritance tax</a:t>
            </a:r>
          </a:p>
          <a:p>
            <a:pPr lvl="1" algn="just">
              <a:spcBef>
                <a:spcPts val="300"/>
              </a:spcBef>
              <a:buClr>
                <a:srgbClr val="0070C0"/>
              </a:buClr>
              <a:tabLst>
                <a:tab pos="482552" algn="l"/>
              </a:tabLst>
            </a:pPr>
            <a:r>
              <a:rPr lang="en-US" sz="1600" dirty="0">
                <a:latin typeface="Cambria" panose="02040503050406030204" pitchFamily="18" charset="0"/>
                <a:ea typeface="Cambria" panose="02040503050406030204" pitchFamily="18" charset="0"/>
              </a:rPr>
              <a:t>Natural person moves abroad.</a:t>
            </a:r>
          </a:p>
          <a:p>
            <a:pPr lvl="1" algn="just">
              <a:spcBef>
                <a:spcPts val="300"/>
              </a:spcBef>
              <a:buClr>
                <a:srgbClr val="0070C0"/>
              </a:buClr>
              <a:tabLst>
                <a:tab pos="482552" algn="l"/>
              </a:tabLst>
            </a:pPr>
            <a:r>
              <a:rPr lang="en-US" sz="1600" dirty="0">
                <a:latin typeface="Cambria" panose="02040503050406030204" pitchFamily="18" charset="0"/>
                <a:ea typeface="Cambria" panose="02040503050406030204" pitchFamily="18" charset="0"/>
              </a:rPr>
              <a:t>Foundation distributes without capital gains tax pursuant to Art. 21 DTT to the former shareholder resident abroad (disputed, Art. 10 DTT may be applicable, e.g. Austria).</a:t>
            </a:r>
          </a:p>
          <a:p>
            <a:pPr lvl="1" algn="just">
              <a:spcBef>
                <a:spcPts val="300"/>
              </a:spcBef>
              <a:buClr>
                <a:srgbClr val="0070C0"/>
              </a:buClr>
              <a:tabLst>
                <a:tab pos="482552" algn="l"/>
              </a:tabLst>
            </a:pPr>
            <a:r>
              <a:rPr lang="en-US" sz="1600" dirty="0">
                <a:latin typeface="Cambria" panose="02040503050406030204" pitchFamily="18" charset="0"/>
                <a:ea typeface="Cambria" panose="02040503050406030204" pitchFamily="18" charset="0"/>
              </a:rPr>
              <a:t>But gift tax in tax class III (30 or 50%) in case of partial liquidation!</a:t>
            </a:r>
          </a:p>
          <a:p>
            <a:pPr marL="774468" lvl="4" indent="-342797">
              <a:spcBef>
                <a:spcPts val="300"/>
              </a:spcBef>
              <a:buClr>
                <a:schemeClr val="accent1"/>
              </a:buClr>
            </a:pPr>
            <a:endParaRPr lang="de-DE" sz="1400" dirty="0"/>
          </a:p>
          <a:p>
            <a:endParaRPr lang="de-DE" dirty="0"/>
          </a:p>
        </p:txBody>
      </p:sp>
      <p:sp>
        <p:nvSpPr>
          <p:cNvPr id="4" name="Inhaltsplatzhalter 3">
            <a:extLst>
              <a:ext uri="{FF2B5EF4-FFF2-40B4-BE49-F238E27FC236}">
                <a16:creationId xmlns:a16="http://schemas.microsoft.com/office/drawing/2014/main" id="{07E445F4-23D3-44ED-973E-FEB75580B5AA}"/>
              </a:ext>
            </a:extLst>
          </p:cNvPr>
          <p:cNvSpPr>
            <a:spLocks noGrp="1"/>
          </p:cNvSpPr>
          <p:nvPr>
            <p:ph sz="quarter" idx="15"/>
          </p:nvPr>
        </p:nvSpPr>
        <p:spPr/>
        <p:txBody>
          <a:bodyPr/>
          <a:lstStyle/>
          <a:p>
            <a:pPr marL="342797" indent="-342797" algn="just">
              <a:spcBef>
                <a:spcPts val="300"/>
              </a:spcBef>
              <a:buClr>
                <a:schemeClr val="accent1"/>
              </a:buClr>
              <a:buFont typeface="Wingdings" panose="05000000000000000000" pitchFamily="2" charset="2"/>
              <a:buChar char="è"/>
            </a:pPr>
            <a:r>
              <a:rPr lang="en-US" sz="1600" b="1" dirty="0">
                <a:latin typeface="Cambria" panose="02040503050406030204" pitchFamily="18" charset="0"/>
                <a:ea typeface="Cambria" panose="02040503050406030204" pitchFamily="18" charset="0"/>
              </a:rPr>
              <a:t>No exit tax </a:t>
            </a:r>
            <a:r>
              <a:rPr lang="en-US" sz="1600" dirty="0">
                <a:latin typeface="Cambria" panose="02040503050406030204" pitchFamily="18" charset="0"/>
                <a:ea typeface="Cambria" panose="02040503050406030204" pitchFamily="18" charset="0"/>
              </a:rPr>
              <a:t>because the beneficiary of the foundation does not hold any shares and the foundation does not move away </a:t>
            </a:r>
          </a:p>
          <a:p>
            <a:pPr marL="342797" indent="-342797" algn="just">
              <a:spcBef>
                <a:spcPts val="300"/>
              </a:spcBef>
              <a:buClr>
                <a:schemeClr val="accent1"/>
              </a:buClr>
              <a:buFont typeface="Wingdings" panose="05000000000000000000" pitchFamily="2" charset="2"/>
              <a:buChar char="è"/>
            </a:pPr>
            <a:r>
              <a:rPr lang="en-US" sz="1600" dirty="0">
                <a:latin typeface="Cambria" panose="02040503050406030204" pitchFamily="18" charset="0"/>
                <a:ea typeface="Cambria" panose="02040503050406030204" pitchFamily="18" charset="0"/>
              </a:rPr>
              <a:t>Foundation is subject to </a:t>
            </a:r>
            <a:r>
              <a:rPr lang="en-US" sz="1600" b="1" dirty="0">
                <a:latin typeface="Cambria" panose="02040503050406030204" pitchFamily="18" charset="0"/>
                <a:ea typeface="Cambria" panose="02040503050406030204" pitchFamily="18" charset="0"/>
              </a:rPr>
              <a:t>foundation supervision</a:t>
            </a:r>
            <a:r>
              <a:rPr lang="en-US" sz="1600" dirty="0">
                <a:latin typeface="Cambria" panose="02040503050406030204" pitchFamily="18" charset="0"/>
                <a:ea typeface="Cambria" panose="02040503050406030204" pitchFamily="18" charset="0"/>
              </a:rPr>
              <a:t>, dissolution not possible without further ado </a:t>
            </a:r>
          </a:p>
          <a:p>
            <a:pPr marL="342797" indent="-342797" algn="just">
              <a:spcBef>
                <a:spcPts val="300"/>
              </a:spcBef>
              <a:buClr>
                <a:schemeClr val="accent1"/>
              </a:buClr>
              <a:buFont typeface="Wingdings" panose="05000000000000000000" pitchFamily="2" charset="2"/>
              <a:buChar char="è"/>
            </a:pPr>
            <a:r>
              <a:rPr lang="en-US" sz="1600" dirty="0">
                <a:latin typeface="Cambria" panose="02040503050406030204" pitchFamily="18" charset="0"/>
                <a:ea typeface="Cambria" panose="02040503050406030204" pitchFamily="18" charset="0"/>
              </a:rPr>
              <a:t>Take into account the qualification of the domestic foundation according to the respective law (transparent foundation?) </a:t>
            </a:r>
          </a:p>
          <a:p>
            <a:endParaRPr lang="de-DE" dirty="0"/>
          </a:p>
        </p:txBody>
      </p:sp>
      <p:sp>
        <p:nvSpPr>
          <p:cNvPr id="7" name="Foliennummernplatzhalter 6">
            <a:extLst>
              <a:ext uri="{FF2B5EF4-FFF2-40B4-BE49-F238E27FC236}">
                <a16:creationId xmlns:a16="http://schemas.microsoft.com/office/drawing/2014/main" id="{DB5F2398-593C-4E7F-98E8-50B53D6FBDC4}"/>
              </a:ext>
            </a:extLst>
          </p:cNvPr>
          <p:cNvSpPr>
            <a:spLocks noGrp="1"/>
          </p:cNvSpPr>
          <p:nvPr>
            <p:ph type="sldNum" sz="quarter" idx="18"/>
          </p:nvPr>
        </p:nvSpPr>
        <p:spPr/>
        <p:txBody>
          <a:bodyPr/>
          <a:lstStyle/>
          <a:p>
            <a:fld id="{761F7C54-956E-4035-96E5-E3754B49D8A7}" type="slidenum">
              <a:rPr lang="de-DE" smtClean="0"/>
              <a:pPr/>
              <a:t>25</a:t>
            </a:fld>
            <a:endParaRPr lang="de-DE" dirty="0"/>
          </a:p>
        </p:txBody>
      </p:sp>
      <p:sp>
        <p:nvSpPr>
          <p:cNvPr id="8" name="Textplatzhalter 7">
            <a:extLst>
              <a:ext uri="{FF2B5EF4-FFF2-40B4-BE49-F238E27FC236}">
                <a16:creationId xmlns:a16="http://schemas.microsoft.com/office/drawing/2014/main" id="{1B35DD9F-C5B6-491A-8308-E83A08614A9B}"/>
              </a:ext>
            </a:extLst>
          </p:cNvPr>
          <p:cNvSpPr>
            <a:spLocks noGrp="1"/>
          </p:cNvSpPr>
          <p:nvPr>
            <p:ph type="body" sz="quarter" idx="19"/>
          </p:nvPr>
        </p:nvSpPr>
        <p:spPr>
          <a:xfrm>
            <a:off x="689076" y="1746681"/>
            <a:ext cx="4103461" cy="576112"/>
          </a:xfrm>
          <a:solidFill>
            <a:schemeClr val="tx1">
              <a:lumMod val="50000"/>
              <a:lumOff val="50000"/>
            </a:schemeClr>
          </a:solidFill>
        </p:spPr>
        <p:txBody>
          <a:bodyPr/>
          <a:lstStyle/>
          <a:p>
            <a:pPr indent="0">
              <a:buNone/>
            </a:pPr>
            <a:r>
              <a:rPr lang="de-DE" dirty="0" err="1"/>
              <a:t>Requirements</a:t>
            </a:r>
            <a:r>
              <a:rPr lang="de-DE" dirty="0"/>
              <a:t>: </a:t>
            </a:r>
          </a:p>
        </p:txBody>
      </p:sp>
      <p:sp>
        <p:nvSpPr>
          <p:cNvPr id="9" name="Textplatzhalter 8">
            <a:extLst>
              <a:ext uri="{FF2B5EF4-FFF2-40B4-BE49-F238E27FC236}">
                <a16:creationId xmlns:a16="http://schemas.microsoft.com/office/drawing/2014/main" id="{B693802C-97B6-4571-AB20-3FBD3752133D}"/>
              </a:ext>
            </a:extLst>
          </p:cNvPr>
          <p:cNvSpPr>
            <a:spLocks noGrp="1"/>
          </p:cNvSpPr>
          <p:nvPr>
            <p:ph type="body" sz="quarter" idx="20"/>
          </p:nvPr>
        </p:nvSpPr>
        <p:spPr>
          <a:solidFill>
            <a:schemeClr val="tx1">
              <a:lumMod val="50000"/>
              <a:lumOff val="50000"/>
            </a:schemeClr>
          </a:solidFill>
        </p:spPr>
        <p:txBody>
          <a:bodyPr/>
          <a:lstStyle/>
          <a:p>
            <a:pPr marL="0">
              <a:buNone/>
            </a:pPr>
            <a:r>
              <a:rPr lang="de-DE" sz="1799" dirty="0"/>
              <a:t>Consequences: </a:t>
            </a:r>
          </a:p>
        </p:txBody>
      </p:sp>
      <p:pic>
        <p:nvPicPr>
          <p:cNvPr id="14" name="Grafik 13" descr="Kreis mit Pfeil nach rechts">
            <a:extLst>
              <a:ext uri="{FF2B5EF4-FFF2-40B4-BE49-F238E27FC236}">
                <a16:creationId xmlns:a16="http://schemas.microsoft.com/office/drawing/2014/main" id="{1090C3C9-8F7F-4173-8C6C-13305EF0CD76}"/>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5376107" y="2709107"/>
            <a:ext cx="503925" cy="503925"/>
          </a:xfrm>
          <a:prstGeom prst="rect">
            <a:avLst/>
          </a:prstGeom>
        </p:spPr>
      </p:pic>
      <p:pic>
        <p:nvPicPr>
          <p:cNvPr id="15" name="Grafik 14" descr="Kreis mit Pfeil nach rechts">
            <a:extLst>
              <a:ext uri="{FF2B5EF4-FFF2-40B4-BE49-F238E27FC236}">
                <a16:creationId xmlns:a16="http://schemas.microsoft.com/office/drawing/2014/main" id="{60D5B628-A1DC-4351-A843-D0D090ACA46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5412102" y="3678942"/>
            <a:ext cx="503925" cy="503925"/>
          </a:xfrm>
          <a:prstGeom prst="rect">
            <a:avLst/>
          </a:prstGeom>
        </p:spPr>
      </p:pic>
      <p:pic>
        <p:nvPicPr>
          <p:cNvPr id="16" name="Grafik 15" descr="Kreis mit Pfeil nach rechts">
            <a:extLst>
              <a:ext uri="{FF2B5EF4-FFF2-40B4-BE49-F238E27FC236}">
                <a16:creationId xmlns:a16="http://schemas.microsoft.com/office/drawing/2014/main" id="{72F9D005-77A0-487F-8BD6-1E036C740D1F}"/>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5412101" y="4668559"/>
            <a:ext cx="503925" cy="503925"/>
          </a:xfrm>
          <a:prstGeom prst="rect">
            <a:avLst/>
          </a:prstGeom>
        </p:spPr>
      </p:pic>
      <p:pic>
        <p:nvPicPr>
          <p:cNvPr id="6" name="Picture 5" descr="S:\Kunden\SilkeHaars\Zubehoer\FGS.png">
            <a:extLst>
              <a:ext uri="{FF2B5EF4-FFF2-40B4-BE49-F238E27FC236}">
                <a16:creationId xmlns:a16="http://schemas.microsoft.com/office/drawing/2014/main" id="{4D4FEA27-980F-6E53-935C-54AC5142B928}"/>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38201" y="227756"/>
            <a:ext cx="1331422" cy="443429"/>
          </a:xfrm>
          <a:prstGeom prst="rect">
            <a:avLst/>
          </a:prstGeom>
          <a:noFill/>
          <a:extLst>
            <a:ext uri="{909E8E84-426E-40DD-AFC4-6F175D3DCCD1}">
              <a14:hiddenFill xmlns:a14="http://schemas.microsoft.com/office/drawing/2010/main">
                <a:solidFill>
                  <a:srgbClr val="FFFFFF"/>
                </a:solidFill>
              </a14:hiddenFill>
            </a:ext>
          </a:extLst>
        </p:spPr>
      </p:pic>
      <p:sp>
        <p:nvSpPr>
          <p:cNvPr id="5" name="Untertitel 12">
            <a:extLst>
              <a:ext uri="{FF2B5EF4-FFF2-40B4-BE49-F238E27FC236}">
                <a16:creationId xmlns:a16="http://schemas.microsoft.com/office/drawing/2014/main" id="{1B158EC8-340B-2F9D-0AF5-A7DBC1275EF4}"/>
              </a:ext>
            </a:extLst>
          </p:cNvPr>
          <p:cNvSpPr txBox="1">
            <a:spLocks/>
          </p:cNvSpPr>
          <p:nvPr/>
        </p:nvSpPr>
        <p:spPr>
          <a:xfrm>
            <a:off x="737821" y="79991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41847448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12192000" cy="7071952"/>
          </a:xfrm>
        </p:spPr>
      </p:pic>
      <p:sp>
        <p:nvSpPr>
          <p:cNvPr id="2" name="Title 1"/>
          <p:cNvSpPr>
            <a:spLocks noGrp="1"/>
          </p:cNvSpPr>
          <p:nvPr>
            <p:ph type="title"/>
          </p:nvPr>
        </p:nvSpPr>
        <p:spPr>
          <a:xfrm>
            <a:off x="392112" y="569814"/>
            <a:ext cx="9847587" cy="417250"/>
          </a:xfrm>
        </p:spPr>
        <p:txBody>
          <a:bodyPr>
            <a:noAutofit/>
          </a:bodyPr>
          <a:lstStyle/>
          <a:p>
            <a:r>
              <a:rPr lang="en-GB" sz="2400" b="1" dirty="0">
                <a:latin typeface="Arial" panose="020B0604020202020204" pitchFamily="34" charset="0"/>
                <a:cs typeface="Arial" panose="020B0604020202020204" pitchFamily="34" charset="0"/>
              </a:rPr>
              <a:t>Preliminary conclusions</a:t>
            </a:r>
          </a:p>
        </p:txBody>
      </p:sp>
      <p:sp>
        <p:nvSpPr>
          <p:cNvPr id="3" name="TextBox 2">
            <a:extLst>
              <a:ext uri="{FF2B5EF4-FFF2-40B4-BE49-F238E27FC236}">
                <a16:creationId xmlns:a16="http://schemas.microsoft.com/office/drawing/2014/main" id="{B5BC6C10-1ADD-97F3-4955-1740A39F8A0F}"/>
              </a:ext>
            </a:extLst>
          </p:cNvPr>
          <p:cNvSpPr txBox="1"/>
          <p:nvPr/>
        </p:nvSpPr>
        <p:spPr>
          <a:xfrm>
            <a:off x="565264" y="1529542"/>
            <a:ext cx="10839797" cy="3662541"/>
          </a:xfrm>
          <a:prstGeom prst="rect">
            <a:avLst/>
          </a:prstGeom>
          <a:noFill/>
        </p:spPr>
        <p:txBody>
          <a:bodyPr wrap="square" rtlCol="0">
            <a:spAutoFit/>
          </a:bodyPr>
          <a:lstStyle/>
          <a:p>
            <a:pPr marL="444500" indent="-444500">
              <a:spcBef>
                <a:spcPts val="600"/>
              </a:spcBef>
              <a:spcAft>
                <a:spcPts val="600"/>
              </a:spcAft>
              <a:tabLst>
                <a:tab pos="449263" algn="l"/>
              </a:tabLst>
            </a:pPr>
            <a:r>
              <a:rPr lang="en-GB" sz="2400" dirty="0"/>
              <a:t>1.	Increasing relevance of jurisdictions with preferential tax regimes / taxpayer friendly approach for migrating HNWI</a:t>
            </a:r>
          </a:p>
          <a:p>
            <a:pPr>
              <a:spcBef>
                <a:spcPts val="600"/>
              </a:spcBef>
              <a:spcAft>
                <a:spcPts val="600"/>
              </a:spcAft>
              <a:tabLst>
                <a:tab pos="449263" algn="l"/>
              </a:tabLst>
            </a:pPr>
            <a:r>
              <a:rPr lang="en-GB" sz="2400" dirty="0"/>
              <a:t>2.	No denial of treaty benefits for individuals subject to preferential tax regimes</a:t>
            </a:r>
          </a:p>
          <a:p>
            <a:pPr>
              <a:spcBef>
                <a:spcPts val="600"/>
              </a:spcBef>
              <a:spcAft>
                <a:spcPts val="600"/>
              </a:spcAft>
              <a:tabLst>
                <a:tab pos="449263" algn="l"/>
              </a:tabLst>
            </a:pPr>
            <a:r>
              <a:rPr lang="en-GB" sz="2400" dirty="0"/>
              <a:t>3.	Pressure towards creation of international level playing field for taxation of HNWI</a:t>
            </a:r>
          </a:p>
          <a:p>
            <a:pPr marL="457200" indent="-457200">
              <a:spcBef>
                <a:spcPts val="600"/>
              </a:spcBef>
              <a:spcAft>
                <a:spcPts val="600"/>
              </a:spcAft>
              <a:buAutoNum type="arabicPeriod" startAt="4"/>
              <a:tabLst>
                <a:tab pos="449263" algn="l"/>
              </a:tabLst>
            </a:pPr>
            <a:r>
              <a:rPr lang="en-GB" sz="2400" dirty="0"/>
              <a:t>Mobility of HNWI entails</a:t>
            </a:r>
          </a:p>
          <a:p>
            <a:pPr lvl="1">
              <a:spcBef>
                <a:spcPts val="600"/>
              </a:spcBef>
              <a:spcAft>
                <a:spcPts val="600"/>
              </a:spcAft>
              <a:tabLst>
                <a:tab pos="449263" algn="l"/>
              </a:tabLst>
            </a:pPr>
            <a:r>
              <a:rPr lang="en-GB" sz="2400" dirty="0"/>
              <a:t>(a) to bear different interpretations in source and residence country in mind, and (b) not only to look at preferential tax regimes for HNWI but also at options for alternative wealth </a:t>
            </a:r>
            <a:r>
              <a:rPr lang="en-GB" sz="2400"/>
              <a:t>holding structures</a:t>
            </a:r>
            <a:endParaRPr lang="en-GB" sz="2400" dirty="0"/>
          </a:p>
        </p:txBody>
      </p:sp>
      <p:sp>
        <p:nvSpPr>
          <p:cNvPr id="5" name="Untertitel 12">
            <a:extLst>
              <a:ext uri="{FF2B5EF4-FFF2-40B4-BE49-F238E27FC236}">
                <a16:creationId xmlns:a16="http://schemas.microsoft.com/office/drawing/2014/main" id="{3EDA7785-61C5-2213-D15C-4182AE5EF7F5}"/>
              </a:ext>
            </a:extLst>
          </p:cNvPr>
          <p:cNvSpPr txBox="1">
            <a:spLocks/>
          </p:cNvSpPr>
          <p:nvPr/>
        </p:nvSpPr>
        <p:spPr>
          <a:xfrm>
            <a:off x="392112" y="19014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31292930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98425"/>
            <a:ext cx="12192000" cy="7205133"/>
          </a:xfrm>
        </p:spPr>
      </p:pic>
      <p:sp>
        <p:nvSpPr>
          <p:cNvPr id="2" name="Title 1"/>
          <p:cNvSpPr>
            <a:spLocks noGrp="1"/>
          </p:cNvSpPr>
          <p:nvPr>
            <p:ph type="title"/>
          </p:nvPr>
        </p:nvSpPr>
        <p:spPr>
          <a:xfrm>
            <a:off x="1172207" y="1842753"/>
            <a:ext cx="9511850" cy="2005546"/>
          </a:xfrm>
        </p:spPr>
        <p:txBody>
          <a:bodyPr>
            <a:noAutofit/>
          </a:bodyPr>
          <a:lstStyle/>
          <a:p>
            <a:r>
              <a:rPr lang="en-GB" sz="4000" dirty="0">
                <a:effectLst/>
                <a:latin typeface="Calibri" panose="020F0502020204030204" pitchFamily="34" charset="0"/>
                <a:ea typeface="Calibri" panose="020F0502020204030204" pitchFamily="34" charset="0"/>
                <a:cs typeface="Times New Roman" panose="02020603050405020304" pitchFamily="18" charset="0"/>
              </a:rPr>
              <a:t>Mobility of HNWI: Appendix (Spain, Portugal, Switzerland)</a:t>
            </a:r>
            <a:endParaRPr lang="en-GB" sz="4800" dirty="0"/>
          </a:p>
        </p:txBody>
      </p:sp>
      <p:pic>
        <p:nvPicPr>
          <p:cNvPr id="7" name="Picture 6">
            <a:extLst>
              <a:ext uri="{FF2B5EF4-FFF2-40B4-BE49-F238E27FC236}">
                <a16:creationId xmlns:a16="http://schemas.microsoft.com/office/drawing/2014/main" id="{F4944761-95C1-6431-7AEE-AE1130158FED}"/>
              </a:ext>
            </a:extLst>
          </p:cNvPr>
          <p:cNvPicPr>
            <a:picLocks noChangeAspect="1"/>
          </p:cNvPicPr>
          <p:nvPr/>
        </p:nvPicPr>
        <p:blipFill>
          <a:blip r:embed="rId3"/>
          <a:stretch>
            <a:fillRect/>
          </a:stretch>
        </p:blipFill>
        <p:spPr>
          <a:xfrm>
            <a:off x="0" y="97028"/>
            <a:ext cx="4038601" cy="1517124"/>
          </a:xfrm>
          <a:prstGeom prst="rect">
            <a:avLst/>
          </a:prstGeom>
        </p:spPr>
      </p:pic>
    </p:spTree>
    <p:extLst>
      <p:ext uri="{BB962C8B-B14F-4D97-AF65-F5344CB8AC3E}">
        <p14:creationId xmlns:p14="http://schemas.microsoft.com/office/powerpoint/2010/main" val="41793546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9A6147-893C-41F4-B31A-3CF89EE711C2}"/>
              </a:ext>
            </a:extLst>
          </p:cNvPr>
          <p:cNvSpPr>
            <a:spLocks noGrp="1"/>
          </p:cNvSpPr>
          <p:nvPr>
            <p:ph type="title"/>
          </p:nvPr>
        </p:nvSpPr>
        <p:spPr>
          <a:xfrm>
            <a:off x="1511659" y="463069"/>
            <a:ext cx="8580436" cy="594360"/>
          </a:xfrm>
        </p:spPr>
        <p:txBody>
          <a:bodyPr>
            <a:noAutofit/>
          </a:bodyPr>
          <a:lstStyle/>
          <a:p>
            <a:r>
              <a:rPr lang="en-US" sz="2800" cap="none" dirty="0">
                <a:solidFill>
                  <a:schemeClr val="tx2"/>
                </a:solidFill>
                <a:latin typeface="Verdana" panose="020B0604030504040204" pitchFamily="34" charset="0"/>
                <a:ea typeface="Verdana" panose="020B0604030504040204" pitchFamily="34" charset="0"/>
              </a:rPr>
              <a:t>Spain – special tax regime</a:t>
            </a:r>
            <a:endParaRPr lang="es-ES" sz="2800" cap="none" dirty="0">
              <a:solidFill>
                <a:schemeClr val="tx2"/>
              </a:solidFill>
            </a:endParaRPr>
          </a:p>
        </p:txBody>
      </p:sp>
      <p:sp>
        <p:nvSpPr>
          <p:cNvPr id="4" name="CuadroTexto 3">
            <a:extLst>
              <a:ext uri="{FF2B5EF4-FFF2-40B4-BE49-F238E27FC236}">
                <a16:creationId xmlns:a16="http://schemas.microsoft.com/office/drawing/2014/main" id="{3B950483-9934-0843-EA36-E9D920467048}"/>
              </a:ext>
            </a:extLst>
          </p:cNvPr>
          <p:cNvSpPr txBox="1"/>
          <p:nvPr/>
        </p:nvSpPr>
        <p:spPr>
          <a:xfrm>
            <a:off x="1417609" y="1243323"/>
            <a:ext cx="9020353" cy="5420266"/>
          </a:xfrm>
          <a:prstGeom prst="rect">
            <a:avLst/>
          </a:prstGeom>
          <a:noFill/>
        </p:spPr>
        <p:txBody>
          <a:bodyPr wrap="square">
            <a:spAutoFit/>
          </a:bodyPr>
          <a:lstStyle/>
          <a:p>
            <a:pPr marL="285750" indent="-285750" algn="just">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r>
              <a:rPr lang="en-US" sz="1000" kern="0" dirty="0">
                <a:solidFill>
                  <a:srgbClr val="57626F"/>
                </a:solidFill>
                <a:latin typeface="Verdana" panose="020B0604030504040204" pitchFamily="34" charset="0"/>
                <a:ea typeface="Verdana" panose="020B0604030504040204" pitchFamily="34" charset="0"/>
              </a:rPr>
              <a:t>In order to qualify for the special regime, the following conditions must be met</a:t>
            </a:r>
            <a:r>
              <a:rPr lang="en-US" sz="1000" b="0" kern="0" dirty="0">
                <a:latin typeface="Verdana" panose="020B0604030504040204" pitchFamily="34" charset="0"/>
                <a:ea typeface="Verdana" panose="020B0604030504040204" pitchFamily="34" charset="0"/>
                <a:cs typeface="+mn-cs"/>
              </a:rPr>
              <a:t>:</a:t>
            </a:r>
          </a:p>
          <a:p>
            <a:pPr marL="285750" indent="-285750" algn="just">
              <a:lnSpc>
                <a:spcPct val="120000"/>
              </a:lnSpc>
              <a:spcBef>
                <a:spcPts val="0"/>
              </a:spcBef>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kern="0" dirty="0">
              <a:solidFill>
                <a:srgbClr val="57626F"/>
              </a:solidFill>
              <a:latin typeface="Verdana" panose="020B0604030504040204" pitchFamily="34" charset="0"/>
              <a:ea typeface="Verdana" panose="020B0604030504040204" pitchFamily="34" charset="0"/>
            </a:endParaRPr>
          </a:p>
          <a:p>
            <a:pPr marL="177800" indent="-177800" algn="just">
              <a:lnSpc>
                <a:spcPct val="120000"/>
              </a:lnSpc>
              <a:spcBef>
                <a:spcPts val="0"/>
              </a:spcBef>
              <a:buClr>
                <a:srgbClr val="57626F"/>
              </a:buClr>
              <a:defRPr sz="1800" b="0" i="0" u="none" strike="noStrike" kern="0" cap="none" spc="0" baseline="0">
                <a:solidFill>
                  <a:srgbClr val="000000"/>
                </a:solidFill>
                <a:uFillTx/>
              </a:defRPr>
            </a:pPr>
            <a:endParaRPr lang="en-US" sz="1400" dirty="0">
              <a:solidFill>
                <a:srgbClr val="57626F"/>
              </a:solidFill>
              <a:latin typeface="Verdana" panose="020B0604030504040204" pitchFamily="34" charset="0"/>
              <a:ea typeface="Verdana" panose="020B0604030504040204" pitchFamily="34" charset="0"/>
            </a:endParaRPr>
          </a:p>
          <a:p>
            <a:pPr marL="177800" indent="-177800" algn="just">
              <a:lnSpc>
                <a:spcPct val="120000"/>
              </a:lnSpc>
              <a:spcBef>
                <a:spcPts val="0"/>
              </a:spcBef>
              <a:buClr>
                <a:srgbClr val="57626F"/>
              </a:buClr>
              <a:defRPr sz="1800" b="0" i="0" u="none" strike="noStrike" kern="0" cap="none" spc="0" baseline="0">
                <a:solidFill>
                  <a:srgbClr val="000000"/>
                </a:solidFill>
                <a:uFillTx/>
              </a:defRPr>
            </a:pPr>
            <a:endParaRPr lang="en-US" sz="1400" dirty="0">
              <a:solidFill>
                <a:srgbClr val="57626F"/>
              </a:solidFill>
              <a:latin typeface="Verdana" panose="020B0604030504040204" pitchFamily="34" charset="0"/>
              <a:ea typeface="Verdana" panose="020B0604030504040204" pitchFamily="34" charset="0"/>
            </a:endParaRPr>
          </a:p>
          <a:p>
            <a:pPr marL="177800" indent="-177800" eaLnBrk="1" fontAlgn="auto">
              <a:lnSpc>
                <a:spcPct val="120000"/>
              </a:lnSpc>
              <a:spcBef>
                <a:spcPts val="0"/>
              </a:spcBef>
              <a:spcAft>
                <a:spcPts val="0"/>
              </a:spcAft>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b="0" kern="0" dirty="0">
              <a:latin typeface="Verdana" panose="020B0604030504040204" pitchFamily="34" charset="0"/>
              <a:ea typeface="Verdana" panose="020B0604030504040204" pitchFamily="34" charset="0"/>
              <a:cs typeface="+mn-cs"/>
            </a:endParaRPr>
          </a:p>
          <a:p>
            <a:pPr marL="177800" indent="-177800" eaLnBrk="1" fontAlgn="auto">
              <a:lnSpc>
                <a:spcPct val="120000"/>
              </a:lnSpc>
              <a:spcBef>
                <a:spcPts val="0"/>
              </a:spcBef>
              <a:spcAft>
                <a:spcPts val="0"/>
              </a:spcAft>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kern="0" dirty="0">
              <a:latin typeface="Verdana" panose="020B0604030504040204" pitchFamily="34" charset="0"/>
              <a:ea typeface="Verdana" panose="020B0604030504040204" pitchFamily="34" charset="0"/>
            </a:endParaRPr>
          </a:p>
          <a:p>
            <a:pPr marL="177800" indent="-177800" eaLnBrk="1" fontAlgn="auto">
              <a:lnSpc>
                <a:spcPct val="120000"/>
              </a:lnSpc>
              <a:spcBef>
                <a:spcPts val="0"/>
              </a:spcBef>
              <a:spcAft>
                <a:spcPts val="0"/>
              </a:spcAft>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b="0" kern="0" dirty="0">
              <a:latin typeface="Verdana" panose="020B0604030504040204" pitchFamily="34" charset="0"/>
              <a:ea typeface="Verdana" panose="020B0604030504040204" pitchFamily="34" charset="0"/>
              <a:cs typeface="+mn-cs"/>
            </a:endParaRPr>
          </a:p>
          <a:p>
            <a:pPr marL="177800" indent="-177800" eaLnBrk="1" fontAlgn="auto">
              <a:lnSpc>
                <a:spcPct val="120000"/>
              </a:lnSpc>
              <a:spcBef>
                <a:spcPts val="0"/>
              </a:spcBef>
              <a:spcAft>
                <a:spcPts val="0"/>
              </a:spcAft>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kern="0" dirty="0">
              <a:latin typeface="Verdana" panose="020B0604030504040204" pitchFamily="34" charset="0"/>
              <a:ea typeface="Verdana" panose="020B0604030504040204" pitchFamily="34" charset="0"/>
            </a:endParaRPr>
          </a:p>
          <a:p>
            <a:pPr marL="171450" indent="-171450" eaLnBrk="1" fontAlgn="auto">
              <a:lnSpc>
                <a:spcPct val="120000"/>
              </a:lnSpc>
              <a:spcBef>
                <a:spcPts val="0"/>
              </a:spcBef>
              <a:spcAft>
                <a:spcPts val="0"/>
              </a:spcAft>
              <a:buClr>
                <a:srgbClr val="57626F"/>
              </a:buClr>
              <a:buFont typeface="Arial" panose="020B0604020202020204" pitchFamily="34" charset="0"/>
              <a:buChar char="•"/>
              <a:defRPr sz="1800" b="0" i="0" u="none" strike="noStrike" kern="0" cap="none" spc="0" baseline="0">
                <a:solidFill>
                  <a:srgbClr val="000000"/>
                </a:solidFill>
                <a:uFillTx/>
              </a:defRPr>
            </a:pPr>
            <a:endParaRPr lang="en-US" sz="1000" kern="0" dirty="0">
              <a:solidFill>
                <a:srgbClr val="57626F"/>
              </a:solidFill>
              <a:latin typeface="Verdana" panose="020B0604030504040204" pitchFamily="34" charset="0"/>
              <a:ea typeface="Verdana" panose="020B0604030504040204" pitchFamily="34" charset="0"/>
            </a:endParaRP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r>
              <a:rPr lang="en-US" sz="1000" kern="0" dirty="0">
                <a:solidFill>
                  <a:srgbClr val="57626F"/>
                </a:solidFill>
                <a:latin typeface="Verdana" panose="020B0604030504040204" pitchFamily="34" charset="0"/>
                <a:ea typeface="Verdana" panose="020B0604030504040204" pitchFamily="34" charset="0"/>
              </a:rPr>
              <a:t>Tax payers must notify the Spanish tax authorities that they opt for the regime within 6 months (Social Security dates are considered for this purpose). </a:t>
            </a:r>
            <a:r>
              <a:rPr lang="en-AU" sz="1000" kern="0" dirty="0">
                <a:solidFill>
                  <a:srgbClr val="57626F"/>
                </a:solidFill>
                <a:latin typeface="Verdana" panose="020B0604030504040204" pitchFamily="34" charset="0"/>
                <a:ea typeface="Verdana" panose="020B0604030504040204" pitchFamily="34" charset="0"/>
              </a:rPr>
              <a:t>Proper link between migration and beginning of the </a:t>
            </a:r>
            <a:r>
              <a:rPr lang="en-AU" sz="1000" kern="0" dirty="0" err="1">
                <a:solidFill>
                  <a:srgbClr val="57626F"/>
                </a:solidFill>
                <a:latin typeface="Verdana" panose="020B0604030504040204" pitchFamily="34" charset="0"/>
                <a:ea typeface="Verdana" panose="020B0604030504040204" pitchFamily="34" charset="0"/>
              </a:rPr>
              <a:t>labor</a:t>
            </a:r>
            <a:r>
              <a:rPr lang="en-AU" sz="1000" kern="0" dirty="0">
                <a:solidFill>
                  <a:srgbClr val="57626F"/>
                </a:solidFill>
                <a:latin typeface="Verdana" panose="020B0604030504040204" pitchFamily="34" charset="0"/>
                <a:ea typeface="Verdana" panose="020B0604030504040204" pitchFamily="34" charset="0"/>
              </a:rPr>
              <a:t>/directorship relationship.</a:t>
            </a:r>
          </a:p>
          <a:p>
            <a:pPr marL="171450" indent="-171450" eaLnBrk="1" fontAlgn="auto">
              <a:lnSpc>
                <a:spcPct val="120000"/>
              </a:lnSpc>
              <a:spcBef>
                <a:spcPts val="0"/>
              </a:spcBef>
              <a:spcAft>
                <a:spcPts val="0"/>
              </a:spcAft>
              <a:buClr>
                <a:srgbClr val="57626F"/>
              </a:buClr>
              <a:buFont typeface="Arial" panose="020B0604020202020204" pitchFamily="34" charset="0"/>
              <a:buChar char="•"/>
              <a:defRPr sz="1800" b="0" i="0" u="none" strike="noStrike" kern="0" cap="none" spc="0" baseline="0">
                <a:solidFill>
                  <a:srgbClr val="000000"/>
                </a:solidFill>
                <a:uFillTx/>
              </a:defRPr>
            </a:pPr>
            <a:endParaRPr lang="en-US" sz="1000" kern="0" dirty="0">
              <a:solidFill>
                <a:srgbClr val="57626F"/>
              </a:solidFill>
              <a:latin typeface="Verdana" panose="020B0604030504040204" pitchFamily="34" charset="0"/>
              <a:ea typeface="Verdana" panose="020B0604030504040204" pitchFamily="34" charset="0"/>
            </a:endParaRP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r>
              <a:rPr lang="en-US" sz="1000" kern="0" dirty="0">
                <a:solidFill>
                  <a:srgbClr val="57626F"/>
                </a:solidFill>
                <a:latin typeface="Verdana" panose="020B0604030504040204" pitchFamily="34" charset="0"/>
                <a:ea typeface="Verdana" panose="020B0604030504040204" pitchFamily="34" charset="0"/>
              </a:rPr>
              <a:t>It applies to the year of migration + </a:t>
            </a:r>
            <a:r>
              <a:rPr lang="en-US" sz="1000" b="1" kern="0" dirty="0">
                <a:solidFill>
                  <a:srgbClr val="57626F"/>
                </a:solidFill>
                <a:latin typeface="Verdana" panose="020B0604030504040204" pitchFamily="34" charset="0"/>
                <a:ea typeface="Verdana" panose="020B0604030504040204" pitchFamily="34" charset="0"/>
              </a:rPr>
              <a:t>5 years</a:t>
            </a:r>
            <a:r>
              <a:rPr lang="en-US" sz="1000" kern="0" dirty="0">
                <a:solidFill>
                  <a:srgbClr val="57626F"/>
                </a:solidFill>
                <a:latin typeface="Verdana" panose="020B0604030504040204" pitchFamily="34" charset="0"/>
                <a:ea typeface="Verdana" panose="020B0604030504040204" pitchFamily="34" charset="0"/>
              </a:rPr>
              <a:t>. </a:t>
            </a:r>
            <a:endParaRPr lang="es-ES" sz="1000" kern="0" dirty="0">
              <a:solidFill>
                <a:srgbClr val="57626F"/>
              </a:solidFill>
              <a:latin typeface="Verdana" panose="020B0604030504040204" pitchFamily="34" charset="0"/>
              <a:ea typeface="Verdana" panose="020B0604030504040204" pitchFamily="34" charset="0"/>
            </a:endParaRPr>
          </a:p>
          <a:p>
            <a:pPr marL="171450" indent="-171450" eaLnBrk="1" fontAlgn="auto">
              <a:lnSpc>
                <a:spcPct val="120000"/>
              </a:lnSpc>
              <a:spcBef>
                <a:spcPts val="0"/>
              </a:spcBef>
              <a:spcAft>
                <a:spcPts val="0"/>
              </a:spcAft>
              <a:buClr>
                <a:srgbClr val="57626F"/>
              </a:buClr>
              <a:buFont typeface="Arial" panose="020B0604020202020204" pitchFamily="34" charset="0"/>
              <a:buChar char="•"/>
              <a:defRPr sz="1800" b="0" i="0" u="none" strike="noStrike" kern="0" cap="none" spc="0" baseline="0">
                <a:solidFill>
                  <a:srgbClr val="000000"/>
                </a:solidFill>
                <a:uFillTx/>
              </a:defRPr>
            </a:pPr>
            <a:endParaRPr lang="en-US" sz="1000" kern="0" dirty="0">
              <a:solidFill>
                <a:srgbClr val="57626F"/>
              </a:solidFill>
              <a:latin typeface="Verdana" panose="020B0604030504040204" pitchFamily="34" charset="0"/>
              <a:ea typeface="Verdana" panose="020B0604030504040204" pitchFamily="34" charset="0"/>
            </a:endParaRP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r>
              <a:rPr lang="en-US" sz="1000" b="1" kern="0" dirty="0">
                <a:solidFill>
                  <a:srgbClr val="57626F"/>
                </a:solidFill>
                <a:latin typeface="Verdana" panose="020B0604030504040204" pitchFamily="34" charset="0"/>
                <a:ea typeface="Verdana" panose="020B0604030504040204" pitchFamily="34" charset="0"/>
              </a:rPr>
              <a:t>0% taxation </a:t>
            </a:r>
            <a:r>
              <a:rPr lang="en-US" sz="1000" kern="0" dirty="0">
                <a:solidFill>
                  <a:srgbClr val="57626F"/>
                </a:solidFill>
                <a:latin typeface="Verdana" panose="020B0604030504040204" pitchFamily="34" charset="0"/>
                <a:ea typeface="Verdana" panose="020B0604030504040204" pitchFamily="34" charset="0"/>
              </a:rPr>
              <a:t>of foreign source income (except employment income at 24% up to euros 600,000; 47% on the exceeding employment income). </a:t>
            </a:r>
            <a:r>
              <a:rPr lang="en-US" sz="1000" b="1" kern="0" dirty="0">
                <a:solidFill>
                  <a:srgbClr val="57626F"/>
                </a:solidFill>
                <a:latin typeface="Verdana" panose="020B0604030504040204" pitchFamily="34" charset="0"/>
                <a:ea typeface="Verdana" panose="020B0604030504040204" pitchFamily="34" charset="0"/>
              </a:rPr>
              <a:t>Wealth tax </a:t>
            </a:r>
            <a:r>
              <a:rPr lang="en-US" sz="1000" u="sng" kern="0" dirty="0">
                <a:solidFill>
                  <a:srgbClr val="57626F"/>
                </a:solidFill>
                <a:latin typeface="Verdana" panose="020B0604030504040204" pitchFamily="34" charset="0"/>
                <a:ea typeface="Verdana" panose="020B0604030504040204" pitchFamily="34" charset="0"/>
              </a:rPr>
              <a:t>only</a:t>
            </a:r>
            <a:r>
              <a:rPr lang="en-US" sz="1000" kern="0" dirty="0">
                <a:solidFill>
                  <a:srgbClr val="57626F"/>
                </a:solidFill>
                <a:latin typeface="Verdana" panose="020B0604030504040204" pitchFamily="34" charset="0"/>
                <a:ea typeface="Verdana" panose="020B0604030504040204" pitchFamily="34" charset="0"/>
              </a:rPr>
              <a:t> levied on net Spanish situs assets.</a:t>
            </a: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endParaRPr lang="en-US" sz="1000" kern="0" dirty="0">
              <a:solidFill>
                <a:srgbClr val="57626F"/>
              </a:solidFill>
              <a:latin typeface="Verdana" panose="020B0604030504040204" pitchFamily="34" charset="0"/>
              <a:ea typeface="Verdana" panose="020B0604030504040204" pitchFamily="34" charset="0"/>
            </a:endParaRP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r>
              <a:rPr lang="en-US" sz="1000" b="1" kern="0" dirty="0">
                <a:solidFill>
                  <a:srgbClr val="57626F"/>
                </a:solidFill>
                <a:latin typeface="Verdana" panose="020B0604030504040204" pitchFamily="34" charset="0"/>
                <a:ea typeface="Verdana" panose="020B0604030504040204" pitchFamily="34" charset="0"/>
              </a:rPr>
              <a:t>No disclosure obligations </a:t>
            </a:r>
            <a:r>
              <a:rPr lang="en-US" sz="1000" kern="0" dirty="0">
                <a:solidFill>
                  <a:srgbClr val="57626F"/>
                </a:solidFill>
                <a:latin typeface="Verdana" panose="020B0604030504040204" pitchFamily="34" charset="0"/>
                <a:ea typeface="Verdana" panose="020B0604030504040204" pitchFamily="34" charset="0"/>
              </a:rPr>
              <a:t>of assets held abroad (form 720). The tax years of application of the regime are ignored for </a:t>
            </a:r>
            <a:r>
              <a:rPr lang="en-US" sz="1000" b="1" kern="0" dirty="0">
                <a:solidFill>
                  <a:srgbClr val="57626F"/>
                </a:solidFill>
                <a:latin typeface="Verdana" panose="020B0604030504040204" pitchFamily="34" charset="0"/>
                <a:ea typeface="Verdana" panose="020B0604030504040204" pitchFamily="34" charset="0"/>
              </a:rPr>
              <a:t>exit tax obligations</a:t>
            </a:r>
            <a:r>
              <a:rPr lang="en-US" sz="1000" kern="0" dirty="0">
                <a:solidFill>
                  <a:srgbClr val="57626F"/>
                </a:solidFill>
                <a:latin typeface="Verdana" panose="020B0604030504040204" pitchFamily="34" charset="0"/>
                <a:ea typeface="Verdana" panose="020B0604030504040204" pitchFamily="34" charset="0"/>
              </a:rPr>
              <a:t>.</a:t>
            </a: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endParaRPr lang="en-US" sz="1000" kern="0" dirty="0">
              <a:solidFill>
                <a:srgbClr val="57626F"/>
              </a:solidFill>
              <a:latin typeface="Verdana" panose="020B0604030504040204" pitchFamily="34" charset="0"/>
              <a:ea typeface="Verdana" panose="020B0604030504040204" pitchFamily="34" charset="0"/>
            </a:endParaRP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r>
              <a:rPr lang="en-US" sz="1000" kern="0" dirty="0">
                <a:solidFill>
                  <a:srgbClr val="57626F"/>
                </a:solidFill>
                <a:latin typeface="Verdana" panose="020B0604030504040204" pitchFamily="34" charset="0"/>
                <a:ea typeface="Verdana" panose="020B0604030504040204" pitchFamily="34" charset="0"/>
              </a:rPr>
              <a:t>It does NOT cover spouses. It does not cover IGT</a:t>
            </a:r>
            <a:r>
              <a:rPr lang="en-US" sz="1400" kern="0" dirty="0">
                <a:solidFill>
                  <a:srgbClr val="57626F"/>
                </a:solidFill>
                <a:latin typeface="Verdana" panose="020B0604030504040204" pitchFamily="34" charset="0"/>
                <a:ea typeface="Verdana" panose="020B0604030504040204" pitchFamily="34" charset="0"/>
              </a:rPr>
              <a:t>. </a:t>
            </a: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endParaRPr lang="en-US" sz="1000" kern="0" dirty="0">
              <a:solidFill>
                <a:srgbClr val="57626F"/>
              </a:solidFill>
              <a:latin typeface="Verdana" panose="020B0604030504040204" pitchFamily="34" charset="0"/>
              <a:ea typeface="Verdana" panose="020B0604030504040204" pitchFamily="34" charset="0"/>
            </a:endParaRP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r>
              <a:rPr lang="en-US" sz="1000" kern="0" dirty="0">
                <a:solidFill>
                  <a:srgbClr val="57626F"/>
                </a:solidFill>
                <a:latin typeface="Verdana" panose="020B0604030504040204" pitchFamily="34" charset="0"/>
                <a:ea typeface="Verdana" panose="020B0604030504040204" pitchFamily="34" charset="0"/>
              </a:rPr>
              <a:t>Also special tax treatment to:</a:t>
            </a: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kern="0" dirty="0">
              <a:solidFill>
                <a:srgbClr val="57626F"/>
              </a:solidFill>
              <a:latin typeface="Verdana" panose="020B0604030504040204" pitchFamily="34" charset="0"/>
              <a:ea typeface="Verdana" panose="020B0604030504040204" pitchFamily="34" charset="0"/>
            </a:endParaRPr>
          </a:p>
          <a:p>
            <a:pPr marL="171450" indent="-171450">
              <a:lnSpc>
                <a:spcPct val="120000"/>
              </a:lnSpc>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dirty="0">
              <a:solidFill>
                <a:srgbClr val="57626F"/>
              </a:solidFill>
              <a:latin typeface="Verdana" panose="020B0604030504040204" pitchFamily="34" charset="0"/>
              <a:ea typeface="Verdana" panose="020B0604030504040204" pitchFamily="34" charset="0"/>
            </a:endParaRPr>
          </a:p>
        </p:txBody>
      </p:sp>
      <p:pic>
        <p:nvPicPr>
          <p:cNvPr id="3" name="Imagen 2" descr="lener">
            <a:extLst>
              <a:ext uri="{FF2B5EF4-FFF2-40B4-BE49-F238E27FC236}">
                <a16:creationId xmlns:a16="http://schemas.microsoft.com/office/drawing/2014/main" id="{6419AB6E-74EA-47C9-8341-6B1940E067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364" y="370332"/>
            <a:ext cx="697459" cy="409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 name="Grupo 43">
            <a:extLst>
              <a:ext uri="{FF2B5EF4-FFF2-40B4-BE49-F238E27FC236}">
                <a16:creationId xmlns:a16="http://schemas.microsoft.com/office/drawing/2014/main" id="{7750A635-2CB5-92C8-98FC-9491C390ACB0}"/>
              </a:ext>
            </a:extLst>
          </p:cNvPr>
          <p:cNvGrpSpPr/>
          <p:nvPr/>
        </p:nvGrpSpPr>
        <p:grpSpPr>
          <a:xfrm>
            <a:off x="3847659" y="5822468"/>
            <a:ext cx="1546214" cy="774797"/>
            <a:chOff x="1800089" y="656"/>
            <a:chExt cx="939445" cy="939445"/>
          </a:xfrm>
        </p:grpSpPr>
        <p:sp>
          <p:nvSpPr>
            <p:cNvPr id="45" name="Elipse 44">
              <a:extLst>
                <a:ext uri="{FF2B5EF4-FFF2-40B4-BE49-F238E27FC236}">
                  <a16:creationId xmlns:a16="http://schemas.microsoft.com/office/drawing/2014/main" id="{4AE40AD9-A73B-A28D-A328-DA619770190A}"/>
                </a:ext>
              </a:extLst>
            </p:cNvPr>
            <p:cNvSpPr/>
            <p:nvPr/>
          </p:nvSpPr>
          <p:spPr>
            <a:xfrm>
              <a:off x="1800089" y="656"/>
              <a:ext cx="939445" cy="939445"/>
            </a:xfrm>
            <a:prstGeom prst="ellips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6" name="Elipse 4">
              <a:extLst>
                <a:ext uri="{FF2B5EF4-FFF2-40B4-BE49-F238E27FC236}">
                  <a16:creationId xmlns:a16="http://schemas.microsoft.com/office/drawing/2014/main" id="{AA5A82AD-1DA6-5B83-7551-666AA451E0D5}"/>
                </a:ext>
              </a:extLst>
            </p:cNvPr>
            <p:cNvSpPr txBox="1"/>
            <p:nvPr/>
          </p:nvSpPr>
          <p:spPr>
            <a:xfrm>
              <a:off x="1937668" y="138235"/>
              <a:ext cx="664287" cy="66428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AU" sz="1100" b="0" kern="1200" dirty="0">
                  <a:solidFill>
                    <a:schemeClr val="tx2">
                      <a:lumMod val="60000"/>
                      <a:lumOff val="40000"/>
                    </a:schemeClr>
                  </a:solidFill>
                  <a:latin typeface="Verdana" panose="020B0604030504040204" pitchFamily="34" charset="0"/>
                  <a:ea typeface="Verdana" panose="020B0604030504040204" pitchFamily="34" charset="0"/>
                  <a:cs typeface="+mn-cs"/>
                </a:rPr>
                <a:t>Stock Options granted abroad</a:t>
              </a:r>
              <a:endParaRPr lang="es-ES" sz="1100" b="0" kern="1200" dirty="0">
                <a:solidFill>
                  <a:schemeClr val="tx2">
                    <a:lumMod val="60000"/>
                    <a:lumOff val="40000"/>
                  </a:schemeClr>
                </a:solidFill>
              </a:endParaRPr>
            </a:p>
          </p:txBody>
        </p:sp>
      </p:grpSp>
      <p:grpSp>
        <p:nvGrpSpPr>
          <p:cNvPr id="47" name="Grupo 46">
            <a:extLst>
              <a:ext uri="{FF2B5EF4-FFF2-40B4-BE49-F238E27FC236}">
                <a16:creationId xmlns:a16="http://schemas.microsoft.com/office/drawing/2014/main" id="{D8C08F85-1EEA-A362-D934-4B32D907BE94}"/>
              </a:ext>
            </a:extLst>
          </p:cNvPr>
          <p:cNvGrpSpPr/>
          <p:nvPr/>
        </p:nvGrpSpPr>
        <p:grpSpPr>
          <a:xfrm>
            <a:off x="5484549" y="5822468"/>
            <a:ext cx="1546214" cy="774797"/>
            <a:chOff x="3436979" y="656"/>
            <a:chExt cx="939445" cy="939445"/>
          </a:xfrm>
        </p:grpSpPr>
        <p:sp>
          <p:nvSpPr>
            <p:cNvPr id="48" name="Elipse 47">
              <a:extLst>
                <a:ext uri="{FF2B5EF4-FFF2-40B4-BE49-F238E27FC236}">
                  <a16:creationId xmlns:a16="http://schemas.microsoft.com/office/drawing/2014/main" id="{BAEDD018-945B-3309-20A6-FF2D4B423ABE}"/>
                </a:ext>
              </a:extLst>
            </p:cNvPr>
            <p:cNvSpPr/>
            <p:nvPr/>
          </p:nvSpPr>
          <p:spPr>
            <a:xfrm>
              <a:off x="3436979" y="656"/>
              <a:ext cx="939445" cy="939445"/>
            </a:xfrm>
            <a:prstGeom prst="ellipse">
              <a:avLst/>
            </a:prstGeom>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9" name="Elipse 6">
              <a:extLst>
                <a:ext uri="{FF2B5EF4-FFF2-40B4-BE49-F238E27FC236}">
                  <a16:creationId xmlns:a16="http://schemas.microsoft.com/office/drawing/2014/main" id="{4190CBF7-4817-C9AB-7F4C-7D911094863C}"/>
                </a:ext>
              </a:extLst>
            </p:cNvPr>
            <p:cNvSpPr txBox="1"/>
            <p:nvPr/>
          </p:nvSpPr>
          <p:spPr>
            <a:xfrm>
              <a:off x="3574558" y="138235"/>
              <a:ext cx="664287" cy="66428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AU" sz="1100" b="0" kern="1200" dirty="0">
                  <a:solidFill>
                    <a:schemeClr val="tx2">
                      <a:lumMod val="60000"/>
                      <a:lumOff val="40000"/>
                    </a:schemeClr>
                  </a:solidFill>
                  <a:latin typeface="Verdana" panose="020B0604030504040204" pitchFamily="34" charset="0"/>
                  <a:ea typeface="Verdana" panose="020B0604030504040204" pitchFamily="34" charset="0"/>
                  <a:cs typeface="+mn-cs"/>
                </a:rPr>
                <a:t>Foreign pension plans </a:t>
              </a:r>
            </a:p>
          </p:txBody>
        </p:sp>
      </p:grpSp>
      <p:grpSp>
        <p:nvGrpSpPr>
          <p:cNvPr id="53" name="Grupo 22">
            <a:extLst>
              <a:ext uri="{FF2B5EF4-FFF2-40B4-BE49-F238E27FC236}">
                <a16:creationId xmlns:a16="http://schemas.microsoft.com/office/drawing/2014/main" id="{476EC8FD-236F-A9A8-5966-5283EED3B776}"/>
              </a:ext>
            </a:extLst>
          </p:cNvPr>
          <p:cNvGrpSpPr/>
          <p:nvPr/>
        </p:nvGrpSpPr>
        <p:grpSpPr>
          <a:xfrm>
            <a:off x="1893441" y="1532523"/>
            <a:ext cx="1395869" cy="1732575"/>
            <a:chOff x="3192" y="56739"/>
            <a:chExt cx="1395869" cy="1853344"/>
          </a:xfrm>
          <a:solidFill>
            <a:schemeClr val="bg1">
              <a:lumMod val="50000"/>
            </a:schemeClr>
          </a:solidFill>
        </p:grpSpPr>
        <p:sp>
          <p:nvSpPr>
            <p:cNvPr id="54" name="Rectángulo: esquinas redondeadas 41">
              <a:extLst>
                <a:ext uri="{FF2B5EF4-FFF2-40B4-BE49-F238E27FC236}">
                  <a16:creationId xmlns:a16="http://schemas.microsoft.com/office/drawing/2014/main" id="{944EDD12-5D89-70C8-56EC-595B2BEC5C5C}"/>
                </a:ext>
              </a:extLst>
            </p:cNvPr>
            <p:cNvSpPr/>
            <p:nvPr/>
          </p:nvSpPr>
          <p:spPr>
            <a:xfrm>
              <a:off x="3192" y="56739"/>
              <a:ext cx="1395869" cy="1853344"/>
            </a:xfrm>
            <a:prstGeom prst="roundRect">
              <a:avLst>
                <a:gd name="adj" fmla="val 10000"/>
              </a:avLst>
            </a:prstGeom>
            <a:grpFill/>
          </p:spPr>
          <p:style>
            <a:lnRef idx="2">
              <a:schemeClr val="lt1">
                <a:hueOff val="0"/>
                <a:satOff val="0"/>
                <a:lumOff val="0"/>
                <a:alphaOff val="0"/>
              </a:schemeClr>
            </a:lnRef>
            <a:fillRef idx="1">
              <a:schemeClr val="accent6">
                <a:shade val="80000"/>
                <a:hueOff val="0"/>
                <a:satOff val="0"/>
                <a:lumOff val="0"/>
                <a:alphaOff val="0"/>
              </a:schemeClr>
            </a:fillRef>
            <a:effectRef idx="0">
              <a:schemeClr val="accent6">
                <a:shade val="80000"/>
                <a:hueOff val="0"/>
                <a:satOff val="0"/>
                <a:lumOff val="0"/>
                <a:alphaOff val="0"/>
              </a:schemeClr>
            </a:effectRef>
            <a:fontRef idx="minor">
              <a:schemeClr val="lt1"/>
            </a:fontRef>
          </p:style>
        </p:sp>
        <p:sp>
          <p:nvSpPr>
            <p:cNvPr id="55" name="Rectángulo: esquinas redondeadas 4">
              <a:extLst>
                <a:ext uri="{FF2B5EF4-FFF2-40B4-BE49-F238E27FC236}">
                  <a16:creationId xmlns:a16="http://schemas.microsoft.com/office/drawing/2014/main" id="{8C23D7D4-9963-8330-079A-77FCD90BEA85}"/>
                </a:ext>
              </a:extLst>
            </p:cNvPr>
            <p:cNvSpPr txBox="1"/>
            <p:nvPr/>
          </p:nvSpPr>
          <p:spPr>
            <a:xfrm>
              <a:off x="44076" y="97623"/>
              <a:ext cx="1314101" cy="177157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0" kern="1200" dirty="0">
                  <a:latin typeface="Verdana" panose="020B0604030504040204" pitchFamily="34" charset="0"/>
                  <a:ea typeface="Verdana" panose="020B0604030504040204" pitchFamily="34" charset="0"/>
                  <a:cs typeface="+mn-cs"/>
                </a:rPr>
                <a:t>The individual Should become a Spanish tax resident as a consequence of the migration.</a:t>
              </a:r>
              <a:endParaRPr lang="es-ES" sz="1000" kern="1200" dirty="0"/>
            </a:p>
          </p:txBody>
        </p:sp>
      </p:grpSp>
      <p:grpSp>
        <p:nvGrpSpPr>
          <p:cNvPr id="56" name="Grupo 23">
            <a:extLst>
              <a:ext uri="{FF2B5EF4-FFF2-40B4-BE49-F238E27FC236}">
                <a16:creationId xmlns:a16="http://schemas.microsoft.com/office/drawing/2014/main" id="{223B57F9-D3E4-8B4D-FB00-805F1A7F37F6}"/>
              </a:ext>
            </a:extLst>
          </p:cNvPr>
          <p:cNvGrpSpPr/>
          <p:nvPr/>
        </p:nvGrpSpPr>
        <p:grpSpPr>
          <a:xfrm>
            <a:off x="3428898" y="2286107"/>
            <a:ext cx="295924" cy="346175"/>
            <a:chOff x="1538649" y="810323"/>
            <a:chExt cx="295924" cy="346175"/>
          </a:xfrm>
        </p:grpSpPr>
        <p:sp>
          <p:nvSpPr>
            <p:cNvPr id="57" name="Flecha: a la derecha 39">
              <a:extLst>
                <a:ext uri="{FF2B5EF4-FFF2-40B4-BE49-F238E27FC236}">
                  <a16:creationId xmlns:a16="http://schemas.microsoft.com/office/drawing/2014/main" id="{23962AE0-A917-A8F1-7302-A83A78BF172A}"/>
                </a:ext>
              </a:extLst>
            </p:cNvPr>
            <p:cNvSpPr/>
            <p:nvPr/>
          </p:nvSpPr>
          <p:spPr>
            <a:xfrm>
              <a:off x="1538649" y="810323"/>
              <a:ext cx="295924" cy="346175"/>
            </a:xfrm>
            <a:prstGeom prst="rightArrow">
              <a:avLst>
                <a:gd name="adj1" fmla="val 60000"/>
                <a:gd name="adj2" fmla="val 50000"/>
              </a:avLst>
            </a:prstGeom>
            <a:noFill/>
            <a:ln>
              <a:solidFill>
                <a:schemeClr val="accent6"/>
              </a:solidFill>
            </a:ln>
          </p:spPr>
          <p:style>
            <a:lnRef idx="0">
              <a:scrgbClr r="0" g="0" b="0"/>
            </a:lnRef>
            <a:fillRef idx="1">
              <a:scrgbClr r="0" g="0" b="0"/>
            </a:fillRef>
            <a:effectRef idx="0">
              <a:schemeClr val="accent6">
                <a:shade val="90000"/>
                <a:hueOff val="0"/>
                <a:satOff val="0"/>
                <a:lumOff val="0"/>
                <a:alphaOff val="0"/>
              </a:schemeClr>
            </a:effectRef>
            <a:fontRef idx="minor">
              <a:schemeClr val="lt1"/>
            </a:fontRef>
          </p:style>
        </p:sp>
        <p:sp>
          <p:nvSpPr>
            <p:cNvPr id="58" name="Flecha: a la derecha 6">
              <a:extLst>
                <a:ext uri="{FF2B5EF4-FFF2-40B4-BE49-F238E27FC236}">
                  <a16:creationId xmlns:a16="http://schemas.microsoft.com/office/drawing/2014/main" id="{BB83F673-FB3B-ED76-6233-3C2A59260AAC}"/>
                </a:ext>
              </a:extLst>
            </p:cNvPr>
            <p:cNvSpPr txBox="1"/>
            <p:nvPr/>
          </p:nvSpPr>
          <p:spPr>
            <a:xfrm>
              <a:off x="1538649" y="879558"/>
              <a:ext cx="207147" cy="2077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s-ES" sz="800" kern="1200"/>
            </a:p>
          </p:txBody>
        </p:sp>
      </p:grpSp>
      <p:grpSp>
        <p:nvGrpSpPr>
          <p:cNvPr id="59" name="Grupo 24">
            <a:extLst>
              <a:ext uri="{FF2B5EF4-FFF2-40B4-BE49-F238E27FC236}">
                <a16:creationId xmlns:a16="http://schemas.microsoft.com/office/drawing/2014/main" id="{2473A0BB-FE32-8C37-AC1B-2B85DDA30A73}"/>
              </a:ext>
            </a:extLst>
          </p:cNvPr>
          <p:cNvGrpSpPr/>
          <p:nvPr/>
        </p:nvGrpSpPr>
        <p:grpSpPr>
          <a:xfrm>
            <a:off x="3847659" y="1532523"/>
            <a:ext cx="1395869" cy="1732575"/>
            <a:chOff x="1957410" y="56739"/>
            <a:chExt cx="1395869" cy="1853344"/>
          </a:xfrm>
          <a:solidFill>
            <a:schemeClr val="bg1">
              <a:lumMod val="65000"/>
            </a:schemeClr>
          </a:solidFill>
        </p:grpSpPr>
        <p:sp>
          <p:nvSpPr>
            <p:cNvPr id="60" name="Rectángulo: esquinas redondeadas 37">
              <a:extLst>
                <a:ext uri="{FF2B5EF4-FFF2-40B4-BE49-F238E27FC236}">
                  <a16:creationId xmlns:a16="http://schemas.microsoft.com/office/drawing/2014/main" id="{5F505B1A-A540-1660-70F5-4CDBA45E790E}"/>
                </a:ext>
              </a:extLst>
            </p:cNvPr>
            <p:cNvSpPr/>
            <p:nvPr/>
          </p:nvSpPr>
          <p:spPr>
            <a:xfrm>
              <a:off x="1957410" y="56739"/>
              <a:ext cx="1395869" cy="1853344"/>
            </a:xfrm>
            <a:prstGeom prst="roundRect">
              <a:avLst>
                <a:gd name="adj" fmla="val 10000"/>
              </a:avLst>
            </a:prstGeom>
            <a:grpFill/>
          </p:spPr>
          <p:style>
            <a:lnRef idx="2">
              <a:schemeClr val="lt1">
                <a:hueOff val="0"/>
                <a:satOff val="0"/>
                <a:lumOff val="0"/>
                <a:alphaOff val="0"/>
              </a:schemeClr>
            </a:lnRef>
            <a:fillRef idx="1">
              <a:schemeClr val="accent6">
                <a:shade val="80000"/>
                <a:hueOff val="-14391"/>
                <a:satOff val="102"/>
                <a:lumOff val="7119"/>
                <a:alphaOff val="0"/>
              </a:schemeClr>
            </a:fillRef>
            <a:effectRef idx="0">
              <a:schemeClr val="accent6">
                <a:shade val="80000"/>
                <a:hueOff val="-14391"/>
                <a:satOff val="102"/>
                <a:lumOff val="7119"/>
                <a:alphaOff val="0"/>
              </a:schemeClr>
            </a:effectRef>
            <a:fontRef idx="minor">
              <a:schemeClr val="lt1"/>
            </a:fontRef>
          </p:style>
        </p:sp>
        <p:sp>
          <p:nvSpPr>
            <p:cNvPr id="61" name="Rectángulo: esquinas redondeadas 8">
              <a:extLst>
                <a:ext uri="{FF2B5EF4-FFF2-40B4-BE49-F238E27FC236}">
                  <a16:creationId xmlns:a16="http://schemas.microsoft.com/office/drawing/2014/main" id="{AF0532BA-5476-1781-F204-B2CA77A58CBC}"/>
                </a:ext>
              </a:extLst>
            </p:cNvPr>
            <p:cNvSpPr txBox="1"/>
            <p:nvPr/>
          </p:nvSpPr>
          <p:spPr>
            <a:xfrm>
              <a:off x="1998294" y="97623"/>
              <a:ext cx="1314101" cy="177157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0" kern="1200" dirty="0">
                  <a:latin typeface="Verdana" panose="020B0604030504040204" pitchFamily="34" charset="0"/>
                  <a:ea typeface="Verdana" panose="020B0604030504040204" pitchFamily="34" charset="0"/>
                  <a:cs typeface="+mn-cs"/>
                </a:rPr>
                <a:t>The individual cannot have been a tax resident in Spain during the </a:t>
              </a:r>
              <a:r>
                <a:rPr lang="en-US" sz="1000" kern="1200" dirty="0">
                  <a:latin typeface="Verdana" panose="020B0604030504040204" pitchFamily="34" charset="0"/>
                  <a:ea typeface="Verdana" panose="020B0604030504040204" pitchFamily="34" charset="0"/>
                  <a:cs typeface="+mn-cs"/>
                </a:rPr>
                <a:t>ten years prior </a:t>
              </a:r>
              <a:r>
                <a:rPr lang="en-US" sz="1000" b="0" kern="1200" dirty="0">
                  <a:latin typeface="Verdana" panose="020B0604030504040204" pitchFamily="34" charset="0"/>
                  <a:ea typeface="Verdana" panose="020B0604030504040204" pitchFamily="34" charset="0"/>
                  <a:cs typeface="+mn-cs"/>
                </a:rPr>
                <a:t>to moving to Spain.</a:t>
              </a:r>
            </a:p>
          </p:txBody>
        </p:sp>
      </p:grpSp>
      <p:grpSp>
        <p:nvGrpSpPr>
          <p:cNvPr id="62" name="Grupo 25">
            <a:extLst>
              <a:ext uri="{FF2B5EF4-FFF2-40B4-BE49-F238E27FC236}">
                <a16:creationId xmlns:a16="http://schemas.microsoft.com/office/drawing/2014/main" id="{0E509EE8-53EE-7FF4-103B-141636228E70}"/>
              </a:ext>
            </a:extLst>
          </p:cNvPr>
          <p:cNvGrpSpPr/>
          <p:nvPr/>
        </p:nvGrpSpPr>
        <p:grpSpPr>
          <a:xfrm>
            <a:off x="5383116" y="2286107"/>
            <a:ext cx="295924" cy="346175"/>
            <a:chOff x="3492867" y="810323"/>
            <a:chExt cx="295924" cy="346175"/>
          </a:xfrm>
        </p:grpSpPr>
        <p:sp>
          <p:nvSpPr>
            <p:cNvPr id="63" name="Flecha: a la derecha 35">
              <a:extLst>
                <a:ext uri="{FF2B5EF4-FFF2-40B4-BE49-F238E27FC236}">
                  <a16:creationId xmlns:a16="http://schemas.microsoft.com/office/drawing/2014/main" id="{B518E0DA-C0C1-D69B-D6BC-1AF0A3948DC5}"/>
                </a:ext>
              </a:extLst>
            </p:cNvPr>
            <p:cNvSpPr/>
            <p:nvPr/>
          </p:nvSpPr>
          <p:spPr>
            <a:xfrm>
              <a:off x="3492867" y="810323"/>
              <a:ext cx="295924" cy="346175"/>
            </a:xfrm>
            <a:prstGeom prst="rightArrow">
              <a:avLst>
                <a:gd name="adj1" fmla="val 60000"/>
                <a:gd name="adj2" fmla="val 50000"/>
              </a:avLst>
            </a:prstGeom>
            <a:noFill/>
            <a:ln>
              <a:solidFill>
                <a:schemeClr val="accent6"/>
              </a:solidFill>
            </a:ln>
          </p:spPr>
          <p:style>
            <a:lnRef idx="0">
              <a:scrgbClr r="0" g="0" b="0"/>
            </a:lnRef>
            <a:fillRef idx="1">
              <a:scrgbClr r="0" g="0" b="0"/>
            </a:fillRef>
            <a:effectRef idx="0">
              <a:schemeClr val="accent6">
                <a:shade val="90000"/>
                <a:hueOff val="-21472"/>
                <a:satOff val="-307"/>
                <a:lumOff val="9203"/>
                <a:alphaOff val="0"/>
              </a:schemeClr>
            </a:effectRef>
            <a:fontRef idx="minor">
              <a:schemeClr val="lt1"/>
            </a:fontRef>
          </p:style>
        </p:sp>
        <p:sp>
          <p:nvSpPr>
            <p:cNvPr id="64" name="Flecha: a la derecha 10">
              <a:extLst>
                <a:ext uri="{FF2B5EF4-FFF2-40B4-BE49-F238E27FC236}">
                  <a16:creationId xmlns:a16="http://schemas.microsoft.com/office/drawing/2014/main" id="{F09E8C56-B619-B5AD-896D-7C0EC14EA59E}"/>
                </a:ext>
              </a:extLst>
            </p:cNvPr>
            <p:cNvSpPr txBox="1"/>
            <p:nvPr/>
          </p:nvSpPr>
          <p:spPr>
            <a:xfrm>
              <a:off x="3492867" y="879558"/>
              <a:ext cx="207147" cy="2077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s-ES" sz="800" kern="1200"/>
            </a:p>
          </p:txBody>
        </p:sp>
      </p:grpSp>
      <p:grpSp>
        <p:nvGrpSpPr>
          <p:cNvPr id="65" name="Grupo 26">
            <a:extLst>
              <a:ext uri="{FF2B5EF4-FFF2-40B4-BE49-F238E27FC236}">
                <a16:creationId xmlns:a16="http://schemas.microsoft.com/office/drawing/2014/main" id="{6BB1D802-E27C-F0BB-C9E4-73EA2998C1B5}"/>
              </a:ext>
            </a:extLst>
          </p:cNvPr>
          <p:cNvGrpSpPr/>
          <p:nvPr/>
        </p:nvGrpSpPr>
        <p:grpSpPr>
          <a:xfrm>
            <a:off x="5801877" y="1532523"/>
            <a:ext cx="1395869" cy="1732575"/>
            <a:chOff x="3911628" y="56739"/>
            <a:chExt cx="1395869" cy="1853344"/>
          </a:xfrm>
        </p:grpSpPr>
        <p:sp>
          <p:nvSpPr>
            <p:cNvPr id="66" name="Rectángulo: esquinas redondeadas 33">
              <a:extLst>
                <a:ext uri="{FF2B5EF4-FFF2-40B4-BE49-F238E27FC236}">
                  <a16:creationId xmlns:a16="http://schemas.microsoft.com/office/drawing/2014/main" id="{E5BB6090-C8D3-C418-6A78-EB28CDAD8890}"/>
                </a:ext>
              </a:extLst>
            </p:cNvPr>
            <p:cNvSpPr/>
            <p:nvPr/>
          </p:nvSpPr>
          <p:spPr>
            <a:xfrm>
              <a:off x="3911628" y="56739"/>
              <a:ext cx="1395869" cy="1853344"/>
            </a:xfrm>
            <a:prstGeom prst="roundRect">
              <a:avLst>
                <a:gd name="adj" fmla="val 10000"/>
              </a:avLst>
            </a:prstGeom>
            <a:solidFill>
              <a:schemeClr val="bg1">
                <a:lumMod val="75000"/>
              </a:schemeClr>
            </a:solidFill>
          </p:spPr>
          <p:style>
            <a:lnRef idx="2">
              <a:schemeClr val="lt1">
                <a:hueOff val="0"/>
                <a:satOff val="0"/>
                <a:lumOff val="0"/>
                <a:alphaOff val="0"/>
              </a:schemeClr>
            </a:lnRef>
            <a:fillRef idx="1">
              <a:schemeClr val="accent6">
                <a:shade val="80000"/>
                <a:hueOff val="-28781"/>
                <a:satOff val="205"/>
                <a:lumOff val="14237"/>
                <a:alphaOff val="0"/>
              </a:schemeClr>
            </a:fillRef>
            <a:effectRef idx="0">
              <a:schemeClr val="accent6">
                <a:shade val="80000"/>
                <a:hueOff val="-28781"/>
                <a:satOff val="205"/>
                <a:lumOff val="14237"/>
                <a:alphaOff val="0"/>
              </a:schemeClr>
            </a:effectRef>
            <a:fontRef idx="minor">
              <a:schemeClr val="lt1"/>
            </a:fontRef>
          </p:style>
        </p:sp>
        <p:sp>
          <p:nvSpPr>
            <p:cNvPr id="67" name="Rectángulo: esquinas redondeadas 12">
              <a:extLst>
                <a:ext uri="{FF2B5EF4-FFF2-40B4-BE49-F238E27FC236}">
                  <a16:creationId xmlns:a16="http://schemas.microsoft.com/office/drawing/2014/main" id="{AC99AFF5-F479-FD83-80EB-9DF9D9F766D0}"/>
                </a:ext>
              </a:extLst>
            </p:cNvPr>
            <p:cNvSpPr txBox="1"/>
            <p:nvPr/>
          </p:nvSpPr>
          <p:spPr>
            <a:xfrm>
              <a:off x="3952511" y="97623"/>
              <a:ext cx="1314101" cy="1771576"/>
            </a:xfrm>
            <a:prstGeom prst="rect">
              <a:avLst/>
            </a:prstGeom>
            <a:solidFill>
              <a:schemeClr val="bg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0" kern="1200" dirty="0">
                  <a:latin typeface="Verdana" panose="020B0604030504040204" pitchFamily="34" charset="0"/>
                  <a:ea typeface="Verdana" panose="020B0604030504040204" pitchFamily="34" charset="0"/>
                  <a:cs typeface="+mn-cs"/>
                </a:rPr>
                <a:t>The transfer of residence must be due to an employment contract or to the appointment as director of a company that the taxpayer is not related to (i.e. stake below 25%).</a:t>
              </a:r>
            </a:p>
          </p:txBody>
        </p:sp>
      </p:grpSp>
      <p:grpSp>
        <p:nvGrpSpPr>
          <p:cNvPr id="68" name="Grupo 27">
            <a:extLst>
              <a:ext uri="{FF2B5EF4-FFF2-40B4-BE49-F238E27FC236}">
                <a16:creationId xmlns:a16="http://schemas.microsoft.com/office/drawing/2014/main" id="{8404DC97-C4E5-BE15-5667-F0A3EBB40ECD}"/>
              </a:ext>
            </a:extLst>
          </p:cNvPr>
          <p:cNvGrpSpPr/>
          <p:nvPr/>
        </p:nvGrpSpPr>
        <p:grpSpPr>
          <a:xfrm>
            <a:off x="7337334" y="2286107"/>
            <a:ext cx="295924" cy="346175"/>
            <a:chOff x="5447085" y="810323"/>
            <a:chExt cx="295924" cy="346175"/>
          </a:xfrm>
        </p:grpSpPr>
        <p:sp>
          <p:nvSpPr>
            <p:cNvPr id="69" name="Flecha: a la derecha 31">
              <a:extLst>
                <a:ext uri="{FF2B5EF4-FFF2-40B4-BE49-F238E27FC236}">
                  <a16:creationId xmlns:a16="http://schemas.microsoft.com/office/drawing/2014/main" id="{B8268F96-C5C4-2AAB-7168-ACE410A7F37A}"/>
                </a:ext>
              </a:extLst>
            </p:cNvPr>
            <p:cNvSpPr/>
            <p:nvPr/>
          </p:nvSpPr>
          <p:spPr>
            <a:xfrm>
              <a:off x="5447085" y="810323"/>
              <a:ext cx="295924" cy="346175"/>
            </a:xfrm>
            <a:prstGeom prst="rightArrow">
              <a:avLst>
                <a:gd name="adj1" fmla="val 60000"/>
                <a:gd name="adj2" fmla="val 50000"/>
              </a:avLst>
            </a:prstGeom>
            <a:noFill/>
            <a:ln>
              <a:solidFill>
                <a:schemeClr val="accent6"/>
              </a:solidFill>
            </a:ln>
          </p:spPr>
          <p:style>
            <a:lnRef idx="0">
              <a:scrgbClr r="0" g="0" b="0"/>
            </a:lnRef>
            <a:fillRef idx="1">
              <a:scrgbClr r="0" g="0" b="0"/>
            </a:fillRef>
            <a:effectRef idx="0">
              <a:schemeClr val="accent6">
                <a:shade val="90000"/>
                <a:hueOff val="-42945"/>
                <a:satOff val="-613"/>
                <a:lumOff val="18407"/>
                <a:alphaOff val="0"/>
              </a:schemeClr>
            </a:effectRef>
            <a:fontRef idx="minor">
              <a:schemeClr val="lt1"/>
            </a:fontRef>
          </p:style>
        </p:sp>
        <p:sp>
          <p:nvSpPr>
            <p:cNvPr id="70" name="Flecha: a la derecha 14">
              <a:extLst>
                <a:ext uri="{FF2B5EF4-FFF2-40B4-BE49-F238E27FC236}">
                  <a16:creationId xmlns:a16="http://schemas.microsoft.com/office/drawing/2014/main" id="{CA986D2F-1275-BFD8-E635-4E156618FBED}"/>
                </a:ext>
              </a:extLst>
            </p:cNvPr>
            <p:cNvSpPr txBox="1"/>
            <p:nvPr/>
          </p:nvSpPr>
          <p:spPr>
            <a:xfrm>
              <a:off x="5447085" y="879558"/>
              <a:ext cx="207147" cy="2077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s-ES" sz="800" kern="1200"/>
            </a:p>
          </p:txBody>
        </p:sp>
      </p:grpSp>
      <p:grpSp>
        <p:nvGrpSpPr>
          <p:cNvPr id="71" name="Grupo 28">
            <a:extLst>
              <a:ext uri="{FF2B5EF4-FFF2-40B4-BE49-F238E27FC236}">
                <a16:creationId xmlns:a16="http://schemas.microsoft.com/office/drawing/2014/main" id="{1E25AC00-6A0C-F101-7305-7DC85BE51419}"/>
              </a:ext>
            </a:extLst>
          </p:cNvPr>
          <p:cNvGrpSpPr/>
          <p:nvPr/>
        </p:nvGrpSpPr>
        <p:grpSpPr>
          <a:xfrm>
            <a:off x="7756095" y="1532523"/>
            <a:ext cx="1395869" cy="1732575"/>
            <a:chOff x="5865846" y="56739"/>
            <a:chExt cx="1395869" cy="1853344"/>
          </a:xfrm>
        </p:grpSpPr>
        <p:sp>
          <p:nvSpPr>
            <p:cNvPr id="72" name="Rectángulo: esquinas redondeadas 29">
              <a:extLst>
                <a:ext uri="{FF2B5EF4-FFF2-40B4-BE49-F238E27FC236}">
                  <a16:creationId xmlns:a16="http://schemas.microsoft.com/office/drawing/2014/main" id="{45B7BBC8-5DC1-52BB-4F4B-33212AD9B1EC}"/>
                </a:ext>
              </a:extLst>
            </p:cNvPr>
            <p:cNvSpPr/>
            <p:nvPr/>
          </p:nvSpPr>
          <p:spPr>
            <a:xfrm>
              <a:off x="5865846" y="56739"/>
              <a:ext cx="1395869" cy="1853344"/>
            </a:xfrm>
            <a:prstGeom prst="roundRect">
              <a:avLst>
                <a:gd name="adj" fmla="val 10000"/>
              </a:avLst>
            </a:prstGeom>
            <a:solidFill>
              <a:schemeClr val="bg1">
                <a:lumMod val="85000"/>
              </a:schemeClr>
            </a:solidFill>
          </p:spPr>
          <p:style>
            <a:lnRef idx="2">
              <a:schemeClr val="lt1">
                <a:hueOff val="0"/>
                <a:satOff val="0"/>
                <a:lumOff val="0"/>
                <a:alphaOff val="0"/>
              </a:schemeClr>
            </a:lnRef>
            <a:fillRef idx="1">
              <a:schemeClr val="accent6">
                <a:shade val="80000"/>
                <a:hueOff val="-43172"/>
                <a:satOff val="307"/>
                <a:lumOff val="21356"/>
                <a:alphaOff val="0"/>
              </a:schemeClr>
            </a:fillRef>
            <a:effectRef idx="0">
              <a:schemeClr val="accent6">
                <a:shade val="80000"/>
                <a:hueOff val="-43172"/>
                <a:satOff val="307"/>
                <a:lumOff val="21356"/>
                <a:alphaOff val="0"/>
              </a:schemeClr>
            </a:effectRef>
            <a:fontRef idx="minor">
              <a:schemeClr val="lt1"/>
            </a:fontRef>
          </p:style>
        </p:sp>
        <p:sp>
          <p:nvSpPr>
            <p:cNvPr id="73" name="Rectángulo: esquinas redondeadas 16">
              <a:extLst>
                <a:ext uri="{FF2B5EF4-FFF2-40B4-BE49-F238E27FC236}">
                  <a16:creationId xmlns:a16="http://schemas.microsoft.com/office/drawing/2014/main" id="{ABD9166E-0FA7-7F23-4BC6-BA37BD1C92DA}"/>
                </a:ext>
              </a:extLst>
            </p:cNvPr>
            <p:cNvSpPr txBox="1"/>
            <p:nvPr/>
          </p:nvSpPr>
          <p:spPr>
            <a:xfrm>
              <a:off x="5933563" y="56739"/>
              <a:ext cx="1314101" cy="1771576"/>
            </a:xfrm>
            <a:prstGeom prst="rect">
              <a:avLst/>
            </a:prstGeom>
            <a:solidFill>
              <a:schemeClr val="bg1">
                <a:lumMod val="85000"/>
              </a:schemeClr>
            </a:solid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0" kern="1200" dirty="0">
                  <a:latin typeface="Verdana" panose="020B0604030504040204" pitchFamily="34" charset="0"/>
                  <a:ea typeface="Verdana" panose="020B0604030504040204" pitchFamily="34" charset="0"/>
                  <a:cs typeface="+mn-cs"/>
                </a:rPr>
                <a:t>The taxpayer cannot obtain income through a permanent establishment in Spain.</a:t>
              </a:r>
            </a:p>
          </p:txBody>
        </p:sp>
      </p:grpSp>
    </p:spTree>
    <p:extLst>
      <p:ext uri="{BB962C8B-B14F-4D97-AF65-F5344CB8AC3E}">
        <p14:creationId xmlns:p14="http://schemas.microsoft.com/office/powerpoint/2010/main" val="38199618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8F3BC-4448-9E36-903F-BEA764AD8E17}"/>
              </a:ext>
            </a:extLst>
          </p:cNvPr>
          <p:cNvSpPr>
            <a:spLocks noGrp="1"/>
          </p:cNvSpPr>
          <p:nvPr>
            <p:ph type="title"/>
          </p:nvPr>
        </p:nvSpPr>
        <p:spPr/>
        <p:txBody>
          <a:bodyPr/>
          <a:lstStyle/>
          <a:p>
            <a:r>
              <a:rPr lang="en-US" dirty="0">
                <a:solidFill>
                  <a:srgbClr val="757A61"/>
                </a:solidFill>
                <a:latin typeface="Cambria" panose="02040503050406030204" pitchFamily="18" charset="0"/>
                <a:ea typeface="Cambria" panose="02040503050406030204" pitchFamily="18" charset="0"/>
              </a:rPr>
              <a:t>Portuguese NHR regime</a:t>
            </a:r>
            <a:endParaRPr lang="en-GB" dirty="0"/>
          </a:p>
        </p:txBody>
      </p:sp>
      <p:sp>
        <p:nvSpPr>
          <p:cNvPr id="3" name="Content Placeholder 2">
            <a:extLst>
              <a:ext uri="{FF2B5EF4-FFF2-40B4-BE49-F238E27FC236}">
                <a16:creationId xmlns:a16="http://schemas.microsoft.com/office/drawing/2014/main" id="{9F7361EB-9F26-B388-4661-581DD6C40C82}"/>
              </a:ext>
            </a:extLst>
          </p:cNvPr>
          <p:cNvSpPr>
            <a:spLocks noGrp="1"/>
          </p:cNvSpPr>
          <p:nvPr>
            <p:ph sz="quarter" idx="10"/>
          </p:nvPr>
        </p:nvSpPr>
        <p:spPr/>
        <p:txBody>
          <a:bodyPr/>
          <a:lstStyle/>
          <a:p>
            <a:r>
              <a:rPr lang="en-US" sz="2000" dirty="0">
                <a:solidFill>
                  <a:srgbClr val="DF750A"/>
                </a:solidFill>
              </a:rPr>
              <a:t>Non habitual tax residence regime</a:t>
            </a:r>
          </a:p>
          <a:p>
            <a:endParaRPr lang="en-GB" dirty="0"/>
          </a:p>
        </p:txBody>
      </p:sp>
      <p:sp>
        <p:nvSpPr>
          <p:cNvPr id="4" name="Content Placeholder 3">
            <a:extLst>
              <a:ext uri="{FF2B5EF4-FFF2-40B4-BE49-F238E27FC236}">
                <a16:creationId xmlns:a16="http://schemas.microsoft.com/office/drawing/2014/main" id="{B6B82BD8-1F14-A6E9-0851-834E7EE5374F}"/>
              </a:ext>
            </a:extLst>
          </p:cNvPr>
          <p:cNvSpPr>
            <a:spLocks noGrp="1"/>
          </p:cNvSpPr>
          <p:nvPr>
            <p:ph sz="half" idx="1"/>
          </p:nvPr>
        </p:nvSpPr>
        <p:spPr>
          <a:xfrm>
            <a:off x="727390" y="1600200"/>
            <a:ext cx="5265196" cy="4525963"/>
          </a:xfrm>
        </p:spPr>
        <p:txBody>
          <a:bodyPr>
            <a:normAutofit/>
          </a:bodyPr>
          <a:lstStyle/>
          <a:p>
            <a:pPr marL="177800" indent="-177800" algn="just">
              <a:lnSpc>
                <a:spcPct val="110000"/>
              </a:lnSpc>
              <a:spcBef>
                <a:spcPts val="300"/>
              </a:spcBef>
              <a:spcAft>
                <a:spcPts val="300"/>
              </a:spcAft>
              <a:buClr>
                <a:srgbClr val="747B5D"/>
              </a:buClr>
              <a:buFont typeface="Wingdings" panose="05000000000000000000" pitchFamily="2" charset="2"/>
              <a:buChar char="§"/>
            </a:pPr>
            <a:r>
              <a:rPr lang="en-GB" sz="1300" dirty="0"/>
              <a:t>According to the NHR regime rules, an individual may qualify as NHR if he/she:</a:t>
            </a:r>
          </a:p>
          <a:p>
            <a:pPr marL="635000" lvl="1" indent="-177800" algn="just">
              <a:lnSpc>
                <a:spcPct val="110000"/>
              </a:lnSpc>
              <a:spcBef>
                <a:spcPts val="300"/>
              </a:spcBef>
              <a:spcAft>
                <a:spcPts val="300"/>
              </a:spcAft>
              <a:buClr>
                <a:srgbClr val="747B5D"/>
              </a:buClr>
              <a:buFont typeface="Wingdings" panose="05000000000000000000" pitchFamily="2" charset="2"/>
              <a:buChar char="§"/>
            </a:pPr>
            <a:r>
              <a:rPr lang="en-GB" sz="1200" b="1" dirty="0">
                <a:solidFill>
                  <a:srgbClr val="DF6E11"/>
                </a:solidFill>
                <a:latin typeface="Cambria" panose="02040503050406030204" pitchFamily="18" charset="0"/>
                <a:ea typeface="Cambria" panose="02040503050406030204" pitchFamily="18" charset="0"/>
              </a:rPr>
              <a:t>Qualifies as Portuguese tax resident </a:t>
            </a:r>
            <a:r>
              <a:rPr lang="en-GB" sz="1300" dirty="0">
                <a:latin typeface="Cambria" panose="02040503050406030204" pitchFamily="18" charset="0"/>
                <a:ea typeface="Cambria" panose="02040503050406030204" pitchFamily="18" charset="0"/>
              </a:rPr>
              <a:t>in a certain tax year under the domestic residency criteria; and</a:t>
            </a:r>
          </a:p>
          <a:p>
            <a:pPr marL="635000" lvl="1" indent="-177800" algn="just">
              <a:lnSpc>
                <a:spcPct val="110000"/>
              </a:lnSpc>
              <a:spcBef>
                <a:spcPts val="300"/>
              </a:spcBef>
              <a:spcAft>
                <a:spcPts val="300"/>
              </a:spcAft>
              <a:buClr>
                <a:srgbClr val="747B5D"/>
              </a:buClr>
              <a:buFont typeface="Wingdings" panose="05000000000000000000" pitchFamily="2" charset="2"/>
              <a:buChar char="§"/>
            </a:pPr>
            <a:r>
              <a:rPr lang="en-GB" sz="1300" dirty="0">
                <a:latin typeface="Cambria" panose="02040503050406030204" pitchFamily="18" charset="0"/>
                <a:ea typeface="Cambria" panose="02040503050406030204" pitchFamily="18" charset="0"/>
              </a:rPr>
              <a:t>Has not been considered as Portuguese tax resident in any of the </a:t>
            </a:r>
            <a:r>
              <a:rPr lang="en-GB" sz="1200" b="1" dirty="0">
                <a:solidFill>
                  <a:srgbClr val="DF6E11"/>
                </a:solidFill>
                <a:latin typeface="Cambria" panose="02040503050406030204" pitchFamily="18" charset="0"/>
                <a:ea typeface="Cambria" panose="02040503050406030204" pitchFamily="18" charset="0"/>
              </a:rPr>
              <a:t>previous 5 years</a:t>
            </a:r>
            <a:r>
              <a:rPr lang="en-GB" sz="1300" dirty="0">
                <a:latin typeface="Cambria" panose="02040503050406030204" pitchFamily="18" charset="0"/>
                <a:ea typeface="Cambria" panose="02040503050406030204" pitchFamily="18" charset="0"/>
              </a:rPr>
              <a:t>.</a:t>
            </a:r>
          </a:p>
          <a:p>
            <a:pPr marL="177800" indent="-177800" algn="just">
              <a:lnSpc>
                <a:spcPct val="110000"/>
              </a:lnSpc>
              <a:spcBef>
                <a:spcPts val="300"/>
              </a:spcBef>
              <a:spcAft>
                <a:spcPts val="300"/>
              </a:spcAft>
              <a:buClr>
                <a:srgbClr val="747B5D"/>
              </a:buClr>
              <a:buFont typeface="Wingdings" panose="05000000000000000000" pitchFamily="2" charset="2"/>
              <a:buChar char="§"/>
            </a:pPr>
            <a:r>
              <a:rPr lang="en-GB" sz="1300" dirty="0"/>
              <a:t>The individual meeting the two conditions above may benefit from the special regime for NHR for a </a:t>
            </a:r>
            <a:r>
              <a:rPr lang="en-GB" sz="1200" b="1" dirty="0">
                <a:solidFill>
                  <a:srgbClr val="DF6E11"/>
                </a:solidFill>
              </a:rPr>
              <a:t>10-year period (consecutive)</a:t>
            </a:r>
            <a:r>
              <a:rPr lang="en-GB" sz="1300" dirty="0"/>
              <a:t>. </a:t>
            </a:r>
          </a:p>
          <a:p>
            <a:pPr marL="177800" indent="-177800" algn="just">
              <a:lnSpc>
                <a:spcPct val="110000"/>
              </a:lnSpc>
              <a:spcBef>
                <a:spcPts val="300"/>
              </a:spcBef>
              <a:spcAft>
                <a:spcPts val="300"/>
              </a:spcAft>
              <a:buClr>
                <a:srgbClr val="747B5D"/>
              </a:buClr>
              <a:buFont typeface="Wingdings" panose="05000000000000000000" pitchFamily="2" charset="2"/>
              <a:buChar char="§"/>
            </a:pPr>
            <a:r>
              <a:rPr lang="en-GB" sz="1300" dirty="0"/>
              <a:t>The status of NHR becomes effective upon registration with the Portuguese Tax Authorities. The application for registration should be made by no later than </a:t>
            </a:r>
            <a:r>
              <a:rPr lang="en-GB" sz="1200" b="1" dirty="0">
                <a:solidFill>
                  <a:srgbClr val="DF6E11"/>
                </a:solidFill>
              </a:rPr>
              <a:t>31 March of the year following </a:t>
            </a:r>
            <a:r>
              <a:rPr lang="en-GB" sz="1300" dirty="0"/>
              <a:t>the one the individual becomes tax resident in Portugal.</a:t>
            </a:r>
          </a:p>
          <a:p>
            <a:pPr marL="177800" indent="-177800" algn="just">
              <a:lnSpc>
                <a:spcPct val="110000"/>
              </a:lnSpc>
              <a:spcBef>
                <a:spcPts val="300"/>
              </a:spcBef>
              <a:spcAft>
                <a:spcPts val="300"/>
              </a:spcAft>
              <a:buClr>
                <a:srgbClr val="747B5D"/>
              </a:buClr>
              <a:buFont typeface="Wingdings" panose="05000000000000000000" pitchFamily="2" charset="2"/>
              <a:buChar char="§"/>
            </a:pPr>
            <a:r>
              <a:rPr lang="en-GB" sz="1300" dirty="0"/>
              <a:t>A NHR is </a:t>
            </a:r>
            <a:r>
              <a:rPr lang="en-GB" sz="1200" b="1" dirty="0">
                <a:solidFill>
                  <a:srgbClr val="DF6E11"/>
                </a:solidFill>
              </a:rPr>
              <a:t>resident in Portugal for domestic and tax treaty purposes </a:t>
            </a:r>
            <a:r>
              <a:rPr lang="en-GB" sz="1300" dirty="0"/>
              <a:t>and therefore in all tax issues not covered by NHR regime (next slide), the general rules will apply.</a:t>
            </a:r>
          </a:p>
          <a:p>
            <a:endParaRPr lang="en-GB" dirty="0"/>
          </a:p>
        </p:txBody>
      </p:sp>
      <p:sp>
        <p:nvSpPr>
          <p:cNvPr id="8" name="Content Placeholder 3">
            <a:extLst>
              <a:ext uri="{FF2B5EF4-FFF2-40B4-BE49-F238E27FC236}">
                <a16:creationId xmlns:a16="http://schemas.microsoft.com/office/drawing/2014/main" id="{B01BDE86-97E9-1567-56A4-96B0678FF63D}"/>
              </a:ext>
            </a:extLst>
          </p:cNvPr>
          <p:cNvSpPr txBox="1">
            <a:spLocks/>
          </p:cNvSpPr>
          <p:nvPr/>
        </p:nvSpPr>
        <p:spPr>
          <a:xfrm>
            <a:off x="6328200" y="1605643"/>
            <a:ext cx="5136410" cy="45259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Cambria" panose="02040503050406030204" pitchFamily="18" charset="0"/>
                <a:ea typeface="Cambria" panose="02040503050406030204" pitchFamily="18"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6550" indent="-177800" algn="just">
              <a:lnSpc>
                <a:spcPct val="110000"/>
              </a:lnSpc>
              <a:spcBef>
                <a:spcPts val="300"/>
              </a:spcBef>
              <a:spcAft>
                <a:spcPts val="300"/>
              </a:spcAft>
              <a:buClr>
                <a:srgbClr val="747B5D"/>
              </a:buClr>
              <a:buFont typeface="Wingdings" panose="05000000000000000000" pitchFamily="2" charset="2"/>
              <a:buChar char="§"/>
            </a:pPr>
            <a:r>
              <a:rPr lang="en-GB" sz="1300" dirty="0"/>
              <a:t>As a rule, income is subject to Portuguese personal income tax on a cash-receipt basis. A few exceptions apply, in particular if the </a:t>
            </a:r>
            <a:r>
              <a:rPr lang="en-GB" sz="1300" b="1" dirty="0">
                <a:solidFill>
                  <a:srgbClr val="DF6E11"/>
                </a:solidFill>
              </a:rPr>
              <a:t>Controlled Foreign Company (CFC) legislation </a:t>
            </a:r>
            <a:r>
              <a:rPr lang="en-GB" sz="1300" dirty="0"/>
              <a:t>may apply.</a:t>
            </a:r>
          </a:p>
          <a:p>
            <a:pPr marL="336550" indent="-177800" algn="just">
              <a:lnSpc>
                <a:spcPct val="110000"/>
              </a:lnSpc>
              <a:spcBef>
                <a:spcPts val="300"/>
              </a:spcBef>
              <a:spcAft>
                <a:spcPts val="300"/>
              </a:spcAft>
              <a:buClr>
                <a:srgbClr val="747B5D"/>
              </a:buClr>
              <a:buFont typeface="Wingdings" panose="05000000000000000000" pitchFamily="2" charset="2"/>
              <a:buChar char="§"/>
            </a:pPr>
            <a:r>
              <a:rPr lang="en-GB" sz="1300" dirty="0"/>
              <a:t>Another general feature is that Portugal offers the possibility to pass </a:t>
            </a:r>
            <a:r>
              <a:rPr lang="en-GB" sz="1300" b="1" dirty="0">
                <a:solidFill>
                  <a:srgbClr val="DF6E11"/>
                </a:solidFill>
              </a:rPr>
              <a:t>wealth or estate without inheritance or gift taxes </a:t>
            </a:r>
            <a:r>
              <a:rPr lang="en-GB" sz="1300" dirty="0"/>
              <a:t>in most cases. </a:t>
            </a:r>
          </a:p>
          <a:p>
            <a:pPr marL="336550" indent="-177800" algn="just">
              <a:lnSpc>
                <a:spcPct val="110000"/>
              </a:lnSpc>
              <a:spcBef>
                <a:spcPts val="300"/>
              </a:spcBef>
              <a:spcAft>
                <a:spcPts val="300"/>
              </a:spcAft>
              <a:buClr>
                <a:srgbClr val="747B5D"/>
              </a:buClr>
              <a:buFont typeface="Wingdings" panose="05000000000000000000" pitchFamily="2" charset="2"/>
              <a:buChar char="§"/>
            </a:pPr>
            <a:r>
              <a:rPr lang="en-GB" sz="1300" dirty="0"/>
              <a:t>Income from </a:t>
            </a:r>
            <a:r>
              <a:rPr lang="en-GB" sz="1300" b="1" dirty="0">
                <a:solidFill>
                  <a:srgbClr val="DF6E11"/>
                </a:solidFill>
              </a:rPr>
              <a:t>cryptoassets</a:t>
            </a:r>
            <a:r>
              <a:rPr lang="en-GB" sz="1300" dirty="0"/>
              <a:t>, art or collector items not subject to tax unless obtained within a business activity.</a:t>
            </a:r>
          </a:p>
          <a:p>
            <a:pPr marL="336550" indent="-177800" algn="just">
              <a:lnSpc>
                <a:spcPct val="110000"/>
              </a:lnSpc>
              <a:spcBef>
                <a:spcPts val="300"/>
              </a:spcBef>
              <a:spcAft>
                <a:spcPts val="300"/>
              </a:spcAft>
              <a:buClr>
                <a:srgbClr val="747B5D"/>
              </a:buClr>
              <a:buFont typeface="Wingdings" panose="05000000000000000000" pitchFamily="2" charset="2"/>
              <a:buChar char="§"/>
            </a:pPr>
            <a:r>
              <a:rPr lang="en-GB" sz="1300" dirty="0"/>
              <a:t>No </a:t>
            </a:r>
            <a:r>
              <a:rPr lang="en-GB" sz="1300" b="1" dirty="0">
                <a:solidFill>
                  <a:srgbClr val="DF6E11"/>
                </a:solidFill>
              </a:rPr>
              <a:t>tax reporting </a:t>
            </a:r>
            <a:r>
              <a:rPr lang="en-GB" sz="1300" dirty="0"/>
              <a:t>obligations on financial assets (except reporting of foreign bank accounts)</a:t>
            </a:r>
          </a:p>
          <a:p>
            <a:pPr marL="336550" indent="-177800" algn="just">
              <a:lnSpc>
                <a:spcPct val="110000"/>
              </a:lnSpc>
              <a:spcBef>
                <a:spcPts val="300"/>
              </a:spcBef>
              <a:spcAft>
                <a:spcPts val="300"/>
              </a:spcAft>
              <a:buClr>
                <a:srgbClr val="747B5D"/>
              </a:buClr>
              <a:buFont typeface="Wingdings" panose="05000000000000000000" pitchFamily="2" charset="2"/>
              <a:buChar char="§"/>
            </a:pPr>
            <a:r>
              <a:rPr lang="en-GB" sz="1300" dirty="0"/>
              <a:t>There is also </a:t>
            </a:r>
            <a:r>
              <a:rPr lang="en-GB" sz="1300" b="1" dirty="0">
                <a:solidFill>
                  <a:srgbClr val="DF6E11"/>
                </a:solidFill>
              </a:rPr>
              <a:t>no wealth tax </a:t>
            </a:r>
            <a:r>
              <a:rPr lang="en-GB" sz="1300" dirty="0"/>
              <a:t>or general exit tax in Portugal</a:t>
            </a:r>
          </a:p>
          <a:p>
            <a:endParaRPr lang="en-GB" dirty="0"/>
          </a:p>
        </p:txBody>
      </p:sp>
    </p:spTree>
    <p:extLst>
      <p:ext uri="{BB962C8B-B14F-4D97-AF65-F5344CB8AC3E}">
        <p14:creationId xmlns:p14="http://schemas.microsoft.com/office/powerpoint/2010/main" val="4120362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12192000" cy="7071952"/>
          </a:xfrm>
        </p:spPr>
      </p:pic>
      <p:sp>
        <p:nvSpPr>
          <p:cNvPr id="2" name="Title 1"/>
          <p:cNvSpPr>
            <a:spLocks noGrp="1"/>
          </p:cNvSpPr>
          <p:nvPr>
            <p:ph type="title"/>
          </p:nvPr>
        </p:nvSpPr>
        <p:spPr>
          <a:xfrm>
            <a:off x="472119" y="564903"/>
            <a:ext cx="9847587" cy="417250"/>
          </a:xfrm>
        </p:spPr>
        <p:txBody>
          <a:bodyPr/>
          <a:lstStyle/>
          <a:p>
            <a:r>
              <a:rPr lang="en-GB" dirty="0"/>
              <a:t>Our 5 goals for this session</a:t>
            </a:r>
          </a:p>
        </p:txBody>
      </p:sp>
      <p:sp>
        <p:nvSpPr>
          <p:cNvPr id="3" name="TextBox 2">
            <a:extLst>
              <a:ext uri="{FF2B5EF4-FFF2-40B4-BE49-F238E27FC236}">
                <a16:creationId xmlns:a16="http://schemas.microsoft.com/office/drawing/2014/main" id="{B5BC6C10-1ADD-97F3-4955-1740A39F8A0F}"/>
              </a:ext>
            </a:extLst>
          </p:cNvPr>
          <p:cNvSpPr txBox="1"/>
          <p:nvPr/>
        </p:nvSpPr>
        <p:spPr>
          <a:xfrm>
            <a:off x="565264" y="1529542"/>
            <a:ext cx="10839797" cy="2793842"/>
          </a:xfrm>
          <a:prstGeom prst="rect">
            <a:avLst/>
          </a:prstGeom>
          <a:noFill/>
        </p:spPr>
        <p:txBody>
          <a:bodyPr wrap="square" rtlCol="0">
            <a:spAutoFit/>
          </a:bodyPr>
          <a:lstStyle/>
          <a:p>
            <a:pPr>
              <a:lnSpc>
                <a:spcPct val="150000"/>
              </a:lnSpc>
              <a:tabLst>
                <a:tab pos="449263" algn="l"/>
              </a:tabLst>
            </a:pPr>
            <a:r>
              <a:rPr lang="en-GB" sz="2400" dirty="0"/>
              <a:t>1.	Not describe you the preferential tax regimes available…</a:t>
            </a:r>
          </a:p>
          <a:p>
            <a:pPr>
              <a:lnSpc>
                <a:spcPct val="150000"/>
              </a:lnSpc>
              <a:tabLst>
                <a:tab pos="449263" algn="l"/>
              </a:tabLst>
            </a:pPr>
            <a:r>
              <a:rPr lang="en-GB" sz="2400" dirty="0"/>
              <a:t>2.	Not teach you how to avoid tax for your HNWI clients…</a:t>
            </a:r>
          </a:p>
          <a:p>
            <a:pPr>
              <a:lnSpc>
                <a:spcPct val="150000"/>
              </a:lnSpc>
              <a:tabLst>
                <a:tab pos="449263" algn="l"/>
              </a:tabLst>
            </a:pPr>
            <a:r>
              <a:rPr lang="en-GB" sz="2400" dirty="0"/>
              <a:t>3.	Discuss impact of preferential tax regimes on tax treaties </a:t>
            </a:r>
          </a:p>
          <a:p>
            <a:pPr>
              <a:lnSpc>
                <a:spcPct val="150000"/>
              </a:lnSpc>
              <a:tabLst>
                <a:tab pos="449263" algn="l"/>
              </a:tabLst>
            </a:pPr>
            <a:r>
              <a:rPr lang="en-GB" sz="2400" dirty="0"/>
              <a:t>4.	Focus on real situations from residence and source perspective</a:t>
            </a:r>
          </a:p>
          <a:p>
            <a:pPr>
              <a:lnSpc>
                <a:spcPct val="150000"/>
              </a:lnSpc>
              <a:tabLst>
                <a:tab pos="449263" algn="l"/>
              </a:tabLst>
            </a:pPr>
            <a:r>
              <a:rPr lang="en-GB" sz="2400" dirty="0"/>
              <a:t>5.	Reach some preliminary conclusions but not solutions</a:t>
            </a:r>
          </a:p>
        </p:txBody>
      </p:sp>
      <p:sp>
        <p:nvSpPr>
          <p:cNvPr id="5" name="Untertitel 12">
            <a:extLst>
              <a:ext uri="{FF2B5EF4-FFF2-40B4-BE49-F238E27FC236}">
                <a16:creationId xmlns:a16="http://schemas.microsoft.com/office/drawing/2014/main" id="{3EDA7785-61C5-2213-D15C-4182AE5EF7F5}"/>
              </a:ext>
            </a:extLst>
          </p:cNvPr>
          <p:cNvSpPr txBox="1">
            <a:spLocks/>
          </p:cNvSpPr>
          <p:nvPr/>
        </p:nvSpPr>
        <p:spPr>
          <a:xfrm>
            <a:off x="392112" y="19014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3598132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4046" y="1412776"/>
            <a:ext cx="5711954" cy="5112568"/>
          </a:xfrm>
        </p:spPr>
        <p:txBody>
          <a:bodyPr>
            <a:noAutofit/>
          </a:bodyPr>
          <a:lstStyle/>
          <a:p>
            <a:pPr marL="0" indent="0" algn="just">
              <a:spcBef>
                <a:spcPts val="300"/>
              </a:spcBef>
              <a:spcAft>
                <a:spcPts val="300"/>
              </a:spcAft>
              <a:buNone/>
            </a:pPr>
            <a:r>
              <a:rPr lang="en-GB" sz="1400" b="1" dirty="0">
                <a:solidFill>
                  <a:srgbClr val="747B5D"/>
                </a:solidFill>
                <a:latin typeface="Cambria" panose="02040503050406030204" pitchFamily="18" charset="0"/>
                <a:ea typeface="Cambria" panose="02040503050406030204" pitchFamily="18" charset="0"/>
              </a:rPr>
              <a:t>NHR Tax regime</a:t>
            </a:r>
            <a:endParaRPr lang="en-US" sz="1400" b="1" dirty="0">
              <a:solidFill>
                <a:srgbClr val="747B5D"/>
              </a:solidFill>
              <a:latin typeface="Cambria" panose="02040503050406030204" pitchFamily="18" charset="0"/>
              <a:ea typeface="Cambria" panose="02040503050406030204" pitchFamily="18" charset="0"/>
            </a:endParaRPr>
          </a:p>
          <a:p>
            <a:pPr algn="just">
              <a:spcBef>
                <a:spcPts val="300"/>
              </a:spcBef>
              <a:spcAft>
                <a:spcPts val="300"/>
              </a:spcAft>
              <a:buClr>
                <a:srgbClr val="747B5D"/>
              </a:buClr>
              <a:buFont typeface="Wingdings" panose="05000000000000000000" pitchFamily="2" charset="2"/>
              <a:buChar char="§"/>
            </a:pPr>
            <a:r>
              <a:rPr lang="en-GB" sz="1200" dirty="0">
                <a:latin typeface="Cambria" panose="02040503050406030204" pitchFamily="18" charset="0"/>
                <a:ea typeface="Cambria" panose="02040503050406030204" pitchFamily="18" charset="0"/>
              </a:rPr>
              <a:t>The NHR regime establishes:</a:t>
            </a:r>
            <a:endParaRPr lang="en-US" sz="1200" dirty="0">
              <a:latin typeface="Cambria" panose="02040503050406030204" pitchFamily="18" charset="0"/>
              <a:ea typeface="Cambria" panose="02040503050406030204" pitchFamily="18" charset="0"/>
            </a:endParaRPr>
          </a:p>
          <a:p>
            <a:pPr marL="360363" lvl="1" indent="-180975"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A special tax rate of 20% applicable to employment and self-employment income from a Portuguese source derived from “high value-added activities”, as per a list published by the PTA; and</a:t>
            </a:r>
          </a:p>
          <a:p>
            <a:pPr marL="360363" lvl="1" indent="-180975"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A tax exemption (with progression) for foreign-sourced income (employment income, self-employment income, rental income, capital gains, interest, dividends, etc.), provided certain conditions are met, as detailed below.</a:t>
            </a:r>
          </a:p>
          <a:p>
            <a:pPr marL="177800" lvl="1" indent="-177800" algn="just">
              <a:spcBef>
                <a:spcPts val="300"/>
              </a:spcBef>
              <a:spcAft>
                <a:spcPts val="300"/>
              </a:spcAft>
              <a:buClr>
                <a:srgbClr val="747B5D"/>
              </a:buClr>
              <a:buFont typeface="Wingdings" panose="05000000000000000000" pitchFamily="2" charset="2"/>
              <a:buChar char="§"/>
            </a:pPr>
            <a:r>
              <a:rPr lang="en-US" sz="1200" dirty="0">
                <a:latin typeface="Cambria" panose="02040503050406030204" pitchFamily="18" charset="0"/>
                <a:ea typeface="Cambria" panose="02040503050406030204" pitchFamily="18" charset="0"/>
              </a:rPr>
              <a:t>Foreign sourced </a:t>
            </a:r>
            <a:r>
              <a:rPr lang="en-US" sz="1200" b="1" dirty="0">
                <a:solidFill>
                  <a:srgbClr val="DF6E11"/>
                </a:solidFill>
                <a:latin typeface="Cambria" panose="02040503050406030204" pitchFamily="18" charset="0"/>
                <a:ea typeface="Cambria" panose="02040503050406030204" pitchFamily="18" charset="0"/>
              </a:rPr>
              <a:t>employment income </a:t>
            </a:r>
            <a:r>
              <a:rPr lang="en-US" sz="1200" dirty="0">
                <a:latin typeface="Cambria" panose="02040503050406030204" pitchFamily="18" charset="0"/>
                <a:ea typeface="Cambria" panose="02040503050406030204" pitchFamily="18" charset="0"/>
              </a:rPr>
              <a:t>(Category A) is exempt provided that one of the following conditions is met:</a:t>
            </a:r>
          </a:p>
          <a:p>
            <a:pPr marL="360363" indent="-180975"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The income is </a:t>
            </a:r>
            <a:r>
              <a:rPr lang="en-US" sz="1200" u="sng" dirty="0">
                <a:latin typeface="Cambria" panose="02040503050406030204" pitchFamily="18" charset="0"/>
                <a:ea typeface="Cambria" panose="02040503050406030204" pitchFamily="18" charset="0"/>
              </a:rPr>
              <a:t>taxed at source </a:t>
            </a:r>
            <a:r>
              <a:rPr lang="en-US" sz="1200" dirty="0">
                <a:latin typeface="Cambria" panose="02040503050406030204" pitchFamily="18" charset="0"/>
                <a:ea typeface="Cambria" panose="02040503050406030204" pitchFamily="18" charset="0"/>
              </a:rPr>
              <a:t>under the provisions of tax treaty: or;</a:t>
            </a:r>
          </a:p>
          <a:p>
            <a:pPr marL="360363" indent="-180975"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The income is effectively taxed at source State and is not deemed as having its source in Portugal under domestic law in cases where there is no tax treaty in force.</a:t>
            </a:r>
            <a:endParaRPr lang="en-GB" sz="1200" dirty="0">
              <a:latin typeface="Cambria" panose="02040503050406030204" pitchFamily="18" charset="0"/>
              <a:ea typeface="Cambria" panose="02040503050406030204" pitchFamily="18" charset="0"/>
            </a:endParaRPr>
          </a:p>
          <a:p>
            <a:pPr algn="just">
              <a:spcBef>
                <a:spcPts val="300"/>
              </a:spcBef>
              <a:spcAft>
                <a:spcPts val="300"/>
              </a:spcAft>
              <a:buClr>
                <a:srgbClr val="747B5D"/>
              </a:buClr>
              <a:buFont typeface="Wingdings" panose="05000000000000000000" pitchFamily="2" charset="2"/>
              <a:buChar char="§"/>
            </a:pPr>
            <a:r>
              <a:rPr lang="en-US" sz="1200" dirty="0">
                <a:latin typeface="Cambria" panose="02040503050406030204" pitchFamily="18" charset="0"/>
                <a:ea typeface="Cambria" panose="02040503050406030204" pitchFamily="18" charset="0"/>
              </a:rPr>
              <a:t>Foreign sourced </a:t>
            </a:r>
            <a:r>
              <a:rPr lang="en-US" sz="1200" b="1" dirty="0">
                <a:solidFill>
                  <a:srgbClr val="DF6E11"/>
                </a:solidFill>
                <a:latin typeface="Cambria" panose="02040503050406030204" pitchFamily="18" charset="0"/>
                <a:ea typeface="Cambria" panose="02040503050406030204" pitchFamily="18" charset="0"/>
              </a:rPr>
              <a:t>investment income </a:t>
            </a:r>
            <a:r>
              <a:rPr lang="en-US" sz="1200" dirty="0">
                <a:latin typeface="Cambria" panose="02040503050406030204" pitchFamily="18" charset="0"/>
                <a:ea typeface="Cambria" panose="02040503050406030204" pitchFamily="18" charset="0"/>
              </a:rPr>
              <a:t>(Category E), </a:t>
            </a:r>
            <a:r>
              <a:rPr lang="en-US" sz="1200" b="1" dirty="0">
                <a:solidFill>
                  <a:srgbClr val="DF6E11"/>
                </a:solidFill>
                <a:latin typeface="Cambria" panose="02040503050406030204" pitchFamily="18" charset="0"/>
                <a:ea typeface="Cambria" panose="02040503050406030204" pitchFamily="18" charset="0"/>
              </a:rPr>
              <a:t>rental income </a:t>
            </a:r>
            <a:r>
              <a:rPr lang="en-US" sz="1200" dirty="0">
                <a:latin typeface="Cambria" panose="02040503050406030204" pitchFamily="18" charset="0"/>
                <a:ea typeface="Cambria" panose="02040503050406030204" pitchFamily="18" charset="0"/>
              </a:rPr>
              <a:t>(Category F) and </a:t>
            </a:r>
            <a:r>
              <a:rPr lang="en-US" sz="1200" b="1" dirty="0">
                <a:solidFill>
                  <a:srgbClr val="DF6E11"/>
                </a:solidFill>
                <a:latin typeface="Cambria" panose="02040503050406030204" pitchFamily="18" charset="0"/>
                <a:ea typeface="Cambria" panose="02040503050406030204" pitchFamily="18" charset="0"/>
              </a:rPr>
              <a:t>capital gains </a:t>
            </a:r>
            <a:r>
              <a:rPr lang="en-US" sz="1200" dirty="0">
                <a:latin typeface="Cambria" panose="02040503050406030204" pitchFamily="18" charset="0"/>
                <a:ea typeface="Cambria" panose="02040503050406030204" pitchFamily="18" charset="0"/>
              </a:rPr>
              <a:t>(Category G) is exempt provided that one of the following conditions is met:</a:t>
            </a:r>
          </a:p>
          <a:p>
            <a:pPr marL="358775"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The income </a:t>
            </a:r>
            <a:r>
              <a:rPr lang="en-US" sz="1200" u="sng" dirty="0">
                <a:latin typeface="Cambria" panose="02040503050406030204" pitchFamily="18" charset="0"/>
                <a:ea typeface="Cambria" panose="02040503050406030204" pitchFamily="18" charset="0"/>
              </a:rPr>
              <a:t>may be taxed at source </a:t>
            </a:r>
            <a:r>
              <a:rPr lang="en-US" sz="1200" dirty="0">
                <a:latin typeface="Cambria" panose="02040503050406030204" pitchFamily="18" charset="0"/>
                <a:ea typeface="Cambria" panose="02040503050406030204" pitchFamily="18" charset="0"/>
              </a:rPr>
              <a:t>State under the provisions of a tax treaty; or</a:t>
            </a:r>
          </a:p>
          <a:p>
            <a:pPr marL="358775"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The income may be taxed in another no-treaty state, territory or region according to the provisions of the OECD Model Convention, as  interpreted in accordance with the observations and reservations made by Portugal and is not derived from a blacklisted jurisdiction, paid by a Portuguese resident entity or attributable to a Portuguese permanent establishment.</a:t>
            </a:r>
          </a:p>
          <a:p>
            <a:pPr marL="179388" lvl="1" indent="0" algn="just">
              <a:spcBef>
                <a:spcPts val="300"/>
              </a:spcBef>
              <a:spcAft>
                <a:spcPts val="300"/>
              </a:spcAft>
              <a:buNone/>
            </a:pPr>
            <a:r>
              <a:rPr lang="en-US" sz="1200" b="1" i="1" dirty="0">
                <a:latin typeface="Cambria" panose="02040503050406030204" pitchFamily="18" charset="0"/>
                <a:ea typeface="Cambria" panose="02040503050406030204" pitchFamily="18" charset="0"/>
              </a:rPr>
              <a:t>Practical Note: </a:t>
            </a:r>
            <a:r>
              <a:rPr lang="en-US" sz="1200" i="1" dirty="0">
                <a:latin typeface="Cambria" panose="02040503050406030204" pitchFamily="18" charset="0"/>
                <a:ea typeface="Cambria" panose="02040503050406030204" pitchFamily="18" charset="0"/>
              </a:rPr>
              <a:t>In almost all tax treaties, capital gains from the sale of shares are only taxable in resident state (Portugal). This means that in practice, most capital gains of financial portfolios falls outside the exemption and is taxed at 28%. </a:t>
            </a:r>
            <a:endParaRPr lang="en-GB" sz="1200" i="1" u="sng" dirty="0">
              <a:latin typeface="Cambria" panose="02040503050406030204" pitchFamily="18" charset="0"/>
              <a:ea typeface="Cambria" panose="02040503050406030204" pitchFamily="18" charset="0"/>
            </a:endParaRPr>
          </a:p>
          <a:p>
            <a:pPr marL="0" lvl="1" indent="0" algn="just">
              <a:spcBef>
                <a:spcPts val="300"/>
              </a:spcBef>
              <a:spcAft>
                <a:spcPts val="300"/>
              </a:spcAft>
              <a:buNone/>
            </a:pPr>
            <a:endParaRPr lang="en-US" sz="1200" dirty="0">
              <a:latin typeface="Cambria" panose="02040503050406030204" pitchFamily="18" charset="0"/>
              <a:ea typeface="Cambria" panose="02040503050406030204" pitchFamily="18" charset="0"/>
            </a:endParaRPr>
          </a:p>
          <a:p>
            <a:pPr marL="360363" lvl="1" indent="-180975" algn="just">
              <a:spcBef>
                <a:spcPts val="300"/>
              </a:spcBef>
              <a:spcAft>
                <a:spcPts val="300"/>
              </a:spcAft>
              <a:buFont typeface="Wingdings" panose="05000000000000000000" pitchFamily="2" charset="2"/>
              <a:buChar char="ü"/>
            </a:pPr>
            <a:endParaRPr lang="en-US" sz="1000" dirty="0"/>
          </a:p>
        </p:txBody>
      </p:sp>
      <p:sp>
        <p:nvSpPr>
          <p:cNvPr id="5" name="Title 4"/>
          <p:cNvSpPr>
            <a:spLocks noGrp="1"/>
          </p:cNvSpPr>
          <p:nvPr>
            <p:ph type="ctrTitle"/>
          </p:nvPr>
        </p:nvSpPr>
        <p:spPr>
          <a:xfrm>
            <a:off x="718153" y="168063"/>
            <a:ext cx="12048661" cy="576063"/>
          </a:xfrm>
        </p:spPr>
        <p:txBody>
          <a:bodyPr/>
          <a:lstStyle/>
          <a:p>
            <a:r>
              <a:rPr lang="en-US" dirty="0">
                <a:solidFill>
                  <a:srgbClr val="757A61"/>
                </a:solidFill>
                <a:latin typeface="Cambria" panose="02040503050406030204" pitchFamily="18" charset="0"/>
                <a:ea typeface="Cambria" panose="02040503050406030204" pitchFamily="18" charset="0"/>
              </a:rPr>
              <a:t>Portuguese NHR regime</a:t>
            </a:r>
          </a:p>
        </p:txBody>
      </p:sp>
      <p:sp>
        <p:nvSpPr>
          <p:cNvPr id="6" name="Text Placeholder 5"/>
          <p:cNvSpPr>
            <a:spLocks noGrp="1"/>
          </p:cNvSpPr>
          <p:nvPr>
            <p:ph type="body" sz="quarter" idx="14"/>
          </p:nvPr>
        </p:nvSpPr>
        <p:spPr>
          <a:xfrm>
            <a:off x="718748" y="718087"/>
            <a:ext cx="12048066" cy="360363"/>
          </a:xfrm>
        </p:spPr>
        <p:txBody>
          <a:bodyPr/>
          <a:lstStyle/>
          <a:p>
            <a:r>
              <a:rPr lang="en-US" dirty="0">
                <a:latin typeface="Cambria" panose="02040503050406030204" pitchFamily="18" charset="0"/>
                <a:ea typeface="Cambria" panose="02040503050406030204" pitchFamily="18" charset="0"/>
              </a:rPr>
              <a:t>Non habitual tax residence regime</a:t>
            </a:r>
          </a:p>
        </p:txBody>
      </p:sp>
      <p:sp>
        <p:nvSpPr>
          <p:cNvPr id="8" name="Content Placeholder 7"/>
          <p:cNvSpPr>
            <a:spLocks noGrp="1"/>
          </p:cNvSpPr>
          <p:nvPr>
            <p:ph idx="16"/>
          </p:nvPr>
        </p:nvSpPr>
        <p:spPr>
          <a:xfrm>
            <a:off x="6330026" y="1628474"/>
            <a:ext cx="5477928" cy="6120680"/>
          </a:xfrm>
        </p:spPr>
        <p:txBody>
          <a:bodyPr>
            <a:noAutofit/>
          </a:bodyPr>
          <a:lstStyle/>
          <a:p>
            <a:pPr algn="just">
              <a:spcBef>
                <a:spcPts val="300"/>
              </a:spcBef>
              <a:spcAft>
                <a:spcPts val="300"/>
              </a:spcAft>
              <a:buClr>
                <a:srgbClr val="747B5D"/>
              </a:buClr>
              <a:buFont typeface="Wingdings" panose="05000000000000000000" pitchFamily="2" charset="2"/>
              <a:buChar char="§"/>
            </a:pPr>
            <a:r>
              <a:rPr lang="en-US" sz="1200" dirty="0">
                <a:latin typeface="Cambria" panose="02040503050406030204" pitchFamily="18" charset="0"/>
                <a:ea typeface="Cambria" panose="02040503050406030204" pitchFamily="18" charset="0"/>
              </a:rPr>
              <a:t>For </a:t>
            </a:r>
            <a:r>
              <a:rPr lang="en-US" sz="1200" b="1" dirty="0">
                <a:solidFill>
                  <a:srgbClr val="DF6E11"/>
                </a:solidFill>
                <a:latin typeface="Cambria" panose="02040503050406030204" pitchFamily="18" charset="0"/>
                <a:ea typeface="Cambria" panose="02040503050406030204" pitchFamily="18" charset="0"/>
              </a:rPr>
              <a:t>Foreign Pension income</a:t>
            </a:r>
            <a:r>
              <a:rPr lang="en-US" sz="1200" dirty="0">
                <a:latin typeface="Cambria" panose="02040503050406030204" pitchFamily="18" charset="0"/>
                <a:ea typeface="Cambria" panose="02040503050406030204" pitchFamily="18" charset="0"/>
              </a:rPr>
              <a:t>, since 1 April 2020, a 10% flat tax applies foreign pension income (Category H) and for elimination of the option for exemption. </a:t>
            </a:r>
          </a:p>
          <a:p>
            <a:pPr marL="358775" lvl="1" indent="-177800"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The definition of pension includes expressly not only pension in annuities but also other similar payments – e.g. lump sum – to the extent they are not sourced or territorially linked to Portugal. </a:t>
            </a:r>
          </a:p>
          <a:p>
            <a:pPr marL="358775" lvl="1" indent="-177800"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The 10% flat tax rate for foreign pensions will be applicable to new Portuguese tax residents – i.e. becoming tax residents after 1 April 2020. </a:t>
            </a:r>
          </a:p>
          <a:p>
            <a:pPr marL="358775" lvl="1" indent="-177800" algn="just">
              <a:spcBef>
                <a:spcPts val="300"/>
              </a:spcBef>
              <a:spcAft>
                <a:spcPts val="300"/>
              </a:spcAft>
              <a:buFont typeface="Wingdings" panose="05000000000000000000" pitchFamily="2" charset="2"/>
              <a:buChar char="ü"/>
            </a:pPr>
            <a:r>
              <a:rPr lang="en-US" sz="1200" dirty="0">
                <a:latin typeface="Cambria" panose="02040503050406030204" pitchFamily="18" charset="0"/>
                <a:ea typeface="Cambria" panose="02040503050406030204" pitchFamily="18" charset="0"/>
              </a:rPr>
              <a:t>The 2020 amendment includes a grandfathering rule for prior tax residents – residents before 1 April 2020 may benefit from the exemption method unless they choose to apply the 10% rate.</a:t>
            </a:r>
          </a:p>
          <a:p>
            <a:pPr algn="just">
              <a:spcBef>
                <a:spcPts val="300"/>
              </a:spcBef>
              <a:spcAft>
                <a:spcPts val="300"/>
              </a:spcAft>
              <a:buClr>
                <a:srgbClr val="747B5D"/>
              </a:buClr>
              <a:buFont typeface="Wingdings" panose="05000000000000000000" pitchFamily="2" charset="2"/>
              <a:buChar char="§"/>
            </a:pPr>
            <a:r>
              <a:rPr lang="en-US" sz="1200" dirty="0">
                <a:latin typeface="Cambria" panose="02040503050406030204" pitchFamily="18" charset="0"/>
                <a:ea typeface="Cambria" panose="02040503050406030204" pitchFamily="18" charset="0"/>
              </a:rPr>
              <a:t>The NHR exemption method in respect of foreign sourced income is an exemption with progression. Accordingly, if the taxpayer derives any other income taxable in Portugal (not subject to flat rates), some of the income exempt under the NHR rules will be considered to determine the progressive rates applicable to the remaining taxable income.</a:t>
            </a:r>
          </a:p>
          <a:p>
            <a:pPr algn="just">
              <a:spcBef>
                <a:spcPts val="300"/>
              </a:spcBef>
              <a:spcAft>
                <a:spcPts val="300"/>
              </a:spcAft>
              <a:buClr>
                <a:srgbClr val="747B5D"/>
              </a:buClr>
              <a:buFont typeface="Wingdings" panose="05000000000000000000" pitchFamily="2" charset="2"/>
              <a:buChar char="§"/>
            </a:pPr>
            <a:r>
              <a:rPr lang="en-US" sz="1200" dirty="0">
                <a:latin typeface="Cambria" panose="02040503050406030204" pitchFamily="18" charset="0"/>
                <a:ea typeface="Cambria" panose="02040503050406030204" pitchFamily="18" charset="0"/>
              </a:rPr>
              <a:t>Whenever the exemption method does not apply (or NHR opts to apply the credit method), a tax credit for the elimination of international double taxation is granted for foreign withholding taxes up to the amount of tax that would be due in Portugal.</a:t>
            </a:r>
          </a:p>
          <a:p>
            <a:pPr marL="0" indent="0" algn="just">
              <a:spcBef>
                <a:spcPts val="300"/>
              </a:spcBef>
              <a:spcAft>
                <a:spcPts val="300"/>
              </a:spcAft>
              <a:buNone/>
            </a:pPr>
            <a:endParaRPr lang="en-US" sz="1200" dirty="0">
              <a:latin typeface="Cambria" panose="02040503050406030204" pitchFamily="18" charset="0"/>
              <a:ea typeface="Cambria" panose="02040503050406030204" pitchFamily="18" charset="0"/>
            </a:endParaRPr>
          </a:p>
          <a:p>
            <a:pPr algn="just">
              <a:spcBef>
                <a:spcPts val="300"/>
              </a:spcBef>
              <a:spcAft>
                <a:spcPts val="300"/>
              </a:spcAft>
              <a:buFont typeface="Wingdings" panose="05000000000000000000" pitchFamily="2" charset="2"/>
              <a:buChar char="§"/>
            </a:pPr>
            <a:endParaRPr lang="en-US" dirty="0"/>
          </a:p>
        </p:txBody>
      </p:sp>
    </p:spTree>
    <p:extLst>
      <p:ext uri="{BB962C8B-B14F-4D97-AF65-F5344CB8AC3E}">
        <p14:creationId xmlns:p14="http://schemas.microsoft.com/office/powerpoint/2010/main" val="29266850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AC6E8D3-E379-4E58-BDD0-D2D9AD6B9E06}"/>
              </a:ext>
            </a:extLst>
          </p:cNvPr>
          <p:cNvSpPr>
            <a:spLocks noGrp="1"/>
          </p:cNvSpPr>
          <p:nvPr>
            <p:ph type="title"/>
          </p:nvPr>
        </p:nvSpPr>
        <p:spPr/>
        <p:txBody>
          <a:bodyPr/>
          <a:lstStyle/>
          <a:p>
            <a:r>
              <a:rPr lang="en-US" sz="1400" dirty="0"/>
              <a:t>Lump-sum taxation in Switzerland</a:t>
            </a:r>
          </a:p>
        </p:txBody>
      </p:sp>
      <p:sp>
        <p:nvSpPr>
          <p:cNvPr id="9" name="Inhaltsplatzhalter 8">
            <a:extLst>
              <a:ext uri="{FF2B5EF4-FFF2-40B4-BE49-F238E27FC236}">
                <a16:creationId xmlns:a16="http://schemas.microsoft.com/office/drawing/2014/main" id="{AA65CB20-188B-4CFD-B3FD-29221AABC004}"/>
              </a:ext>
            </a:extLst>
          </p:cNvPr>
          <p:cNvSpPr>
            <a:spLocks noGrp="1"/>
          </p:cNvSpPr>
          <p:nvPr>
            <p:ph sz="half" idx="1"/>
          </p:nvPr>
        </p:nvSpPr>
        <p:spPr/>
        <p:txBody>
          <a:bodyPr/>
          <a:lstStyle/>
          <a:p>
            <a:pPr marL="0" indent="0">
              <a:buNone/>
            </a:pPr>
            <a:r>
              <a:rPr lang="en-US" b="1" dirty="0">
                <a:solidFill>
                  <a:schemeClr val="accent3"/>
                </a:solidFill>
              </a:rPr>
              <a:t>Conditions for lump-sum taxation:</a:t>
            </a:r>
          </a:p>
          <a:p>
            <a:pPr>
              <a:buFont typeface="+mj-lt"/>
              <a:buAutoNum type="arabicPeriod"/>
            </a:pPr>
            <a:r>
              <a:rPr lang="en-US" b="1" dirty="0"/>
              <a:t>Non-Swiss citizen</a:t>
            </a:r>
          </a:p>
          <a:p>
            <a:pPr lvl="1">
              <a:buFont typeface="Arial" panose="020B0604020202020204" pitchFamily="34" charset="0"/>
              <a:buChar char="•"/>
            </a:pPr>
            <a:r>
              <a:rPr lang="en-US" dirty="0"/>
              <a:t>Dual nationality: no lump sum taxation if one of the nationalities is Swiss</a:t>
            </a:r>
          </a:p>
          <a:p>
            <a:pPr>
              <a:buFont typeface="+mj-lt"/>
              <a:buAutoNum type="arabicPeriod"/>
            </a:pPr>
            <a:r>
              <a:rPr lang="en-US" b="1" dirty="0"/>
              <a:t>Residence</a:t>
            </a:r>
            <a:r>
              <a:rPr lang="en-US" dirty="0"/>
              <a:t> or domicile in Switzerland for the first time or after an absence of at least 10 years</a:t>
            </a:r>
          </a:p>
          <a:p>
            <a:pPr>
              <a:buFont typeface="+mj-lt"/>
              <a:buAutoNum type="arabicPeriod"/>
            </a:pPr>
            <a:r>
              <a:rPr lang="en-US" b="1" dirty="0"/>
              <a:t>Tax residence </a:t>
            </a:r>
            <a:r>
              <a:rPr lang="en-US" dirty="0"/>
              <a:t>(residence / domicile) </a:t>
            </a:r>
            <a:r>
              <a:rPr lang="en-US" b="1" dirty="0"/>
              <a:t>in Switzerland</a:t>
            </a:r>
          </a:p>
          <a:p>
            <a:pPr lvl="1">
              <a:buFont typeface="Arial" panose="020B0604020202020204" pitchFamily="34" charset="0"/>
              <a:buChar char="•"/>
            </a:pPr>
            <a:r>
              <a:rPr lang="en-US" dirty="0"/>
              <a:t>Person resides in Switzerland with intention of remaining on a long term basis</a:t>
            </a:r>
          </a:p>
          <a:p>
            <a:pPr>
              <a:buFont typeface="+mj-lt"/>
              <a:buAutoNum type="arabicPeriod" startAt="4"/>
            </a:pPr>
            <a:r>
              <a:rPr lang="en-US" b="1" dirty="0"/>
              <a:t>No gainful activity in Switzerland</a:t>
            </a:r>
          </a:p>
          <a:p>
            <a:pPr lvl="1">
              <a:buFont typeface="Arial" panose="020B0604020202020204" pitchFamily="34" charset="0"/>
              <a:buChar char="•"/>
            </a:pPr>
            <a:r>
              <a:rPr lang="en-US" dirty="0"/>
              <a:t>All activity derived from any kind of profession in Switzerland (dependent / independent)</a:t>
            </a:r>
          </a:p>
          <a:p>
            <a:pPr lvl="1">
              <a:buFont typeface="Arial" panose="020B0604020202020204" pitchFamily="34" charset="0"/>
              <a:buChar char="•"/>
            </a:pPr>
            <a:r>
              <a:rPr lang="en-US" dirty="0"/>
              <a:t>Gainful activity outside Switzerland permitted</a:t>
            </a:r>
          </a:p>
          <a:p>
            <a:pPr>
              <a:buFont typeface="+mj-lt"/>
              <a:buAutoNum type="arabicPeriod" startAt="4"/>
            </a:pPr>
            <a:r>
              <a:rPr lang="en-US" b="1" dirty="0"/>
              <a:t>Compliance </a:t>
            </a:r>
            <a:r>
              <a:rPr lang="en-US" dirty="0"/>
              <a:t>with conditions for lump sum taxation </a:t>
            </a:r>
            <a:r>
              <a:rPr lang="en-US" b="1" dirty="0"/>
              <a:t>by every family member individually</a:t>
            </a:r>
          </a:p>
          <a:p>
            <a:pPr lvl="1">
              <a:buFont typeface="Arial" panose="020B0604020202020204" pitchFamily="34" charset="0"/>
              <a:buChar char="•"/>
            </a:pPr>
            <a:endParaRPr lang="en-US" dirty="0"/>
          </a:p>
          <a:p>
            <a:pPr>
              <a:buFont typeface="+mj-lt"/>
              <a:buAutoNum type="arabicPeriod"/>
            </a:pPr>
            <a:endParaRPr lang="en-US" dirty="0"/>
          </a:p>
        </p:txBody>
      </p:sp>
      <p:sp>
        <p:nvSpPr>
          <p:cNvPr id="12" name="Inhaltsplatzhalter 11">
            <a:extLst>
              <a:ext uri="{FF2B5EF4-FFF2-40B4-BE49-F238E27FC236}">
                <a16:creationId xmlns:a16="http://schemas.microsoft.com/office/drawing/2014/main" id="{FB37466E-F801-45DE-B945-D46A3C479513}"/>
              </a:ext>
            </a:extLst>
          </p:cNvPr>
          <p:cNvSpPr>
            <a:spLocks noGrp="1"/>
          </p:cNvSpPr>
          <p:nvPr>
            <p:ph sz="half" idx="2"/>
          </p:nvPr>
        </p:nvSpPr>
        <p:spPr/>
        <p:txBody>
          <a:bodyPr/>
          <a:lstStyle/>
          <a:p>
            <a:r>
              <a:rPr lang="en-US" b="1" dirty="0">
                <a:solidFill>
                  <a:schemeClr val="accent3"/>
                </a:solidFill>
              </a:rPr>
              <a:t>Procedure</a:t>
            </a:r>
          </a:p>
          <a:p>
            <a:pPr lvl="1"/>
            <a:r>
              <a:rPr lang="en-US" dirty="0"/>
              <a:t>Negotiations with the cantonal tax authorities regarding relevant tax basis and confirmation by issuing a tax ruling </a:t>
            </a:r>
          </a:p>
          <a:p>
            <a:pPr lvl="1"/>
            <a:r>
              <a:rPr lang="en-US" dirty="0"/>
              <a:t>Filing of annual tax return for lump sum taxation, incl. asset statement</a:t>
            </a:r>
          </a:p>
          <a:p>
            <a:pPr lvl="1"/>
            <a:r>
              <a:rPr lang="en-US" dirty="0"/>
              <a:t>For every taxable year, the tax resulting from the calculation agreed on in the tax ruling must be higher than the taxes determined by a control calculation</a:t>
            </a:r>
          </a:p>
          <a:p>
            <a:endParaRPr lang="en-US" b="1" dirty="0"/>
          </a:p>
          <a:p>
            <a:endParaRPr lang="en-US" dirty="0"/>
          </a:p>
          <a:p>
            <a:endParaRPr lang="en-US" dirty="0"/>
          </a:p>
        </p:txBody>
      </p:sp>
      <p:sp>
        <p:nvSpPr>
          <p:cNvPr id="13" name="Untertitel 12">
            <a:extLst>
              <a:ext uri="{FF2B5EF4-FFF2-40B4-BE49-F238E27FC236}">
                <a16:creationId xmlns:a16="http://schemas.microsoft.com/office/drawing/2014/main" id="{9DDF666E-5E41-4913-B761-5B4CC3F020D6}"/>
              </a:ext>
            </a:extLst>
          </p:cNvPr>
          <p:cNvSpPr>
            <a:spLocks noGrp="1"/>
          </p:cNvSpPr>
          <p:nvPr>
            <p:ph type="subTitle" idx="13"/>
          </p:nvPr>
        </p:nvSpPr>
        <p:spPr/>
        <p:txBody>
          <a:bodyPr/>
          <a:lstStyle/>
          <a:p>
            <a:r>
              <a:rPr lang="en-US" dirty="0"/>
              <a:t>Mobility of HNWI</a:t>
            </a:r>
          </a:p>
        </p:txBody>
      </p:sp>
      <p:sp>
        <p:nvSpPr>
          <p:cNvPr id="2" name="Foliennummernplatzhalter 1"/>
          <p:cNvSpPr>
            <a:spLocks noGrp="1"/>
          </p:cNvSpPr>
          <p:nvPr>
            <p:ph type="sldNum" sz="quarter" idx="14"/>
          </p:nvPr>
        </p:nvSpPr>
        <p:spPr/>
        <p:txBody>
          <a:bodyPr/>
          <a:lstStyle/>
          <a:p>
            <a:fld id="{0F5BE47B-5B54-4AD9-B1B6-96383882CD99}" type="slidenum">
              <a:rPr lang="en-US" smtClean="0"/>
              <a:pPr/>
              <a:t>31</a:t>
            </a:fld>
            <a:endParaRPr lang="en-US" dirty="0"/>
          </a:p>
        </p:txBody>
      </p:sp>
    </p:spTree>
    <p:extLst>
      <p:ext uri="{BB962C8B-B14F-4D97-AF65-F5344CB8AC3E}">
        <p14:creationId xmlns:p14="http://schemas.microsoft.com/office/powerpoint/2010/main" val="33629921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AC6E8D3-E379-4E58-BDD0-D2D9AD6B9E06}"/>
              </a:ext>
            </a:extLst>
          </p:cNvPr>
          <p:cNvSpPr>
            <a:spLocks noGrp="1"/>
          </p:cNvSpPr>
          <p:nvPr>
            <p:ph type="title"/>
          </p:nvPr>
        </p:nvSpPr>
        <p:spPr/>
        <p:txBody>
          <a:bodyPr/>
          <a:lstStyle/>
          <a:p>
            <a:r>
              <a:rPr lang="en-US" sz="1400" dirty="0"/>
              <a:t>Calculation of lump-sum tax basis</a:t>
            </a:r>
          </a:p>
        </p:txBody>
      </p:sp>
      <p:sp>
        <p:nvSpPr>
          <p:cNvPr id="9" name="Inhaltsplatzhalter 8">
            <a:extLst>
              <a:ext uri="{FF2B5EF4-FFF2-40B4-BE49-F238E27FC236}">
                <a16:creationId xmlns:a16="http://schemas.microsoft.com/office/drawing/2014/main" id="{AA65CB20-188B-4CFD-B3FD-29221AABC004}"/>
              </a:ext>
            </a:extLst>
          </p:cNvPr>
          <p:cNvSpPr>
            <a:spLocks noGrp="1"/>
          </p:cNvSpPr>
          <p:nvPr>
            <p:ph sz="half" idx="1"/>
          </p:nvPr>
        </p:nvSpPr>
        <p:spPr/>
        <p:txBody>
          <a:bodyPr/>
          <a:lstStyle/>
          <a:p>
            <a:r>
              <a:rPr lang="en-US" b="1" dirty="0">
                <a:solidFill>
                  <a:schemeClr val="accent3"/>
                </a:solidFill>
              </a:rPr>
              <a:t>Calculation of taxable income</a:t>
            </a:r>
            <a:endParaRPr lang="en-US" dirty="0">
              <a:solidFill>
                <a:schemeClr val="accent3"/>
              </a:solidFill>
            </a:endParaRPr>
          </a:p>
          <a:p>
            <a:pPr lvl="1"/>
            <a:r>
              <a:rPr lang="en-US" dirty="0"/>
              <a:t>The highest of the following:</a:t>
            </a:r>
          </a:p>
          <a:p>
            <a:pPr lvl="2"/>
            <a:r>
              <a:rPr lang="en-US" dirty="0"/>
              <a:t>Effective standard of living</a:t>
            </a:r>
          </a:p>
          <a:p>
            <a:pPr lvl="2"/>
            <a:r>
              <a:rPr lang="en-US" dirty="0"/>
              <a:t>Minimum tax basis</a:t>
            </a:r>
          </a:p>
          <a:p>
            <a:pPr lvl="2"/>
            <a:r>
              <a:rPr lang="en-US" dirty="0"/>
              <a:t>Lump sum standard of living</a:t>
            </a:r>
          </a:p>
          <a:p>
            <a:pPr lvl="1"/>
            <a:r>
              <a:rPr lang="en-US" dirty="0"/>
              <a:t>Deductions</a:t>
            </a:r>
          </a:p>
          <a:p>
            <a:pPr lvl="2"/>
            <a:r>
              <a:rPr lang="en-US" dirty="0"/>
              <a:t>property maintenance costs, normal administration costs (movable assets)</a:t>
            </a:r>
          </a:p>
          <a:p>
            <a:pPr lvl="2"/>
            <a:r>
              <a:rPr lang="en-US" dirty="0"/>
              <a:t>No foreign tax credits </a:t>
            </a:r>
          </a:p>
          <a:p>
            <a:pPr lvl="1"/>
            <a:r>
              <a:rPr lang="en-US" dirty="0"/>
              <a:t>Application of ordinary tax rates</a:t>
            </a:r>
          </a:p>
          <a:p>
            <a:pPr marL="230400" lvl="1" indent="0">
              <a:buNone/>
            </a:pPr>
            <a:endParaRPr lang="en-US" dirty="0"/>
          </a:p>
        </p:txBody>
      </p:sp>
      <p:sp>
        <p:nvSpPr>
          <p:cNvPr id="12" name="Inhaltsplatzhalter 11">
            <a:extLst>
              <a:ext uri="{FF2B5EF4-FFF2-40B4-BE49-F238E27FC236}">
                <a16:creationId xmlns:a16="http://schemas.microsoft.com/office/drawing/2014/main" id="{FB37466E-F801-45DE-B945-D46A3C479513}"/>
              </a:ext>
            </a:extLst>
          </p:cNvPr>
          <p:cNvSpPr>
            <a:spLocks noGrp="1"/>
          </p:cNvSpPr>
          <p:nvPr>
            <p:ph sz="half" idx="2"/>
          </p:nvPr>
        </p:nvSpPr>
        <p:spPr/>
        <p:txBody>
          <a:bodyPr/>
          <a:lstStyle/>
          <a:p>
            <a:r>
              <a:rPr lang="en-US" b="1" dirty="0">
                <a:solidFill>
                  <a:schemeClr val="accent3"/>
                </a:solidFill>
              </a:rPr>
              <a:t>Comparative tax calculation</a:t>
            </a:r>
          </a:p>
          <a:p>
            <a:pPr lvl="1"/>
            <a:r>
              <a:rPr lang="en-US" dirty="0"/>
              <a:t>Income from Swiss sources</a:t>
            </a:r>
          </a:p>
          <a:p>
            <a:pPr lvl="1"/>
            <a:r>
              <a:rPr lang="en-US" dirty="0"/>
              <a:t>Foreign sourced income with double taxation relief</a:t>
            </a:r>
          </a:p>
          <a:p>
            <a:pPr lvl="2"/>
            <a:r>
              <a:rPr lang="en-US" dirty="0"/>
              <a:t>Tax credits are granted with respect to income from countries with treaty relief</a:t>
            </a:r>
          </a:p>
          <a:p>
            <a:pPr lvl="2"/>
            <a:r>
              <a:rPr lang="en-US" dirty="0"/>
              <a:t>Caveat: modified lump-sum taxation (e.g. Austria, Belgium, USA, Germany, Italy, Norway, Canada)</a:t>
            </a:r>
          </a:p>
          <a:p>
            <a:pPr lvl="3"/>
            <a:endParaRPr lang="en-US" dirty="0"/>
          </a:p>
          <a:p>
            <a:pPr lvl="1"/>
            <a:endParaRPr lang="en-US" dirty="0"/>
          </a:p>
        </p:txBody>
      </p:sp>
      <p:sp>
        <p:nvSpPr>
          <p:cNvPr id="13" name="Untertitel 12">
            <a:extLst>
              <a:ext uri="{FF2B5EF4-FFF2-40B4-BE49-F238E27FC236}">
                <a16:creationId xmlns:a16="http://schemas.microsoft.com/office/drawing/2014/main" id="{9DDF666E-5E41-4913-B761-5B4CC3F020D6}"/>
              </a:ext>
            </a:extLst>
          </p:cNvPr>
          <p:cNvSpPr>
            <a:spLocks noGrp="1"/>
          </p:cNvSpPr>
          <p:nvPr>
            <p:ph type="subTitle" idx="13"/>
          </p:nvPr>
        </p:nvSpPr>
        <p:spPr/>
        <p:txBody>
          <a:bodyPr/>
          <a:lstStyle/>
          <a:p>
            <a:r>
              <a:rPr lang="en-US" dirty="0"/>
              <a:t>Mobility of HNWI</a:t>
            </a:r>
          </a:p>
        </p:txBody>
      </p:sp>
      <p:sp>
        <p:nvSpPr>
          <p:cNvPr id="4" name="Foliennummernplatzhalter 3"/>
          <p:cNvSpPr>
            <a:spLocks noGrp="1"/>
          </p:cNvSpPr>
          <p:nvPr>
            <p:ph type="sldNum" sz="quarter" idx="14"/>
          </p:nvPr>
        </p:nvSpPr>
        <p:spPr/>
        <p:txBody>
          <a:bodyPr/>
          <a:lstStyle/>
          <a:p>
            <a:fld id="{0F5BE47B-5B54-4AD9-B1B6-96383882CD99}" type="slidenum">
              <a:rPr lang="en-US" smtClean="0"/>
              <a:pPr/>
              <a:t>32</a:t>
            </a:fld>
            <a:endParaRPr lang="en-US" dirty="0"/>
          </a:p>
        </p:txBody>
      </p:sp>
    </p:spTree>
    <p:extLst>
      <p:ext uri="{BB962C8B-B14F-4D97-AF65-F5344CB8AC3E}">
        <p14:creationId xmlns:p14="http://schemas.microsoft.com/office/powerpoint/2010/main" val="37035388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10" name="Content Placeholder 9"/>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p:spPr>
      </p:pic>
    </p:spTree>
    <p:extLst>
      <p:ext uri="{BB962C8B-B14F-4D97-AF65-F5344CB8AC3E}">
        <p14:creationId xmlns:p14="http://schemas.microsoft.com/office/powerpoint/2010/main" val="1221242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35899"/>
            <a:ext cx="12192000" cy="7071952"/>
          </a:xfrm>
        </p:spPr>
      </p:pic>
      <p:sp>
        <p:nvSpPr>
          <p:cNvPr id="2" name="Title 1"/>
          <p:cNvSpPr>
            <a:spLocks noGrp="1"/>
          </p:cNvSpPr>
          <p:nvPr>
            <p:ph type="title"/>
          </p:nvPr>
        </p:nvSpPr>
        <p:spPr>
          <a:xfrm>
            <a:off x="472119" y="450579"/>
            <a:ext cx="9847587" cy="417250"/>
          </a:xfrm>
        </p:spPr>
        <p:txBody>
          <a:bodyPr/>
          <a:lstStyle/>
          <a:p>
            <a:r>
              <a:rPr lang="en-GB" dirty="0"/>
              <a:t>Migration Trends, Outflows and Inflows</a:t>
            </a:r>
          </a:p>
        </p:txBody>
      </p:sp>
      <p:pic>
        <p:nvPicPr>
          <p:cNvPr id="7" name="Picture 6" descr="Map&#10;&#10;Description automatically generated">
            <a:extLst>
              <a:ext uri="{FF2B5EF4-FFF2-40B4-BE49-F238E27FC236}">
                <a16:creationId xmlns:a16="http://schemas.microsoft.com/office/drawing/2014/main" id="{31D8C47E-82BC-EC0E-DA3F-4573807C89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169" y="867829"/>
            <a:ext cx="9624291" cy="4966012"/>
          </a:xfrm>
          <a:prstGeom prst="rect">
            <a:avLst/>
          </a:prstGeom>
        </p:spPr>
      </p:pic>
      <p:sp>
        <p:nvSpPr>
          <p:cNvPr id="3" name="Untertitel 12">
            <a:extLst>
              <a:ext uri="{FF2B5EF4-FFF2-40B4-BE49-F238E27FC236}">
                <a16:creationId xmlns:a16="http://schemas.microsoft.com/office/drawing/2014/main" id="{2FA61708-F351-C71C-ADCB-1577D57329C4}"/>
              </a:ext>
            </a:extLst>
          </p:cNvPr>
          <p:cNvSpPr txBox="1">
            <a:spLocks/>
          </p:cNvSpPr>
          <p:nvPr/>
        </p:nvSpPr>
        <p:spPr>
          <a:xfrm>
            <a:off x="392112" y="119642"/>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3399862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custDataLst>
              <p:tags r:id="rId1"/>
            </p:custDataLst>
          </p:nvPr>
        </p:nvSpPr>
        <p:spPr/>
        <p:txBody>
          <a:bodyPr/>
          <a:lstStyle/>
          <a:p>
            <a:r>
              <a:rPr lang="de-AT" b="1" dirty="0">
                <a:latin typeface="+mn-lt"/>
              </a:rPr>
              <a:t>Residence </a:t>
            </a:r>
            <a:r>
              <a:rPr lang="de-AT" b="1" dirty="0" err="1">
                <a:latin typeface="+mn-lt"/>
              </a:rPr>
              <a:t>for</a:t>
            </a:r>
            <a:r>
              <a:rPr lang="de-AT" b="1" dirty="0">
                <a:latin typeface="+mn-lt"/>
              </a:rPr>
              <a:t> </a:t>
            </a:r>
            <a:r>
              <a:rPr lang="de-AT" b="1" dirty="0" err="1">
                <a:latin typeface="+mn-lt"/>
              </a:rPr>
              <a:t>treaty</a:t>
            </a:r>
            <a:r>
              <a:rPr lang="de-AT" b="1" dirty="0">
                <a:latin typeface="+mn-lt"/>
              </a:rPr>
              <a:t> </a:t>
            </a:r>
            <a:r>
              <a:rPr lang="de-AT" b="1" dirty="0" err="1">
                <a:latin typeface="+mn-lt"/>
              </a:rPr>
              <a:t>purposes</a:t>
            </a:r>
            <a:endParaRPr lang="de-AT" b="1" dirty="0">
              <a:latin typeface="+mn-lt"/>
            </a:endParaRPr>
          </a:p>
          <a:p>
            <a:endParaRPr lang="en-GB" dirty="0"/>
          </a:p>
        </p:txBody>
      </p:sp>
      <p:sp>
        <p:nvSpPr>
          <p:cNvPr id="2" name="Titel 1"/>
          <p:cNvSpPr>
            <a:spLocks noGrp="1"/>
          </p:cNvSpPr>
          <p:nvPr>
            <p:ph type="title"/>
            <p:custDataLst>
              <p:tags r:id="rId2"/>
            </p:custDataLst>
          </p:nvPr>
        </p:nvSpPr>
        <p:spPr/>
        <p:txBody>
          <a:bodyPr/>
          <a:lstStyle/>
          <a:p>
            <a:r>
              <a:rPr lang="de-AT" dirty="0"/>
              <a:t>Setting </a:t>
            </a:r>
            <a:r>
              <a:rPr lang="de-AT" dirty="0" err="1"/>
              <a:t>the</a:t>
            </a:r>
            <a:r>
              <a:rPr lang="de-AT" dirty="0"/>
              <a:t> Scene</a:t>
            </a:r>
          </a:p>
        </p:txBody>
      </p:sp>
      <p:sp>
        <p:nvSpPr>
          <p:cNvPr id="3" name="Inhaltsplatzhalter 2"/>
          <p:cNvSpPr>
            <a:spLocks noGrp="1"/>
          </p:cNvSpPr>
          <p:nvPr>
            <p:ph sz="quarter" idx="14"/>
            <p:custDataLst>
              <p:tags r:id="rId3"/>
            </p:custDataLst>
          </p:nvPr>
        </p:nvSpPr>
        <p:spPr>
          <a:xfrm>
            <a:off x="461639" y="1592265"/>
            <a:ext cx="10999676" cy="4153217"/>
          </a:xfrm>
        </p:spPr>
        <p:txBody>
          <a:bodyPr/>
          <a:lstStyle/>
          <a:p>
            <a:pPr marL="0" indent="0">
              <a:buNone/>
            </a:pPr>
            <a:r>
              <a:rPr lang="en-US" b="1" dirty="0">
                <a:sym typeface="Arial" panose="020B0604020202020204" pitchFamily="34" charset="0"/>
              </a:rPr>
              <a:t>Art. 4 OECD MC</a:t>
            </a:r>
          </a:p>
          <a:p>
            <a:pPr marL="0" indent="0">
              <a:spcAft>
                <a:spcPts val="1000"/>
              </a:spcAft>
              <a:buNone/>
            </a:pPr>
            <a:r>
              <a:rPr lang="en-US" i="1" dirty="0">
                <a:sym typeface="Arial" panose="020B0604020202020204" pitchFamily="34" charset="0"/>
              </a:rPr>
              <a:t>(1) For the purposes of this Convention, the term </a:t>
            </a:r>
            <a:r>
              <a:rPr lang="en-US" b="1" i="1" dirty="0">
                <a:sym typeface="Arial" panose="020B0604020202020204" pitchFamily="34" charset="0"/>
              </a:rPr>
              <a:t>"resident of a Contracting State"</a:t>
            </a:r>
            <a:r>
              <a:rPr lang="en-US" i="1" dirty="0">
                <a:sym typeface="Arial" panose="020B0604020202020204" pitchFamily="34" charset="0"/>
              </a:rPr>
              <a:t> means any person who, under the laws of that State, is </a:t>
            </a:r>
            <a:r>
              <a:rPr lang="en-US" b="1" i="1" dirty="0">
                <a:sym typeface="Arial" panose="020B0604020202020204" pitchFamily="34" charset="0"/>
              </a:rPr>
              <a:t>liable to tax </a:t>
            </a:r>
            <a:r>
              <a:rPr lang="en-US" i="1" dirty="0">
                <a:sym typeface="Arial" panose="020B0604020202020204" pitchFamily="34" charset="0"/>
              </a:rPr>
              <a:t>therein by reason of his domicile, residence, place of management or any other criterion of a similar nature […]. </a:t>
            </a:r>
            <a:r>
              <a:rPr lang="en-US" b="1" i="1" dirty="0">
                <a:sym typeface="Arial" panose="020B0604020202020204" pitchFamily="34" charset="0"/>
              </a:rPr>
              <a:t>This term, however, does not include any person who is liable to tax in that State in respect only of income from sources in that State or capital situated therein.</a:t>
            </a:r>
          </a:p>
          <a:p>
            <a:pPr marL="0" indent="0">
              <a:spcBef>
                <a:spcPts val="0"/>
              </a:spcBef>
              <a:buNone/>
            </a:pPr>
            <a:r>
              <a:rPr lang="en-US" i="1" dirty="0">
                <a:sym typeface="Arial" panose="020B0604020202020204" pitchFamily="34" charset="0"/>
              </a:rPr>
              <a:t>(2) Where by reason of the provisions of paragraph 1 an individual is a </a:t>
            </a:r>
            <a:r>
              <a:rPr lang="en-US" b="1" i="1" u="sng" dirty="0">
                <a:sym typeface="Arial" panose="020B0604020202020204" pitchFamily="34" charset="0"/>
              </a:rPr>
              <a:t>resident of both Contracting States</a:t>
            </a:r>
            <a:r>
              <a:rPr lang="en-US" i="1" dirty="0">
                <a:sym typeface="Arial" panose="020B0604020202020204" pitchFamily="34" charset="0"/>
              </a:rPr>
              <a:t>, then his status shall be determined as follows:</a:t>
            </a:r>
          </a:p>
          <a:p>
            <a:pPr marL="0" indent="0">
              <a:buNone/>
            </a:pPr>
            <a:r>
              <a:rPr lang="en-US" i="1" dirty="0">
                <a:sym typeface="Arial" panose="020B0604020202020204" pitchFamily="34" charset="0"/>
              </a:rPr>
              <a:t>a) he shall be deemed to be a resident only of the State in which he has a </a:t>
            </a:r>
            <a:r>
              <a:rPr lang="en-US" b="1" i="1" u="sng" dirty="0">
                <a:sym typeface="Arial" panose="020B0604020202020204" pitchFamily="34" charset="0"/>
              </a:rPr>
              <a:t>permanent home </a:t>
            </a:r>
            <a:r>
              <a:rPr lang="en-US" i="1" dirty="0">
                <a:sym typeface="Arial" panose="020B0604020202020204" pitchFamily="34" charset="0"/>
              </a:rPr>
              <a:t>available to him; if he has a permanent home available to him in both States, he shall be deemed to be a resident only of the State with which his personal and economic relations are closer (</a:t>
            </a:r>
            <a:r>
              <a:rPr lang="en-US" b="1" i="1" u="sng" dirty="0" err="1">
                <a:sym typeface="Arial" panose="020B0604020202020204" pitchFamily="34" charset="0"/>
              </a:rPr>
              <a:t>centre</a:t>
            </a:r>
            <a:r>
              <a:rPr lang="en-US" b="1" i="1" u="sng" dirty="0">
                <a:sym typeface="Arial" panose="020B0604020202020204" pitchFamily="34" charset="0"/>
              </a:rPr>
              <a:t> of vital interests</a:t>
            </a:r>
            <a:r>
              <a:rPr lang="en-US" i="1" dirty="0">
                <a:sym typeface="Arial" panose="020B0604020202020204" pitchFamily="34" charset="0"/>
              </a:rPr>
              <a:t>);</a:t>
            </a:r>
          </a:p>
          <a:p>
            <a:pPr marL="0" indent="0">
              <a:buNone/>
            </a:pPr>
            <a:r>
              <a:rPr lang="en-US" i="1" dirty="0">
                <a:sym typeface="Arial" panose="020B0604020202020204" pitchFamily="34" charset="0"/>
              </a:rPr>
              <a:t>b) if the State in which he has his </a:t>
            </a:r>
            <a:r>
              <a:rPr lang="en-US" i="1" dirty="0" err="1">
                <a:sym typeface="Arial" panose="020B0604020202020204" pitchFamily="34" charset="0"/>
              </a:rPr>
              <a:t>centre</a:t>
            </a:r>
            <a:r>
              <a:rPr lang="en-US" i="1" dirty="0">
                <a:sym typeface="Arial" panose="020B0604020202020204" pitchFamily="34" charset="0"/>
              </a:rPr>
              <a:t> of vital interests cannot be determined, or if he has not a permanent home available to him in either State, he shall be deemed to be a resident only of the State in which he has an </a:t>
            </a:r>
            <a:r>
              <a:rPr lang="en-US" b="1" i="1" u="sng" dirty="0">
                <a:sym typeface="Arial" panose="020B0604020202020204" pitchFamily="34" charset="0"/>
              </a:rPr>
              <a:t>habitual abode</a:t>
            </a:r>
            <a:r>
              <a:rPr lang="en-US" i="1" dirty="0">
                <a:sym typeface="Arial" panose="020B0604020202020204" pitchFamily="34" charset="0"/>
              </a:rPr>
              <a:t>;</a:t>
            </a:r>
          </a:p>
          <a:p>
            <a:pPr marL="0" indent="0">
              <a:buNone/>
            </a:pPr>
            <a:r>
              <a:rPr lang="en-US" i="1" dirty="0">
                <a:sym typeface="Arial" panose="020B0604020202020204" pitchFamily="34" charset="0"/>
              </a:rPr>
              <a:t>c) if he has an habitual abode in both States or in neither of them, he shall be deemed to be a resident only of the State of which he is a </a:t>
            </a:r>
            <a:r>
              <a:rPr lang="en-US" b="1" i="1" u="sng" dirty="0">
                <a:sym typeface="Arial" panose="020B0604020202020204" pitchFamily="34" charset="0"/>
              </a:rPr>
              <a:t>national</a:t>
            </a:r>
            <a:r>
              <a:rPr lang="en-US" i="1" dirty="0">
                <a:sym typeface="Arial" panose="020B0604020202020204" pitchFamily="34" charset="0"/>
              </a:rPr>
              <a:t>;</a:t>
            </a:r>
          </a:p>
          <a:p>
            <a:pPr marL="0" indent="0">
              <a:spcAft>
                <a:spcPts val="1200"/>
              </a:spcAft>
              <a:buNone/>
            </a:pPr>
            <a:r>
              <a:rPr lang="en-US" i="1" dirty="0">
                <a:sym typeface="Arial" panose="020B0604020202020204" pitchFamily="34" charset="0"/>
              </a:rPr>
              <a:t>d) if he is a national of both States or of neither of them, the competent authorities of the Contracting States shall settle the question by </a:t>
            </a:r>
            <a:r>
              <a:rPr lang="en-US" b="1" i="1" u="sng" dirty="0">
                <a:sym typeface="Arial" panose="020B0604020202020204" pitchFamily="34" charset="0"/>
              </a:rPr>
              <a:t>mutual agreement</a:t>
            </a:r>
            <a:r>
              <a:rPr lang="en-US" i="1" dirty="0">
                <a:sym typeface="Arial" panose="020B0604020202020204" pitchFamily="34" charset="0"/>
              </a:rPr>
              <a:t>.</a:t>
            </a:r>
          </a:p>
          <a:p>
            <a:endParaRPr lang="de-AT" dirty="0">
              <a:sym typeface="Arial" panose="020B0604020202020204" pitchFamily="34" charset="0"/>
            </a:endParaRPr>
          </a:p>
        </p:txBody>
      </p:sp>
      <p:sp>
        <p:nvSpPr>
          <p:cNvPr id="4" name="Slide Number Placeholder 3">
            <a:extLst>
              <a:ext uri="{FF2B5EF4-FFF2-40B4-BE49-F238E27FC236}">
                <a16:creationId xmlns:a16="http://schemas.microsoft.com/office/drawing/2014/main" id="{7451E264-34A5-4101-978A-D1F4FC3CBC61}"/>
              </a:ext>
            </a:extLst>
          </p:cNvPr>
          <p:cNvSpPr>
            <a:spLocks noGrp="1"/>
          </p:cNvSpPr>
          <p:nvPr>
            <p:ph type="sldNum" sz="quarter" idx="12"/>
            <p:custDataLst>
              <p:tags r:id="rId4"/>
            </p:custDataLst>
          </p:nvPr>
        </p:nvSpPr>
        <p:spPr/>
        <p:txBody>
          <a:bodyPr/>
          <a:lstStyle/>
          <a:p>
            <a:fld id="{B459E51B-A277-4897-9DDF-ABA4750400EB}" type="slidenum">
              <a:rPr lang="en-GB" smtClean="0"/>
              <a:t>5</a:t>
            </a:fld>
            <a:endParaRPr lang="en-GB" dirty="0"/>
          </a:p>
        </p:txBody>
      </p:sp>
      <p:sp>
        <p:nvSpPr>
          <p:cNvPr id="5" name="Untertitel 12">
            <a:extLst>
              <a:ext uri="{FF2B5EF4-FFF2-40B4-BE49-F238E27FC236}">
                <a16:creationId xmlns:a16="http://schemas.microsoft.com/office/drawing/2014/main" id="{DF3AE602-88CD-8EDD-AA66-05D910199169}"/>
              </a:ext>
            </a:extLst>
          </p:cNvPr>
          <p:cNvSpPr txBox="1">
            <a:spLocks/>
          </p:cNvSpPr>
          <p:nvPr/>
        </p:nvSpPr>
        <p:spPr>
          <a:xfrm>
            <a:off x="392112" y="19014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6482117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custDataLst>
              <p:tags r:id="rId1"/>
            </p:custDataLst>
          </p:nvPr>
        </p:nvSpPr>
        <p:spPr/>
        <p:txBody>
          <a:bodyPr/>
          <a:lstStyle/>
          <a:p>
            <a:r>
              <a:rPr lang="de-AT" b="1" dirty="0">
                <a:latin typeface="+mn-lt"/>
              </a:rPr>
              <a:t>"</a:t>
            </a:r>
            <a:r>
              <a:rPr lang="de-AT" b="1" dirty="0" err="1">
                <a:latin typeface="+mn-lt"/>
              </a:rPr>
              <a:t>Liable</a:t>
            </a:r>
            <a:r>
              <a:rPr lang="de-AT" b="1" dirty="0">
                <a:latin typeface="+mn-lt"/>
              </a:rPr>
              <a:t> </a:t>
            </a:r>
            <a:r>
              <a:rPr lang="de-AT" b="1" dirty="0" err="1">
                <a:latin typeface="+mn-lt"/>
              </a:rPr>
              <a:t>to</a:t>
            </a:r>
            <a:r>
              <a:rPr lang="de-AT" b="1" dirty="0">
                <a:latin typeface="+mn-lt"/>
              </a:rPr>
              <a:t> </a:t>
            </a:r>
            <a:r>
              <a:rPr lang="de-AT" b="1" dirty="0" err="1">
                <a:latin typeface="+mn-lt"/>
              </a:rPr>
              <a:t>tax</a:t>
            </a:r>
            <a:r>
              <a:rPr lang="de-AT" b="1" dirty="0">
                <a:latin typeface="+mn-lt"/>
              </a:rPr>
              <a:t>" versus "</a:t>
            </a:r>
            <a:r>
              <a:rPr lang="de-AT" b="1" dirty="0" err="1">
                <a:latin typeface="+mn-lt"/>
              </a:rPr>
              <a:t>subject</a:t>
            </a:r>
            <a:r>
              <a:rPr lang="de-AT" b="1" dirty="0">
                <a:latin typeface="+mn-lt"/>
              </a:rPr>
              <a:t> </a:t>
            </a:r>
            <a:r>
              <a:rPr lang="de-AT" b="1" dirty="0" err="1">
                <a:latin typeface="+mn-lt"/>
              </a:rPr>
              <a:t>to</a:t>
            </a:r>
            <a:r>
              <a:rPr lang="de-AT" b="1" dirty="0">
                <a:latin typeface="+mn-lt"/>
              </a:rPr>
              <a:t> </a:t>
            </a:r>
            <a:r>
              <a:rPr lang="de-AT" b="1" dirty="0" err="1">
                <a:latin typeface="+mn-lt"/>
              </a:rPr>
              <a:t>tax</a:t>
            </a:r>
            <a:r>
              <a:rPr lang="de-AT" b="1" dirty="0">
                <a:latin typeface="+mn-lt"/>
              </a:rPr>
              <a:t>"</a:t>
            </a:r>
          </a:p>
          <a:p>
            <a:endParaRPr lang="en-GB" dirty="0"/>
          </a:p>
        </p:txBody>
      </p:sp>
      <p:sp>
        <p:nvSpPr>
          <p:cNvPr id="2" name="Titel 1"/>
          <p:cNvSpPr>
            <a:spLocks noGrp="1"/>
          </p:cNvSpPr>
          <p:nvPr>
            <p:ph type="title"/>
            <p:custDataLst>
              <p:tags r:id="rId2"/>
            </p:custDataLst>
          </p:nvPr>
        </p:nvSpPr>
        <p:spPr/>
        <p:txBody>
          <a:bodyPr/>
          <a:lstStyle/>
          <a:p>
            <a:r>
              <a:rPr lang="de-AT" dirty="0"/>
              <a:t>Setting </a:t>
            </a:r>
            <a:r>
              <a:rPr lang="de-AT" dirty="0" err="1"/>
              <a:t>the</a:t>
            </a:r>
            <a:r>
              <a:rPr lang="de-AT" dirty="0"/>
              <a:t> Scene</a:t>
            </a:r>
          </a:p>
        </p:txBody>
      </p:sp>
      <p:sp>
        <p:nvSpPr>
          <p:cNvPr id="3" name="Inhaltsplatzhalter 2"/>
          <p:cNvSpPr>
            <a:spLocks noGrp="1"/>
          </p:cNvSpPr>
          <p:nvPr>
            <p:ph sz="quarter" idx="14"/>
            <p:custDataLst>
              <p:tags r:id="rId3"/>
            </p:custDataLst>
          </p:nvPr>
        </p:nvSpPr>
        <p:spPr>
          <a:xfrm>
            <a:off x="461640" y="1592265"/>
            <a:ext cx="10673206" cy="4153217"/>
          </a:xfrm>
        </p:spPr>
        <p:txBody>
          <a:bodyPr/>
          <a:lstStyle/>
          <a:p>
            <a:pPr marL="0" indent="0">
              <a:buNone/>
            </a:pPr>
            <a:r>
              <a:rPr lang="de-AT" b="1" dirty="0">
                <a:sym typeface="Arial" panose="020B0604020202020204" pitchFamily="34" charset="0"/>
              </a:rPr>
              <a:t>UK Tax Chamber, </a:t>
            </a:r>
            <a:r>
              <a:rPr lang="de-AT" b="1" i="1" dirty="0">
                <a:sym typeface="Arial" panose="020B0604020202020204" pitchFamily="34" charset="0"/>
              </a:rPr>
              <a:t>Weiser v. HMRC </a:t>
            </a:r>
            <a:r>
              <a:rPr lang="de-AT" b="1" dirty="0">
                <a:sym typeface="Arial" panose="020B0604020202020204" pitchFamily="34" charset="0"/>
              </a:rPr>
              <a:t>(2012) TC/2010/3902</a:t>
            </a:r>
          </a:p>
          <a:p>
            <a:pPr marL="0" indent="0">
              <a:buNone/>
            </a:pPr>
            <a:r>
              <a:rPr lang="de-AT" dirty="0">
                <a:sym typeface="Arial" panose="020B0604020202020204" pitchFamily="34" charset="0"/>
              </a:rPr>
              <a:t>Relevant </a:t>
            </a:r>
            <a:r>
              <a:rPr lang="de-AT" dirty="0" err="1">
                <a:sym typeface="Arial" panose="020B0604020202020204" pitchFamily="34" charset="0"/>
              </a:rPr>
              <a:t>provision</a:t>
            </a:r>
            <a:r>
              <a:rPr lang="de-AT" dirty="0">
                <a:sym typeface="Arial" panose="020B0604020202020204" pitchFamily="34" charset="0"/>
              </a:rPr>
              <a:t>: Art. XI </a:t>
            </a:r>
            <a:r>
              <a:rPr lang="de-AT" dirty="0" err="1">
                <a:sym typeface="Arial" panose="020B0604020202020204" pitchFamily="34" charset="0"/>
              </a:rPr>
              <a:t>para</a:t>
            </a:r>
            <a:r>
              <a:rPr lang="de-AT" dirty="0">
                <a:sym typeface="Arial" panose="020B0604020202020204" pitchFamily="34" charset="0"/>
              </a:rPr>
              <a:t>. 2 </a:t>
            </a:r>
            <a:r>
              <a:rPr lang="de-AT" dirty="0" err="1">
                <a:sym typeface="Arial" panose="020B0604020202020204" pitchFamily="34" charset="0"/>
              </a:rPr>
              <a:t>of</a:t>
            </a:r>
            <a:r>
              <a:rPr lang="de-AT" dirty="0">
                <a:sym typeface="Arial" panose="020B0604020202020204" pitchFamily="34" charset="0"/>
              </a:rPr>
              <a:t> </a:t>
            </a:r>
            <a:r>
              <a:rPr lang="de-AT" dirty="0" err="1">
                <a:sym typeface="Arial" panose="020B0604020202020204" pitchFamily="34" charset="0"/>
              </a:rPr>
              <a:t>the</a:t>
            </a:r>
            <a:r>
              <a:rPr lang="de-AT" dirty="0">
                <a:sym typeface="Arial" panose="020B0604020202020204" pitchFamily="34" charset="0"/>
              </a:rPr>
              <a:t> 1962 UK-Israel </a:t>
            </a:r>
            <a:r>
              <a:rPr lang="de-AT" dirty="0" err="1">
                <a:sym typeface="Arial" panose="020B0604020202020204" pitchFamily="34" charset="0"/>
              </a:rPr>
              <a:t>income</a:t>
            </a:r>
            <a:r>
              <a:rPr lang="de-AT" dirty="0">
                <a:sym typeface="Arial" panose="020B0604020202020204" pitchFamily="34" charset="0"/>
              </a:rPr>
              <a:t> </a:t>
            </a:r>
            <a:r>
              <a:rPr lang="de-AT" dirty="0" err="1">
                <a:sym typeface="Arial" panose="020B0604020202020204" pitchFamily="34" charset="0"/>
              </a:rPr>
              <a:t>tax</a:t>
            </a:r>
            <a:r>
              <a:rPr lang="de-AT" dirty="0">
                <a:sym typeface="Arial" panose="020B0604020202020204" pitchFamily="34" charset="0"/>
              </a:rPr>
              <a:t> </a:t>
            </a:r>
            <a:r>
              <a:rPr lang="de-AT" dirty="0" err="1">
                <a:sym typeface="Arial" panose="020B0604020202020204" pitchFamily="34" charset="0"/>
              </a:rPr>
              <a:t>treaty</a:t>
            </a:r>
            <a:r>
              <a:rPr lang="de-AT" dirty="0">
                <a:sym typeface="Arial" panose="020B0604020202020204" pitchFamily="34" charset="0"/>
              </a:rPr>
              <a:t>:</a:t>
            </a:r>
          </a:p>
          <a:p>
            <a:pPr marL="0" indent="0">
              <a:buNone/>
            </a:pPr>
            <a:r>
              <a:rPr lang="en-US" i="1" dirty="0">
                <a:sym typeface="Arial" panose="020B0604020202020204" pitchFamily="34" charset="0"/>
              </a:rPr>
              <a:t>Any pension […] derived from sources within the United Kingdom by an individual who is a resident of Israel and </a:t>
            </a:r>
            <a:r>
              <a:rPr lang="en-US" b="1" i="1" dirty="0">
                <a:sym typeface="Arial" panose="020B0604020202020204" pitchFamily="34" charset="0"/>
              </a:rPr>
              <a:t>subject to Israel tax </a:t>
            </a:r>
            <a:r>
              <a:rPr lang="en-US" i="1" dirty="0">
                <a:sym typeface="Arial" panose="020B0604020202020204" pitchFamily="34" charset="0"/>
              </a:rPr>
              <a:t>in respect thereof, shall be exempt from United Kingdom tax.</a:t>
            </a:r>
          </a:p>
          <a:p>
            <a:pPr marL="0" indent="0">
              <a:buNone/>
            </a:pPr>
            <a:r>
              <a:rPr lang="de-AT" dirty="0">
                <a:sym typeface="Arial" panose="020B0604020202020204" pitchFamily="34" charset="0"/>
              </a:rPr>
              <a:t>Tax Chamber:</a:t>
            </a:r>
          </a:p>
          <a:p>
            <a:r>
              <a:rPr lang="de-AT" dirty="0">
                <a:sym typeface="Arial" panose="020B0604020202020204" pitchFamily="34" charset="0"/>
              </a:rPr>
              <a:t>"</a:t>
            </a:r>
            <a:r>
              <a:rPr lang="de-AT" dirty="0" err="1">
                <a:sym typeface="Arial" panose="020B0604020202020204" pitchFamily="34" charset="0"/>
              </a:rPr>
              <a:t>liable</a:t>
            </a:r>
            <a:r>
              <a:rPr lang="de-AT" dirty="0">
                <a:sym typeface="Arial" panose="020B0604020202020204" pitchFamily="34" charset="0"/>
              </a:rPr>
              <a:t> </a:t>
            </a:r>
            <a:r>
              <a:rPr lang="de-AT" dirty="0" err="1">
                <a:sym typeface="Arial" panose="020B0604020202020204" pitchFamily="34" charset="0"/>
              </a:rPr>
              <a:t>to</a:t>
            </a:r>
            <a:r>
              <a:rPr lang="de-AT" dirty="0">
                <a:sym typeface="Arial" panose="020B0604020202020204" pitchFamily="34" charset="0"/>
              </a:rPr>
              <a:t> </a:t>
            </a:r>
            <a:r>
              <a:rPr lang="de-AT" dirty="0" err="1">
                <a:sym typeface="Arial" panose="020B0604020202020204" pitchFamily="34" charset="0"/>
              </a:rPr>
              <a:t>tax</a:t>
            </a:r>
            <a:r>
              <a:rPr lang="de-AT" dirty="0">
                <a:sym typeface="Arial" panose="020B0604020202020204" pitchFamily="34" charset="0"/>
              </a:rPr>
              <a:t>" v. "</a:t>
            </a:r>
            <a:r>
              <a:rPr lang="de-AT" dirty="0" err="1">
                <a:sym typeface="Arial" panose="020B0604020202020204" pitchFamily="34" charset="0"/>
              </a:rPr>
              <a:t>subject</a:t>
            </a:r>
            <a:r>
              <a:rPr lang="de-AT" dirty="0">
                <a:sym typeface="Arial" panose="020B0604020202020204" pitchFamily="34" charset="0"/>
              </a:rPr>
              <a:t> </a:t>
            </a:r>
            <a:r>
              <a:rPr lang="de-AT" dirty="0" err="1">
                <a:sym typeface="Arial" panose="020B0604020202020204" pitchFamily="34" charset="0"/>
              </a:rPr>
              <a:t>to</a:t>
            </a:r>
            <a:r>
              <a:rPr lang="de-AT" dirty="0">
                <a:sym typeface="Arial" panose="020B0604020202020204" pitchFamily="34" charset="0"/>
              </a:rPr>
              <a:t> </a:t>
            </a:r>
            <a:r>
              <a:rPr lang="de-AT" dirty="0" err="1">
                <a:sym typeface="Arial" panose="020B0604020202020204" pitchFamily="34" charset="0"/>
              </a:rPr>
              <a:t>tax</a:t>
            </a:r>
            <a:r>
              <a:rPr lang="de-AT" dirty="0">
                <a:sym typeface="Arial" panose="020B0604020202020204" pitchFamily="34" charset="0"/>
              </a:rPr>
              <a:t>"</a:t>
            </a:r>
          </a:p>
          <a:p>
            <a:r>
              <a:rPr lang="de-AT" dirty="0" err="1">
                <a:sym typeface="Arial" panose="020B0604020202020204" pitchFamily="34" charset="0"/>
              </a:rPr>
              <a:t>liable</a:t>
            </a:r>
            <a:r>
              <a:rPr lang="de-AT" dirty="0">
                <a:sym typeface="Arial" panose="020B0604020202020204" pitchFamily="34" charset="0"/>
              </a:rPr>
              <a:t> </a:t>
            </a:r>
            <a:r>
              <a:rPr lang="de-AT" dirty="0" err="1">
                <a:sym typeface="Arial" panose="020B0604020202020204" pitchFamily="34" charset="0"/>
              </a:rPr>
              <a:t>to</a:t>
            </a:r>
            <a:r>
              <a:rPr lang="de-AT" dirty="0">
                <a:sym typeface="Arial" panose="020B0604020202020204" pitchFamily="34" charset="0"/>
              </a:rPr>
              <a:t> </a:t>
            </a:r>
            <a:r>
              <a:rPr lang="de-AT" dirty="0" err="1">
                <a:sym typeface="Arial" panose="020B0604020202020204" pitchFamily="34" charset="0"/>
              </a:rPr>
              <a:t>tax</a:t>
            </a:r>
            <a:r>
              <a:rPr lang="de-AT" dirty="0">
                <a:sym typeface="Arial" panose="020B0604020202020204" pitchFamily="34" charset="0"/>
              </a:rPr>
              <a:t> = </a:t>
            </a:r>
            <a:r>
              <a:rPr lang="de-AT" dirty="0" err="1">
                <a:sym typeface="Arial" panose="020B0604020202020204" pitchFamily="34" charset="0"/>
              </a:rPr>
              <a:t>abstract</a:t>
            </a:r>
            <a:r>
              <a:rPr lang="de-AT" dirty="0">
                <a:sym typeface="Arial" panose="020B0604020202020204" pitchFamily="34" charset="0"/>
              </a:rPr>
              <a:t> </a:t>
            </a:r>
            <a:r>
              <a:rPr lang="de-AT" dirty="0" err="1">
                <a:sym typeface="Arial" panose="020B0604020202020204" pitchFamily="34" charset="0"/>
              </a:rPr>
              <a:t>liability</a:t>
            </a:r>
            <a:r>
              <a:rPr lang="de-AT" dirty="0">
                <a:sym typeface="Arial" panose="020B0604020202020204" pitchFamily="34" charset="0"/>
              </a:rPr>
              <a:t>; </a:t>
            </a:r>
            <a:r>
              <a:rPr lang="de-AT" dirty="0" err="1">
                <a:sym typeface="Arial" panose="020B0604020202020204" pitchFamily="34" charset="0"/>
              </a:rPr>
              <a:t>being</a:t>
            </a:r>
            <a:r>
              <a:rPr lang="de-AT" dirty="0">
                <a:sym typeface="Arial" panose="020B0604020202020204" pitchFamily="34" charset="0"/>
              </a:rPr>
              <a:t> in a </a:t>
            </a:r>
            <a:r>
              <a:rPr lang="de-AT" dirty="0" err="1">
                <a:sym typeface="Arial" panose="020B0604020202020204" pitchFamily="34" charset="0"/>
              </a:rPr>
              <a:t>country's</a:t>
            </a:r>
            <a:r>
              <a:rPr lang="de-AT" dirty="0">
                <a:sym typeface="Arial" panose="020B0604020202020204" pitchFamily="34" charset="0"/>
              </a:rPr>
              <a:t> </a:t>
            </a:r>
            <a:r>
              <a:rPr lang="de-AT" dirty="0" err="1">
                <a:sym typeface="Arial" panose="020B0604020202020204" pitchFamily="34" charset="0"/>
              </a:rPr>
              <a:t>fiscal</a:t>
            </a:r>
            <a:r>
              <a:rPr lang="de-AT" dirty="0">
                <a:sym typeface="Arial" panose="020B0604020202020204" pitchFamily="34" charset="0"/>
              </a:rPr>
              <a:t> </a:t>
            </a:r>
            <a:r>
              <a:rPr lang="de-AT" dirty="0" err="1">
                <a:sym typeface="Arial" panose="020B0604020202020204" pitchFamily="34" charset="0"/>
              </a:rPr>
              <a:t>jurisdiction</a:t>
            </a:r>
            <a:endParaRPr lang="de-AT" dirty="0">
              <a:sym typeface="Arial" panose="020B0604020202020204" pitchFamily="34" charset="0"/>
            </a:endParaRPr>
          </a:p>
          <a:p>
            <a:r>
              <a:rPr lang="de-AT" dirty="0" err="1">
                <a:sym typeface="Arial" panose="020B0604020202020204" pitchFamily="34" charset="0"/>
              </a:rPr>
              <a:t>subject</a:t>
            </a:r>
            <a:r>
              <a:rPr lang="de-AT" dirty="0">
                <a:sym typeface="Arial" panose="020B0604020202020204" pitchFamily="34" charset="0"/>
              </a:rPr>
              <a:t> </a:t>
            </a:r>
            <a:r>
              <a:rPr lang="de-AT" dirty="0" err="1">
                <a:sym typeface="Arial" panose="020B0604020202020204" pitchFamily="34" charset="0"/>
              </a:rPr>
              <a:t>to</a:t>
            </a:r>
            <a:r>
              <a:rPr lang="de-AT" dirty="0">
                <a:sym typeface="Arial" panose="020B0604020202020204" pitchFamily="34" charset="0"/>
              </a:rPr>
              <a:t> </a:t>
            </a:r>
            <a:r>
              <a:rPr lang="de-AT" dirty="0" err="1">
                <a:sym typeface="Arial" panose="020B0604020202020204" pitchFamily="34" charset="0"/>
              </a:rPr>
              <a:t>tax</a:t>
            </a:r>
            <a:r>
              <a:rPr lang="de-AT" dirty="0">
                <a:sym typeface="Arial" panose="020B0604020202020204" pitchFamily="34" charset="0"/>
              </a:rPr>
              <a:t> = </a:t>
            </a:r>
            <a:r>
              <a:rPr lang="de-AT" dirty="0" err="1">
                <a:sym typeface="Arial" panose="020B0604020202020204" pitchFamily="34" charset="0"/>
              </a:rPr>
              <a:t>effective</a:t>
            </a:r>
            <a:r>
              <a:rPr lang="de-AT" dirty="0">
                <a:sym typeface="Arial" panose="020B0604020202020204" pitchFamily="34" charset="0"/>
              </a:rPr>
              <a:t> </a:t>
            </a:r>
            <a:r>
              <a:rPr lang="de-AT" dirty="0" err="1">
                <a:sym typeface="Arial" panose="020B0604020202020204" pitchFamily="34" charset="0"/>
              </a:rPr>
              <a:t>liability</a:t>
            </a:r>
            <a:r>
              <a:rPr lang="de-AT" dirty="0">
                <a:sym typeface="Arial" panose="020B0604020202020204" pitchFamily="34" charset="0"/>
              </a:rPr>
              <a:t>; </a:t>
            </a:r>
            <a:r>
              <a:rPr lang="de-AT" dirty="0" err="1">
                <a:sym typeface="Arial" panose="020B0604020202020204" pitchFamily="34" charset="0"/>
              </a:rPr>
              <a:t>actually</a:t>
            </a:r>
            <a:r>
              <a:rPr lang="de-AT" dirty="0">
                <a:sym typeface="Arial" panose="020B0604020202020204" pitchFamily="34" charset="0"/>
              </a:rPr>
              <a:t> </a:t>
            </a:r>
            <a:r>
              <a:rPr lang="de-AT" dirty="0" err="1">
                <a:sym typeface="Arial" panose="020B0604020202020204" pitchFamily="34" charset="0"/>
              </a:rPr>
              <a:t>paying</a:t>
            </a:r>
            <a:r>
              <a:rPr lang="de-AT" dirty="0">
                <a:sym typeface="Arial" panose="020B0604020202020204" pitchFamily="34" charset="0"/>
              </a:rPr>
              <a:t> </a:t>
            </a:r>
            <a:r>
              <a:rPr lang="de-AT" dirty="0" err="1">
                <a:sym typeface="Arial" panose="020B0604020202020204" pitchFamily="34" charset="0"/>
              </a:rPr>
              <a:t>tax</a:t>
            </a:r>
            <a:endParaRPr lang="de-AT" dirty="0">
              <a:sym typeface="Arial" panose="020B0604020202020204" pitchFamily="34" charset="0"/>
            </a:endParaRPr>
          </a:p>
          <a:p>
            <a:endParaRPr lang="de-AT" dirty="0">
              <a:sym typeface="Arial" panose="020B0604020202020204" pitchFamily="34" charset="0"/>
            </a:endParaRPr>
          </a:p>
        </p:txBody>
      </p:sp>
      <p:sp>
        <p:nvSpPr>
          <p:cNvPr id="4" name="Slide Number Placeholder 3">
            <a:extLst>
              <a:ext uri="{FF2B5EF4-FFF2-40B4-BE49-F238E27FC236}">
                <a16:creationId xmlns:a16="http://schemas.microsoft.com/office/drawing/2014/main" id="{7451E264-34A5-4101-978A-D1F4FC3CBC61}"/>
              </a:ext>
            </a:extLst>
          </p:cNvPr>
          <p:cNvSpPr>
            <a:spLocks noGrp="1"/>
          </p:cNvSpPr>
          <p:nvPr>
            <p:ph type="sldNum" sz="quarter" idx="12"/>
            <p:custDataLst>
              <p:tags r:id="rId4"/>
            </p:custDataLst>
          </p:nvPr>
        </p:nvSpPr>
        <p:spPr/>
        <p:txBody>
          <a:bodyPr/>
          <a:lstStyle/>
          <a:p>
            <a:fld id="{B459E51B-A277-4897-9DDF-ABA4750400EB}" type="slidenum">
              <a:rPr lang="en-GB" smtClean="0"/>
              <a:t>6</a:t>
            </a:fld>
            <a:endParaRPr lang="en-GB" dirty="0"/>
          </a:p>
        </p:txBody>
      </p:sp>
      <p:sp>
        <p:nvSpPr>
          <p:cNvPr id="5" name="Untertitel 12">
            <a:extLst>
              <a:ext uri="{FF2B5EF4-FFF2-40B4-BE49-F238E27FC236}">
                <a16:creationId xmlns:a16="http://schemas.microsoft.com/office/drawing/2014/main" id="{FCCEE574-6D0A-F4CB-07CA-54CD5AE2259D}"/>
              </a:ext>
            </a:extLst>
          </p:cNvPr>
          <p:cNvSpPr txBox="1">
            <a:spLocks/>
          </p:cNvSpPr>
          <p:nvPr/>
        </p:nvSpPr>
        <p:spPr>
          <a:xfrm>
            <a:off x="392112" y="19014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1048035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custDataLst>
              <p:tags r:id="rId1"/>
            </p:custDataLst>
          </p:nvPr>
        </p:nvSpPr>
        <p:spPr/>
        <p:txBody>
          <a:bodyPr/>
          <a:lstStyle/>
          <a:p>
            <a:r>
              <a:rPr lang="de-AT" b="1" dirty="0">
                <a:latin typeface="+mn-lt"/>
              </a:rPr>
              <a:t>Residence </a:t>
            </a:r>
            <a:r>
              <a:rPr lang="de-AT" b="1" dirty="0" err="1">
                <a:latin typeface="+mn-lt"/>
              </a:rPr>
              <a:t>for</a:t>
            </a:r>
            <a:r>
              <a:rPr lang="de-AT" b="1" dirty="0">
                <a:latin typeface="+mn-lt"/>
              </a:rPr>
              <a:t> </a:t>
            </a:r>
            <a:r>
              <a:rPr lang="de-AT" b="1" dirty="0" err="1">
                <a:latin typeface="+mn-lt"/>
              </a:rPr>
              <a:t>treaty</a:t>
            </a:r>
            <a:r>
              <a:rPr lang="de-AT" b="1" dirty="0">
                <a:latin typeface="+mn-lt"/>
              </a:rPr>
              <a:t> </a:t>
            </a:r>
            <a:r>
              <a:rPr lang="de-AT" b="1" dirty="0" err="1">
                <a:latin typeface="+mn-lt"/>
              </a:rPr>
              <a:t>purposes</a:t>
            </a:r>
            <a:r>
              <a:rPr lang="de-AT" b="1" dirty="0">
                <a:latin typeface="+mn-lt"/>
              </a:rPr>
              <a:t> – </a:t>
            </a:r>
            <a:r>
              <a:rPr lang="de-AT" b="1" dirty="0" err="1">
                <a:latin typeface="+mn-lt"/>
              </a:rPr>
              <a:t>case</a:t>
            </a:r>
            <a:r>
              <a:rPr lang="de-AT" b="1" dirty="0">
                <a:latin typeface="+mn-lt"/>
              </a:rPr>
              <a:t> </a:t>
            </a:r>
            <a:r>
              <a:rPr lang="de-AT" b="1" dirty="0" err="1">
                <a:latin typeface="+mn-lt"/>
              </a:rPr>
              <a:t>law</a:t>
            </a:r>
            <a:r>
              <a:rPr lang="de-AT" b="1" dirty="0">
                <a:latin typeface="+mn-lt"/>
              </a:rPr>
              <a:t> on UK </a:t>
            </a:r>
            <a:r>
              <a:rPr lang="de-AT" b="1" dirty="0" err="1">
                <a:latin typeface="+mn-lt"/>
              </a:rPr>
              <a:t>remittance</a:t>
            </a:r>
            <a:r>
              <a:rPr lang="de-AT" b="1" dirty="0">
                <a:latin typeface="+mn-lt"/>
              </a:rPr>
              <a:t> </a:t>
            </a:r>
            <a:r>
              <a:rPr lang="de-AT" b="1" dirty="0" err="1">
                <a:latin typeface="+mn-lt"/>
              </a:rPr>
              <a:t>taxation</a:t>
            </a:r>
            <a:endParaRPr lang="de-AT" b="1" dirty="0">
              <a:latin typeface="+mn-lt"/>
            </a:endParaRPr>
          </a:p>
          <a:p>
            <a:endParaRPr lang="en-GB" dirty="0"/>
          </a:p>
        </p:txBody>
      </p:sp>
      <p:sp>
        <p:nvSpPr>
          <p:cNvPr id="2" name="Titel 1"/>
          <p:cNvSpPr>
            <a:spLocks noGrp="1"/>
          </p:cNvSpPr>
          <p:nvPr>
            <p:ph type="title"/>
            <p:custDataLst>
              <p:tags r:id="rId2"/>
            </p:custDataLst>
          </p:nvPr>
        </p:nvSpPr>
        <p:spPr/>
        <p:txBody>
          <a:bodyPr/>
          <a:lstStyle/>
          <a:p>
            <a:r>
              <a:rPr lang="de-AT" dirty="0"/>
              <a:t>Setting </a:t>
            </a:r>
            <a:r>
              <a:rPr lang="de-AT" dirty="0" err="1"/>
              <a:t>the</a:t>
            </a:r>
            <a:r>
              <a:rPr lang="de-AT" dirty="0"/>
              <a:t> Scene</a:t>
            </a:r>
          </a:p>
        </p:txBody>
      </p:sp>
      <p:sp>
        <p:nvSpPr>
          <p:cNvPr id="3" name="Inhaltsplatzhalter 2"/>
          <p:cNvSpPr>
            <a:spLocks noGrp="1"/>
          </p:cNvSpPr>
          <p:nvPr>
            <p:ph sz="quarter" idx="14"/>
            <p:custDataLst>
              <p:tags r:id="rId3"/>
            </p:custDataLst>
          </p:nvPr>
        </p:nvSpPr>
        <p:spPr>
          <a:xfrm>
            <a:off x="461640" y="1592265"/>
            <a:ext cx="10673206" cy="4153217"/>
          </a:xfrm>
        </p:spPr>
        <p:txBody>
          <a:bodyPr/>
          <a:lstStyle/>
          <a:p>
            <a:pPr marL="0" indent="0">
              <a:buNone/>
            </a:pPr>
            <a:r>
              <a:rPr lang="en-US" b="1" dirty="0">
                <a:sym typeface="Arial" panose="020B0604020202020204" pitchFamily="34" charset="0"/>
              </a:rPr>
              <a:t>Art. 4 para. 1 OECD MC</a:t>
            </a:r>
          </a:p>
          <a:p>
            <a:pPr marL="0" indent="0">
              <a:spcAft>
                <a:spcPts val="1000"/>
              </a:spcAft>
              <a:buNone/>
            </a:pPr>
            <a:r>
              <a:rPr lang="en-US" i="1" dirty="0">
                <a:sym typeface="Arial" panose="020B0604020202020204" pitchFamily="34" charset="0"/>
              </a:rPr>
              <a:t>For the purposes of this Convention, the term "resident of a Contracting State" means any person who, under the laws of that State, is liable to tax therein by reason of his domicile, residence, place of management or any other criterion of a similar nature […]. </a:t>
            </a:r>
            <a:r>
              <a:rPr lang="en-US" b="1" i="1" dirty="0">
                <a:sym typeface="Arial" panose="020B0604020202020204" pitchFamily="34" charset="0"/>
              </a:rPr>
              <a:t>This term, however, does not include any person who is liable to tax in that State in respect only of income from sources in that State or capital situated therein.</a:t>
            </a:r>
          </a:p>
          <a:p>
            <a:pPr marL="0" indent="0">
              <a:buNone/>
            </a:pPr>
            <a:r>
              <a:rPr lang="de-AT" b="1" dirty="0">
                <a:sym typeface="Arial" panose="020B0604020202020204" pitchFamily="34" charset="0"/>
              </a:rPr>
              <a:t>UK resident non </a:t>
            </a:r>
            <a:r>
              <a:rPr lang="de-AT" b="1" dirty="0" err="1">
                <a:sym typeface="Arial" panose="020B0604020202020204" pitchFamily="34" charset="0"/>
              </a:rPr>
              <a:t>dom</a:t>
            </a:r>
            <a:r>
              <a:rPr lang="de-AT" b="1" dirty="0">
                <a:sym typeface="Arial" panose="020B0604020202020204" pitchFamily="34" charset="0"/>
              </a:rPr>
              <a:t> </a:t>
            </a:r>
            <a:r>
              <a:rPr lang="de-AT" b="1" dirty="0" err="1">
                <a:sym typeface="Arial" panose="020B0604020202020204" pitchFamily="34" charset="0"/>
              </a:rPr>
              <a:t>taxed</a:t>
            </a:r>
            <a:r>
              <a:rPr lang="de-AT" b="1" dirty="0">
                <a:sym typeface="Arial" panose="020B0604020202020204" pitchFamily="34" charset="0"/>
              </a:rPr>
              <a:t> on </a:t>
            </a:r>
            <a:r>
              <a:rPr lang="de-AT" b="1" dirty="0" err="1">
                <a:sym typeface="Arial" panose="020B0604020202020204" pitchFamily="34" charset="0"/>
              </a:rPr>
              <a:t>remittance</a:t>
            </a:r>
            <a:r>
              <a:rPr lang="de-AT" b="1" dirty="0">
                <a:sym typeface="Arial" panose="020B0604020202020204" pitchFamily="34" charset="0"/>
              </a:rPr>
              <a:t> </a:t>
            </a:r>
            <a:r>
              <a:rPr lang="de-AT" b="1" dirty="0" err="1">
                <a:sym typeface="Arial" panose="020B0604020202020204" pitchFamily="34" charset="0"/>
              </a:rPr>
              <a:t>basis</a:t>
            </a:r>
            <a:r>
              <a:rPr lang="de-AT" b="1" dirty="0">
                <a:sym typeface="Arial" panose="020B0604020202020204" pitchFamily="34" charset="0"/>
              </a:rPr>
              <a:t> – resident </a:t>
            </a:r>
            <a:r>
              <a:rPr lang="de-AT" b="1" dirty="0" err="1">
                <a:sym typeface="Arial" panose="020B0604020202020204" pitchFamily="34" charset="0"/>
              </a:rPr>
              <a:t>of</a:t>
            </a:r>
            <a:r>
              <a:rPr lang="de-AT" b="1" dirty="0">
                <a:sym typeface="Arial" panose="020B0604020202020204" pitchFamily="34" charset="0"/>
              </a:rPr>
              <a:t> </a:t>
            </a:r>
            <a:r>
              <a:rPr lang="de-AT" b="1" dirty="0" err="1">
                <a:sym typeface="Arial" panose="020B0604020202020204" pitchFamily="34" charset="0"/>
              </a:rPr>
              <a:t>the</a:t>
            </a:r>
            <a:r>
              <a:rPr lang="de-AT" b="1" dirty="0">
                <a:sym typeface="Arial" panose="020B0604020202020204" pitchFamily="34" charset="0"/>
              </a:rPr>
              <a:t> UK </a:t>
            </a:r>
            <a:r>
              <a:rPr lang="de-AT" b="1" dirty="0" err="1">
                <a:sym typeface="Arial" panose="020B0604020202020204" pitchFamily="34" charset="0"/>
              </a:rPr>
              <a:t>for</a:t>
            </a:r>
            <a:r>
              <a:rPr lang="de-AT" b="1" dirty="0">
                <a:sym typeface="Arial" panose="020B0604020202020204" pitchFamily="34" charset="0"/>
              </a:rPr>
              <a:t> </a:t>
            </a:r>
            <a:r>
              <a:rPr lang="de-AT" b="1" dirty="0" err="1">
                <a:sym typeface="Arial" panose="020B0604020202020204" pitchFamily="34" charset="0"/>
              </a:rPr>
              <a:t>treaty</a:t>
            </a:r>
            <a:r>
              <a:rPr lang="de-AT" b="1" dirty="0">
                <a:sym typeface="Arial" panose="020B0604020202020204" pitchFamily="34" charset="0"/>
              </a:rPr>
              <a:t> </a:t>
            </a:r>
            <a:r>
              <a:rPr lang="de-AT" b="1" dirty="0" err="1">
                <a:sym typeface="Arial" panose="020B0604020202020204" pitchFamily="34" charset="0"/>
              </a:rPr>
              <a:t>purposes</a:t>
            </a:r>
            <a:r>
              <a:rPr lang="de-AT" b="1" dirty="0">
                <a:sym typeface="Arial" panose="020B0604020202020204" pitchFamily="34" charset="0"/>
              </a:rPr>
              <a:t>?</a:t>
            </a:r>
          </a:p>
          <a:p>
            <a:r>
              <a:rPr lang="de-AT" dirty="0">
                <a:sym typeface="Arial" panose="020B0604020202020204" pitchFamily="34" charset="0"/>
              </a:rPr>
              <a:t>French Conseil d'État, </a:t>
            </a:r>
            <a:r>
              <a:rPr lang="de-AT" i="1" dirty="0" err="1">
                <a:sym typeface="Arial" panose="020B0604020202020204" pitchFamily="34" charset="0"/>
              </a:rPr>
              <a:t>Ragazzacci</a:t>
            </a:r>
            <a:r>
              <a:rPr lang="de-AT" i="1" dirty="0">
                <a:sym typeface="Arial" panose="020B0604020202020204" pitchFamily="34" charset="0"/>
              </a:rPr>
              <a:t>, </a:t>
            </a:r>
            <a:r>
              <a:rPr lang="de-AT" dirty="0">
                <a:sym typeface="Arial" panose="020B0604020202020204" pitchFamily="34" charset="0"/>
              </a:rPr>
              <a:t>27 </a:t>
            </a:r>
            <a:r>
              <a:rPr lang="de-AT" dirty="0" err="1">
                <a:sym typeface="Arial" panose="020B0604020202020204" pitchFamily="34" charset="0"/>
              </a:rPr>
              <a:t>July</a:t>
            </a:r>
            <a:r>
              <a:rPr lang="de-AT" dirty="0">
                <a:sym typeface="Arial" panose="020B0604020202020204" pitchFamily="34" charset="0"/>
              </a:rPr>
              <a:t> 2012, </a:t>
            </a:r>
            <a:r>
              <a:rPr lang="de-AT" dirty="0" err="1">
                <a:sym typeface="Arial" panose="020B0604020202020204" pitchFamily="34" charset="0"/>
              </a:rPr>
              <a:t>no</a:t>
            </a:r>
            <a:r>
              <a:rPr lang="de-AT" dirty="0">
                <a:sym typeface="Arial" panose="020B0604020202020204" pitchFamily="34" charset="0"/>
              </a:rPr>
              <a:t>. 337656: </a:t>
            </a:r>
          </a:p>
          <a:p>
            <a:pPr lvl="1"/>
            <a:r>
              <a:rPr lang="de-AT" dirty="0">
                <a:sym typeface="Arial" panose="020B0604020202020204" pitchFamily="34" charset="0"/>
              </a:rPr>
              <a:t>resident </a:t>
            </a:r>
            <a:r>
              <a:rPr lang="de-AT" dirty="0" err="1">
                <a:sym typeface="Arial" panose="020B0604020202020204" pitchFamily="34" charset="0"/>
              </a:rPr>
              <a:t>of</a:t>
            </a:r>
            <a:r>
              <a:rPr lang="de-AT" dirty="0">
                <a:sym typeface="Arial" panose="020B0604020202020204" pitchFamily="34" charset="0"/>
              </a:rPr>
              <a:t> </a:t>
            </a:r>
            <a:r>
              <a:rPr lang="de-AT" dirty="0" err="1">
                <a:sym typeface="Arial" panose="020B0604020202020204" pitchFamily="34" charset="0"/>
              </a:rPr>
              <a:t>the</a:t>
            </a:r>
            <a:r>
              <a:rPr lang="de-AT" dirty="0">
                <a:sym typeface="Arial" panose="020B0604020202020204" pitchFamily="34" charset="0"/>
              </a:rPr>
              <a:t> UK </a:t>
            </a:r>
            <a:r>
              <a:rPr lang="de-AT" dirty="0" err="1">
                <a:sym typeface="Arial" panose="020B0604020202020204" pitchFamily="34" charset="0"/>
              </a:rPr>
              <a:t>under</a:t>
            </a:r>
            <a:r>
              <a:rPr lang="de-AT" dirty="0">
                <a:sym typeface="Arial" panose="020B0604020202020204" pitchFamily="34" charset="0"/>
              </a:rPr>
              <a:t> art. 4 </a:t>
            </a:r>
            <a:r>
              <a:rPr lang="de-AT" dirty="0" err="1">
                <a:sym typeface="Arial" panose="020B0604020202020204" pitchFamily="34" charset="0"/>
              </a:rPr>
              <a:t>para</a:t>
            </a:r>
            <a:r>
              <a:rPr lang="de-AT" dirty="0">
                <a:sym typeface="Arial" panose="020B0604020202020204" pitchFamily="34" charset="0"/>
              </a:rPr>
              <a:t>. 1 </a:t>
            </a:r>
            <a:r>
              <a:rPr lang="de-AT" dirty="0" err="1">
                <a:sym typeface="Arial" panose="020B0604020202020204" pitchFamily="34" charset="0"/>
              </a:rPr>
              <a:t>of</a:t>
            </a:r>
            <a:r>
              <a:rPr lang="de-AT" dirty="0">
                <a:sym typeface="Arial" panose="020B0604020202020204" pitchFamily="34" charset="0"/>
              </a:rPr>
              <a:t> </a:t>
            </a:r>
            <a:r>
              <a:rPr lang="de-AT" dirty="0" err="1">
                <a:sym typeface="Arial" panose="020B0604020202020204" pitchFamily="34" charset="0"/>
              </a:rPr>
              <a:t>the</a:t>
            </a:r>
            <a:r>
              <a:rPr lang="de-AT" dirty="0">
                <a:sym typeface="Arial" panose="020B0604020202020204" pitchFamily="34" charset="0"/>
              </a:rPr>
              <a:t> </a:t>
            </a:r>
            <a:r>
              <a:rPr lang="de-AT" dirty="0" err="1">
                <a:sym typeface="Arial" panose="020B0604020202020204" pitchFamily="34" charset="0"/>
              </a:rPr>
              <a:t>treaty</a:t>
            </a:r>
            <a:endParaRPr lang="de-AT" dirty="0">
              <a:sym typeface="Arial" panose="020B0604020202020204" pitchFamily="34" charset="0"/>
            </a:endParaRPr>
          </a:p>
          <a:p>
            <a:pPr lvl="1"/>
            <a:r>
              <a:rPr lang="de-AT" dirty="0" err="1">
                <a:sym typeface="Arial" panose="020B0604020202020204" pitchFamily="34" charset="0"/>
              </a:rPr>
              <a:t>however</a:t>
            </a:r>
            <a:r>
              <a:rPr lang="de-AT" dirty="0">
                <a:sym typeface="Arial" panose="020B0604020202020204" pitchFamily="34" charset="0"/>
              </a:rPr>
              <a:t>: </a:t>
            </a:r>
            <a:r>
              <a:rPr lang="de-AT" dirty="0" err="1">
                <a:sym typeface="Arial" panose="020B0604020202020204" pitchFamily="34" charset="0"/>
              </a:rPr>
              <a:t>subject</a:t>
            </a:r>
            <a:r>
              <a:rPr lang="de-AT" dirty="0">
                <a:sym typeface="Arial" panose="020B0604020202020204" pitchFamily="34" charset="0"/>
              </a:rPr>
              <a:t> </a:t>
            </a:r>
            <a:r>
              <a:rPr lang="de-AT" dirty="0" err="1">
                <a:sym typeface="Arial" panose="020B0604020202020204" pitchFamily="34" charset="0"/>
              </a:rPr>
              <a:t>to</a:t>
            </a:r>
            <a:r>
              <a:rPr lang="de-AT" dirty="0">
                <a:sym typeface="Arial" panose="020B0604020202020204" pitchFamily="34" charset="0"/>
              </a:rPr>
              <a:t> </a:t>
            </a:r>
            <a:r>
              <a:rPr lang="de-AT" dirty="0" err="1">
                <a:sym typeface="Arial" panose="020B0604020202020204" pitchFamily="34" charset="0"/>
              </a:rPr>
              <a:t>tax</a:t>
            </a:r>
            <a:r>
              <a:rPr lang="de-AT" dirty="0">
                <a:sym typeface="Arial" panose="020B0604020202020204" pitchFamily="34" charset="0"/>
              </a:rPr>
              <a:t> </a:t>
            </a:r>
            <a:r>
              <a:rPr lang="de-AT" dirty="0" err="1">
                <a:sym typeface="Arial" panose="020B0604020202020204" pitchFamily="34" charset="0"/>
              </a:rPr>
              <a:t>provision</a:t>
            </a:r>
            <a:r>
              <a:rPr lang="de-AT" dirty="0">
                <a:sym typeface="Arial" panose="020B0604020202020204" pitchFamily="34" charset="0"/>
              </a:rPr>
              <a:t> &gt; </a:t>
            </a:r>
            <a:r>
              <a:rPr lang="de-AT" dirty="0" err="1">
                <a:sym typeface="Arial" panose="020B0604020202020204" pitchFamily="34" charset="0"/>
              </a:rPr>
              <a:t>no</a:t>
            </a:r>
            <a:r>
              <a:rPr lang="de-AT" dirty="0">
                <a:sym typeface="Arial" panose="020B0604020202020204" pitchFamily="34" charset="0"/>
              </a:rPr>
              <a:t> </a:t>
            </a:r>
            <a:r>
              <a:rPr lang="de-AT" dirty="0" err="1">
                <a:sym typeface="Arial" panose="020B0604020202020204" pitchFamily="34" charset="0"/>
              </a:rPr>
              <a:t>refund</a:t>
            </a:r>
            <a:r>
              <a:rPr lang="de-AT" dirty="0">
                <a:sym typeface="Arial" panose="020B0604020202020204" pitchFamily="34" charset="0"/>
              </a:rPr>
              <a:t> </a:t>
            </a:r>
            <a:r>
              <a:rPr lang="de-AT" dirty="0" err="1">
                <a:sym typeface="Arial" panose="020B0604020202020204" pitchFamily="34" charset="0"/>
              </a:rPr>
              <a:t>of</a:t>
            </a:r>
            <a:r>
              <a:rPr lang="de-AT" dirty="0">
                <a:sym typeface="Arial" panose="020B0604020202020204" pitchFamily="34" charset="0"/>
              </a:rPr>
              <a:t> French </a:t>
            </a:r>
            <a:r>
              <a:rPr lang="de-AT" dirty="0" err="1">
                <a:sym typeface="Arial" panose="020B0604020202020204" pitchFamily="34" charset="0"/>
              </a:rPr>
              <a:t>dividend</a:t>
            </a:r>
            <a:r>
              <a:rPr lang="de-AT" dirty="0">
                <a:sym typeface="Arial" panose="020B0604020202020204" pitchFamily="34" charset="0"/>
              </a:rPr>
              <a:t> </a:t>
            </a:r>
            <a:r>
              <a:rPr lang="de-AT" dirty="0" err="1">
                <a:sym typeface="Arial" panose="020B0604020202020204" pitchFamily="34" charset="0"/>
              </a:rPr>
              <a:t>withholding</a:t>
            </a:r>
            <a:r>
              <a:rPr lang="de-AT" dirty="0">
                <a:sym typeface="Arial" panose="020B0604020202020204" pitchFamily="34" charset="0"/>
              </a:rPr>
              <a:t> </a:t>
            </a:r>
            <a:r>
              <a:rPr lang="de-AT" dirty="0" err="1">
                <a:sym typeface="Arial" panose="020B0604020202020204" pitchFamily="34" charset="0"/>
              </a:rPr>
              <a:t>tax</a:t>
            </a:r>
            <a:endParaRPr lang="de-AT" dirty="0">
              <a:sym typeface="Arial" panose="020B0604020202020204" pitchFamily="34" charset="0"/>
            </a:endParaRPr>
          </a:p>
          <a:p>
            <a:r>
              <a:rPr lang="de-AT" dirty="0" err="1">
                <a:sym typeface="Arial" panose="020B0604020202020204" pitchFamily="34" charset="0"/>
              </a:rPr>
              <a:t>Spanish</a:t>
            </a:r>
            <a:r>
              <a:rPr lang="de-AT" dirty="0">
                <a:sym typeface="Arial" panose="020B0604020202020204" pitchFamily="34" charset="0"/>
              </a:rPr>
              <a:t> Tribunal </a:t>
            </a:r>
            <a:r>
              <a:rPr lang="de-AT" dirty="0" err="1">
                <a:sym typeface="Arial" panose="020B0604020202020204" pitchFamily="34" charset="0"/>
              </a:rPr>
              <a:t>Económico</a:t>
            </a:r>
            <a:r>
              <a:rPr lang="de-AT" dirty="0">
                <a:sym typeface="Arial" panose="020B0604020202020204" pitchFamily="34" charset="0"/>
              </a:rPr>
              <a:t> </a:t>
            </a:r>
            <a:r>
              <a:rPr lang="de-AT" dirty="0" err="1">
                <a:sym typeface="Arial" panose="020B0604020202020204" pitchFamily="34" charset="0"/>
              </a:rPr>
              <a:t>Administrativo</a:t>
            </a:r>
            <a:r>
              <a:rPr lang="de-AT" dirty="0">
                <a:sym typeface="Arial" panose="020B0604020202020204" pitchFamily="34" charset="0"/>
              </a:rPr>
              <a:t> Central, 11 </a:t>
            </a:r>
            <a:r>
              <a:rPr lang="de-AT" dirty="0" err="1">
                <a:sym typeface="Arial" panose="020B0604020202020204" pitchFamily="34" charset="0"/>
              </a:rPr>
              <a:t>July</a:t>
            </a:r>
            <a:r>
              <a:rPr lang="de-AT" dirty="0">
                <a:sym typeface="Arial" panose="020B0604020202020204" pitchFamily="34" charset="0"/>
              </a:rPr>
              <a:t> 2017, </a:t>
            </a:r>
            <a:r>
              <a:rPr lang="de-AT" dirty="0" err="1">
                <a:sym typeface="Arial" panose="020B0604020202020204" pitchFamily="34" charset="0"/>
              </a:rPr>
              <a:t>no</a:t>
            </a:r>
            <a:r>
              <a:rPr lang="de-AT" dirty="0">
                <a:sym typeface="Arial" panose="020B0604020202020204" pitchFamily="34" charset="0"/>
              </a:rPr>
              <a:t>. 6469/2013/00/00: </a:t>
            </a:r>
          </a:p>
          <a:p>
            <a:pPr lvl="1"/>
            <a:r>
              <a:rPr lang="de-AT" dirty="0">
                <a:sym typeface="Arial" panose="020B0604020202020204" pitchFamily="34" charset="0"/>
              </a:rPr>
              <a:t>resident </a:t>
            </a:r>
            <a:r>
              <a:rPr lang="de-AT" dirty="0" err="1">
                <a:sym typeface="Arial" panose="020B0604020202020204" pitchFamily="34" charset="0"/>
              </a:rPr>
              <a:t>of</a:t>
            </a:r>
            <a:r>
              <a:rPr lang="de-AT" dirty="0">
                <a:sym typeface="Arial" panose="020B0604020202020204" pitchFamily="34" charset="0"/>
              </a:rPr>
              <a:t> </a:t>
            </a:r>
            <a:r>
              <a:rPr lang="de-AT" dirty="0" err="1">
                <a:sym typeface="Arial" panose="020B0604020202020204" pitchFamily="34" charset="0"/>
              </a:rPr>
              <a:t>the</a:t>
            </a:r>
            <a:r>
              <a:rPr lang="de-AT" dirty="0">
                <a:sym typeface="Arial" panose="020B0604020202020204" pitchFamily="34" charset="0"/>
              </a:rPr>
              <a:t> UK and </a:t>
            </a:r>
            <a:r>
              <a:rPr lang="de-AT" dirty="0" err="1">
                <a:sym typeface="Arial" panose="020B0604020202020204" pitchFamily="34" charset="0"/>
              </a:rPr>
              <a:t>of</a:t>
            </a:r>
            <a:r>
              <a:rPr lang="de-AT" dirty="0">
                <a:sym typeface="Arial" panose="020B0604020202020204" pitchFamily="34" charset="0"/>
              </a:rPr>
              <a:t> Spain </a:t>
            </a:r>
            <a:r>
              <a:rPr lang="de-AT" dirty="0" err="1">
                <a:sym typeface="Arial" panose="020B0604020202020204" pitchFamily="34" charset="0"/>
              </a:rPr>
              <a:t>under</a:t>
            </a:r>
            <a:r>
              <a:rPr lang="de-AT" dirty="0">
                <a:sym typeface="Arial" panose="020B0604020202020204" pitchFamily="34" charset="0"/>
              </a:rPr>
              <a:t> art. 4 </a:t>
            </a:r>
            <a:r>
              <a:rPr lang="de-AT" dirty="0" err="1">
                <a:sym typeface="Arial" panose="020B0604020202020204" pitchFamily="34" charset="0"/>
              </a:rPr>
              <a:t>para</a:t>
            </a:r>
            <a:r>
              <a:rPr lang="de-AT" dirty="0">
                <a:sym typeface="Arial" panose="020B0604020202020204" pitchFamily="34" charset="0"/>
              </a:rPr>
              <a:t>. 1 </a:t>
            </a:r>
            <a:r>
              <a:rPr lang="de-AT" dirty="0" err="1">
                <a:sym typeface="Arial" panose="020B0604020202020204" pitchFamily="34" charset="0"/>
              </a:rPr>
              <a:t>of</a:t>
            </a:r>
            <a:r>
              <a:rPr lang="de-AT" dirty="0">
                <a:sym typeface="Arial" panose="020B0604020202020204" pitchFamily="34" charset="0"/>
              </a:rPr>
              <a:t> </a:t>
            </a:r>
            <a:r>
              <a:rPr lang="de-AT" dirty="0" err="1">
                <a:sym typeface="Arial" panose="020B0604020202020204" pitchFamily="34" charset="0"/>
              </a:rPr>
              <a:t>the</a:t>
            </a:r>
            <a:r>
              <a:rPr lang="de-AT" dirty="0">
                <a:sym typeface="Arial" panose="020B0604020202020204" pitchFamily="34" charset="0"/>
              </a:rPr>
              <a:t> </a:t>
            </a:r>
            <a:r>
              <a:rPr lang="de-AT" dirty="0" err="1">
                <a:sym typeface="Arial" panose="020B0604020202020204" pitchFamily="34" charset="0"/>
              </a:rPr>
              <a:t>treaty</a:t>
            </a:r>
            <a:endParaRPr lang="de-AT" dirty="0">
              <a:sym typeface="Arial" panose="020B0604020202020204" pitchFamily="34" charset="0"/>
            </a:endParaRPr>
          </a:p>
          <a:p>
            <a:pPr lvl="1"/>
            <a:r>
              <a:rPr lang="de-AT" dirty="0" err="1">
                <a:sym typeface="Arial" panose="020B0604020202020204" pitchFamily="34" charset="0"/>
              </a:rPr>
              <a:t>however</a:t>
            </a:r>
            <a:r>
              <a:rPr lang="de-AT" dirty="0">
                <a:sym typeface="Arial" panose="020B0604020202020204" pitchFamily="34" charset="0"/>
              </a:rPr>
              <a:t>: </a:t>
            </a:r>
            <a:r>
              <a:rPr lang="de-AT" dirty="0" err="1">
                <a:sym typeface="Arial" panose="020B0604020202020204" pitchFamily="34" charset="0"/>
              </a:rPr>
              <a:t>ultimately</a:t>
            </a:r>
            <a:r>
              <a:rPr lang="de-AT" dirty="0">
                <a:sym typeface="Arial" panose="020B0604020202020204" pitchFamily="34" charset="0"/>
              </a:rPr>
              <a:t> resident </a:t>
            </a:r>
            <a:r>
              <a:rPr lang="de-AT" dirty="0" err="1">
                <a:sym typeface="Arial" panose="020B0604020202020204" pitchFamily="34" charset="0"/>
              </a:rPr>
              <a:t>of</a:t>
            </a:r>
            <a:r>
              <a:rPr lang="de-AT" dirty="0">
                <a:sym typeface="Arial" panose="020B0604020202020204" pitchFamily="34" charset="0"/>
              </a:rPr>
              <a:t> Spain due </a:t>
            </a:r>
            <a:r>
              <a:rPr lang="de-AT" dirty="0" err="1">
                <a:sym typeface="Arial" panose="020B0604020202020204" pitchFamily="34" charset="0"/>
              </a:rPr>
              <a:t>to</a:t>
            </a:r>
            <a:r>
              <a:rPr lang="de-AT" dirty="0">
                <a:sym typeface="Arial" panose="020B0604020202020204" pitchFamily="34" charset="0"/>
              </a:rPr>
              <a:t> </a:t>
            </a:r>
            <a:r>
              <a:rPr lang="de-AT" dirty="0" err="1">
                <a:sym typeface="Arial" panose="020B0604020202020204" pitchFamily="34" charset="0"/>
              </a:rPr>
              <a:t>center</a:t>
            </a:r>
            <a:r>
              <a:rPr lang="de-AT" dirty="0">
                <a:sym typeface="Arial" panose="020B0604020202020204" pitchFamily="34" charset="0"/>
              </a:rPr>
              <a:t> </a:t>
            </a:r>
            <a:r>
              <a:rPr lang="de-AT" dirty="0" err="1">
                <a:sym typeface="Arial" panose="020B0604020202020204" pitchFamily="34" charset="0"/>
              </a:rPr>
              <a:t>of</a:t>
            </a:r>
            <a:r>
              <a:rPr lang="de-AT" dirty="0">
                <a:sym typeface="Arial" panose="020B0604020202020204" pitchFamily="34" charset="0"/>
              </a:rPr>
              <a:t> vital </a:t>
            </a:r>
            <a:r>
              <a:rPr lang="de-AT" dirty="0" err="1">
                <a:sym typeface="Arial" panose="020B0604020202020204" pitchFamily="34" charset="0"/>
              </a:rPr>
              <a:t>interests</a:t>
            </a:r>
            <a:r>
              <a:rPr lang="de-AT" dirty="0">
                <a:sym typeface="Arial" panose="020B0604020202020204" pitchFamily="34" charset="0"/>
              </a:rPr>
              <a:t> in Spain</a:t>
            </a:r>
          </a:p>
          <a:p>
            <a:r>
              <a:rPr lang="de-AT" dirty="0" err="1">
                <a:sym typeface="Arial" panose="020B0604020202020204" pitchFamily="34" charset="0"/>
              </a:rPr>
              <a:t>Italian</a:t>
            </a:r>
            <a:r>
              <a:rPr lang="de-AT" dirty="0">
                <a:sym typeface="Arial" panose="020B0604020202020204" pitchFamily="34" charset="0"/>
              </a:rPr>
              <a:t> </a:t>
            </a:r>
            <a:r>
              <a:rPr lang="de-AT" dirty="0" err="1">
                <a:sym typeface="Arial" panose="020B0604020202020204" pitchFamily="34" charset="0"/>
              </a:rPr>
              <a:t>Corte</a:t>
            </a:r>
            <a:r>
              <a:rPr lang="de-AT" dirty="0">
                <a:sym typeface="Arial" panose="020B0604020202020204" pitchFamily="34" charset="0"/>
              </a:rPr>
              <a:t> Supreme di </a:t>
            </a:r>
            <a:r>
              <a:rPr lang="de-AT" dirty="0" err="1">
                <a:sym typeface="Arial" panose="020B0604020202020204" pitchFamily="34" charset="0"/>
              </a:rPr>
              <a:t>Cassazione</a:t>
            </a:r>
            <a:r>
              <a:rPr lang="de-AT" dirty="0">
                <a:sym typeface="Arial" panose="020B0604020202020204" pitchFamily="34" charset="0"/>
              </a:rPr>
              <a:t>, </a:t>
            </a:r>
            <a:r>
              <a:rPr lang="de-AT" i="1" dirty="0">
                <a:sym typeface="Arial" panose="020B0604020202020204" pitchFamily="34" charset="0"/>
              </a:rPr>
              <a:t>Tiziano Ferro, </a:t>
            </a:r>
            <a:r>
              <a:rPr lang="de-AT" dirty="0">
                <a:sym typeface="Arial" panose="020B0604020202020204" pitchFamily="34" charset="0"/>
              </a:rPr>
              <a:t>8 </a:t>
            </a:r>
            <a:r>
              <a:rPr lang="de-AT" dirty="0" err="1">
                <a:sym typeface="Arial" panose="020B0604020202020204" pitchFamily="34" charset="0"/>
              </a:rPr>
              <a:t>October</a:t>
            </a:r>
            <a:r>
              <a:rPr lang="de-AT" dirty="0">
                <a:sym typeface="Arial" panose="020B0604020202020204" pitchFamily="34" charset="0"/>
              </a:rPr>
              <a:t> 2020, </a:t>
            </a:r>
            <a:r>
              <a:rPr lang="de-AT" dirty="0" err="1">
                <a:sym typeface="Arial" panose="020B0604020202020204" pitchFamily="34" charset="0"/>
              </a:rPr>
              <a:t>no</a:t>
            </a:r>
            <a:r>
              <a:rPr lang="de-AT" dirty="0">
                <a:sym typeface="Arial" panose="020B0604020202020204" pitchFamily="34" charset="0"/>
              </a:rPr>
              <a:t>. 21695-2020: </a:t>
            </a:r>
          </a:p>
          <a:p>
            <a:pPr lvl="1"/>
            <a:r>
              <a:rPr lang="de-AT" dirty="0">
                <a:sym typeface="Arial" panose="020B0604020202020204" pitchFamily="34" charset="0"/>
              </a:rPr>
              <a:t>not resident </a:t>
            </a:r>
            <a:r>
              <a:rPr lang="de-AT" dirty="0" err="1">
                <a:sym typeface="Arial" panose="020B0604020202020204" pitchFamily="34" charset="0"/>
              </a:rPr>
              <a:t>of</a:t>
            </a:r>
            <a:r>
              <a:rPr lang="de-AT" dirty="0">
                <a:sym typeface="Arial" panose="020B0604020202020204" pitchFamily="34" charset="0"/>
              </a:rPr>
              <a:t> </a:t>
            </a:r>
            <a:r>
              <a:rPr lang="de-AT" dirty="0" err="1">
                <a:sym typeface="Arial" panose="020B0604020202020204" pitchFamily="34" charset="0"/>
              </a:rPr>
              <a:t>the</a:t>
            </a:r>
            <a:r>
              <a:rPr lang="de-AT" dirty="0">
                <a:sym typeface="Arial" panose="020B0604020202020204" pitchFamily="34" charset="0"/>
              </a:rPr>
              <a:t> UK </a:t>
            </a:r>
            <a:r>
              <a:rPr lang="de-AT" dirty="0" err="1">
                <a:sym typeface="Arial" panose="020B0604020202020204" pitchFamily="34" charset="0"/>
              </a:rPr>
              <a:t>as</a:t>
            </a:r>
            <a:r>
              <a:rPr lang="de-AT" dirty="0">
                <a:sym typeface="Arial" panose="020B0604020202020204" pitchFamily="34" charset="0"/>
              </a:rPr>
              <a:t> a </a:t>
            </a:r>
            <a:r>
              <a:rPr lang="de-AT" dirty="0" err="1">
                <a:sym typeface="Arial" panose="020B0604020202020204" pitchFamily="34" charset="0"/>
              </a:rPr>
              <a:t>consequence</a:t>
            </a:r>
            <a:r>
              <a:rPr lang="de-AT" dirty="0">
                <a:sym typeface="Arial" panose="020B0604020202020204" pitchFamily="34" charset="0"/>
              </a:rPr>
              <a:t> </a:t>
            </a:r>
            <a:r>
              <a:rPr lang="de-AT" dirty="0" err="1">
                <a:sym typeface="Arial" panose="020B0604020202020204" pitchFamily="34" charset="0"/>
              </a:rPr>
              <a:t>of</a:t>
            </a:r>
            <a:r>
              <a:rPr lang="de-AT" dirty="0">
                <a:sym typeface="Arial" panose="020B0604020202020204" pitchFamily="34" charset="0"/>
              </a:rPr>
              <a:t> </a:t>
            </a:r>
            <a:r>
              <a:rPr lang="de-AT" dirty="0" err="1">
                <a:sym typeface="Arial" panose="020B0604020202020204" pitchFamily="34" charset="0"/>
              </a:rPr>
              <a:t>sentence</a:t>
            </a:r>
            <a:r>
              <a:rPr lang="de-AT" dirty="0">
                <a:sym typeface="Arial" panose="020B0604020202020204" pitchFamily="34" charset="0"/>
              </a:rPr>
              <a:t> 2 </a:t>
            </a:r>
            <a:r>
              <a:rPr lang="de-AT" dirty="0" err="1">
                <a:sym typeface="Arial" panose="020B0604020202020204" pitchFamily="34" charset="0"/>
              </a:rPr>
              <a:t>of</a:t>
            </a:r>
            <a:r>
              <a:rPr lang="de-AT" dirty="0">
                <a:sym typeface="Arial" panose="020B0604020202020204" pitchFamily="34" charset="0"/>
              </a:rPr>
              <a:t> art. 4 </a:t>
            </a:r>
            <a:r>
              <a:rPr lang="de-AT" dirty="0" err="1">
                <a:sym typeface="Arial" panose="020B0604020202020204" pitchFamily="34" charset="0"/>
              </a:rPr>
              <a:t>para</a:t>
            </a:r>
            <a:r>
              <a:rPr lang="de-AT" dirty="0">
                <a:sym typeface="Arial" panose="020B0604020202020204" pitchFamily="34" charset="0"/>
              </a:rPr>
              <a:t>. 1 </a:t>
            </a:r>
            <a:r>
              <a:rPr lang="de-AT" dirty="0" err="1">
                <a:sym typeface="Arial" panose="020B0604020202020204" pitchFamily="34" charset="0"/>
              </a:rPr>
              <a:t>of</a:t>
            </a:r>
            <a:r>
              <a:rPr lang="de-AT" dirty="0">
                <a:sym typeface="Arial" panose="020B0604020202020204" pitchFamily="34" charset="0"/>
              </a:rPr>
              <a:t> </a:t>
            </a:r>
            <a:r>
              <a:rPr lang="de-AT" dirty="0" err="1">
                <a:sym typeface="Arial" panose="020B0604020202020204" pitchFamily="34" charset="0"/>
              </a:rPr>
              <a:t>the</a:t>
            </a:r>
            <a:r>
              <a:rPr lang="de-AT" dirty="0">
                <a:sym typeface="Arial" panose="020B0604020202020204" pitchFamily="34" charset="0"/>
              </a:rPr>
              <a:t> </a:t>
            </a:r>
            <a:r>
              <a:rPr lang="de-AT" dirty="0" err="1">
                <a:sym typeface="Arial" panose="020B0604020202020204" pitchFamily="34" charset="0"/>
              </a:rPr>
              <a:t>treaty</a:t>
            </a:r>
            <a:r>
              <a:rPr lang="de-AT" dirty="0">
                <a:sym typeface="Arial" panose="020B0604020202020204" pitchFamily="34" charset="0"/>
              </a:rPr>
              <a:t> </a:t>
            </a:r>
          </a:p>
        </p:txBody>
      </p:sp>
      <p:sp>
        <p:nvSpPr>
          <p:cNvPr id="4" name="Slide Number Placeholder 3">
            <a:extLst>
              <a:ext uri="{FF2B5EF4-FFF2-40B4-BE49-F238E27FC236}">
                <a16:creationId xmlns:a16="http://schemas.microsoft.com/office/drawing/2014/main" id="{7451E264-34A5-4101-978A-D1F4FC3CBC61}"/>
              </a:ext>
            </a:extLst>
          </p:cNvPr>
          <p:cNvSpPr>
            <a:spLocks noGrp="1"/>
          </p:cNvSpPr>
          <p:nvPr>
            <p:ph type="sldNum" sz="quarter" idx="12"/>
            <p:custDataLst>
              <p:tags r:id="rId4"/>
            </p:custDataLst>
          </p:nvPr>
        </p:nvSpPr>
        <p:spPr/>
        <p:txBody>
          <a:bodyPr/>
          <a:lstStyle/>
          <a:p>
            <a:fld id="{B459E51B-A277-4897-9DDF-ABA4750400EB}" type="slidenum">
              <a:rPr lang="en-GB" smtClean="0"/>
              <a:t>7</a:t>
            </a:fld>
            <a:endParaRPr lang="en-GB" dirty="0"/>
          </a:p>
        </p:txBody>
      </p:sp>
      <p:sp>
        <p:nvSpPr>
          <p:cNvPr id="5" name="Untertitel 12">
            <a:extLst>
              <a:ext uri="{FF2B5EF4-FFF2-40B4-BE49-F238E27FC236}">
                <a16:creationId xmlns:a16="http://schemas.microsoft.com/office/drawing/2014/main" id="{1F2A4762-3E20-1B50-B564-D1D0F5DCCA9B}"/>
              </a:ext>
            </a:extLst>
          </p:cNvPr>
          <p:cNvSpPr txBox="1">
            <a:spLocks/>
          </p:cNvSpPr>
          <p:nvPr/>
        </p:nvSpPr>
        <p:spPr>
          <a:xfrm>
            <a:off x="392112" y="19014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21406941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107963"/>
            <a:ext cx="12192000" cy="7071952"/>
          </a:xfrm>
        </p:spPr>
      </p:pic>
      <p:sp>
        <p:nvSpPr>
          <p:cNvPr id="2" name="Title 1"/>
          <p:cNvSpPr>
            <a:spLocks noGrp="1"/>
          </p:cNvSpPr>
          <p:nvPr>
            <p:ph type="title"/>
          </p:nvPr>
        </p:nvSpPr>
        <p:spPr>
          <a:xfrm>
            <a:off x="472119" y="501307"/>
            <a:ext cx="9847587" cy="417250"/>
          </a:xfrm>
        </p:spPr>
        <p:txBody>
          <a:bodyPr/>
          <a:lstStyle/>
          <a:p>
            <a:r>
              <a:rPr lang="en-GB" dirty="0"/>
              <a:t>Case Study 1 – The Residence Perspective</a:t>
            </a:r>
          </a:p>
        </p:txBody>
      </p:sp>
      <p:sp>
        <p:nvSpPr>
          <p:cNvPr id="8" name="Google Shape;3391;p44">
            <a:extLst>
              <a:ext uri="{FF2B5EF4-FFF2-40B4-BE49-F238E27FC236}">
                <a16:creationId xmlns:a16="http://schemas.microsoft.com/office/drawing/2014/main" id="{ED0CE775-F4FE-2513-FE43-67EBEC9491D7}"/>
              </a:ext>
            </a:extLst>
          </p:cNvPr>
          <p:cNvSpPr/>
          <p:nvPr/>
        </p:nvSpPr>
        <p:spPr>
          <a:xfrm>
            <a:off x="1249495" y="3172218"/>
            <a:ext cx="708338" cy="680190"/>
          </a:xfrm>
          <a:custGeom>
            <a:avLst/>
            <a:gdLst/>
            <a:ahLst/>
            <a:cxnLst/>
            <a:rect l="l" t="t" r="r" b="b"/>
            <a:pathLst>
              <a:path w="1168497" h="1168497" extrusionOk="0">
                <a:moveTo>
                  <a:pt x="1145631" y="1116105"/>
                </a:moveTo>
                <a:lnTo>
                  <a:pt x="984327" y="1116105"/>
                </a:lnTo>
                <a:lnTo>
                  <a:pt x="984327" y="440409"/>
                </a:lnTo>
                <a:lnTo>
                  <a:pt x="1145631" y="440409"/>
                </a:lnTo>
                <a:cubicBezTo>
                  <a:pt x="1158332" y="440409"/>
                  <a:pt x="1169762" y="431518"/>
                  <a:pt x="1173573" y="420087"/>
                </a:cubicBezTo>
                <a:cubicBezTo>
                  <a:pt x="1177383" y="407386"/>
                  <a:pt x="1172303" y="394685"/>
                  <a:pt x="1162142" y="387065"/>
                </a:cubicBezTo>
                <a:lnTo>
                  <a:pt x="604565" y="4763"/>
                </a:lnTo>
                <a:cubicBezTo>
                  <a:pt x="594405" y="-1588"/>
                  <a:pt x="581704" y="-1588"/>
                  <a:pt x="571543" y="4763"/>
                </a:cubicBezTo>
                <a:lnTo>
                  <a:pt x="12696" y="387065"/>
                </a:lnTo>
                <a:cubicBezTo>
                  <a:pt x="2535" y="394685"/>
                  <a:pt x="-2545" y="407386"/>
                  <a:pt x="1265" y="420087"/>
                </a:cubicBezTo>
                <a:cubicBezTo>
                  <a:pt x="5075" y="432789"/>
                  <a:pt x="16506" y="440409"/>
                  <a:pt x="29207" y="440409"/>
                </a:cubicBezTo>
                <a:lnTo>
                  <a:pt x="191781" y="440409"/>
                </a:lnTo>
                <a:lnTo>
                  <a:pt x="191781" y="1116105"/>
                </a:lnTo>
                <a:lnTo>
                  <a:pt x="30478" y="1116105"/>
                </a:lnTo>
                <a:cubicBezTo>
                  <a:pt x="13966" y="1116105"/>
                  <a:pt x="1265" y="1128806"/>
                  <a:pt x="1265" y="1145318"/>
                </a:cubicBezTo>
                <a:cubicBezTo>
                  <a:pt x="1265" y="1161829"/>
                  <a:pt x="13966" y="1174530"/>
                  <a:pt x="30478" y="1174530"/>
                </a:cubicBezTo>
                <a:lnTo>
                  <a:pt x="222263" y="1174530"/>
                </a:lnTo>
                <a:lnTo>
                  <a:pt x="236235" y="1174530"/>
                </a:lnTo>
                <a:lnTo>
                  <a:pt x="453423" y="1174530"/>
                </a:lnTo>
                <a:lnTo>
                  <a:pt x="726496" y="1174530"/>
                </a:lnTo>
                <a:lnTo>
                  <a:pt x="957655" y="1174530"/>
                </a:lnTo>
                <a:lnTo>
                  <a:pt x="971626" y="1174530"/>
                </a:lnTo>
                <a:lnTo>
                  <a:pt x="1148171" y="1174530"/>
                </a:lnTo>
                <a:cubicBezTo>
                  <a:pt x="1164682" y="1174530"/>
                  <a:pt x="1177383" y="1161829"/>
                  <a:pt x="1177383" y="1145318"/>
                </a:cubicBezTo>
                <a:cubicBezTo>
                  <a:pt x="1174843" y="1128806"/>
                  <a:pt x="1162142" y="1116105"/>
                  <a:pt x="1145631" y="1116105"/>
                </a:cubicBezTo>
                <a:close/>
                <a:moveTo>
                  <a:pt x="124465" y="381984"/>
                </a:moveTo>
                <a:lnTo>
                  <a:pt x="588054" y="65728"/>
                </a:lnTo>
                <a:lnTo>
                  <a:pt x="1050373" y="381984"/>
                </a:lnTo>
                <a:lnTo>
                  <a:pt x="955115" y="381984"/>
                </a:lnTo>
                <a:cubicBezTo>
                  <a:pt x="938603" y="381984"/>
                  <a:pt x="925902" y="394685"/>
                  <a:pt x="925902" y="411197"/>
                </a:cubicBezTo>
                <a:lnTo>
                  <a:pt x="925902" y="1116105"/>
                </a:lnTo>
                <a:lnTo>
                  <a:pt x="754438" y="1116105"/>
                </a:lnTo>
                <a:lnTo>
                  <a:pt x="754438" y="616954"/>
                </a:lnTo>
                <a:cubicBezTo>
                  <a:pt x="754438" y="600443"/>
                  <a:pt x="741737" y="587742"/>
                  <a:pt x="725225" y="587742"/>
                </a:cubicBezTo>
                <a:lnTo>
                  <a:pt x="452153" y="587742"/>
                </a:lnTo>
                <a:cubicBezTo>
                  <a:pt x="435641" y="587742"/>
                  <a:pt x="422940" y="600443"/>
                  <a:pt x="422940" y="616954"/>
                </a:cubicBezTo>
                <a:lnTo>
                  <a:pt x="422940" y="1116105"/>
                </a:lnTo>
                <a:lnTo>
                  <a:pt x="251476" y="1116105"/>
                </a:lnTo>
                <a:lnTo>
                  <a:pt x="251476" y="411197"/>
                </a:lnTo>
                <a:cubicBezTo>
                  <a:pt x="251476" y="394685"/>
                  <a:pt x="238775" y="381984"/>
                  <a:pt x="222263" y="381984"/>
                </a:cubicBezTo>
                <a:lnTo>
                  <a:pt x="124465" y="381984"/>
                </a:lnTo>
                <a:close/>
                <a:moveTo>
                  <a:pt x="481365" y="1116105"/>
                </a:moveTo>
                <a:lnTo>
                  <a:pt x="481365" y="646166"/>
                </a:lnTo>
                <a:lnTo>
                  <a:pt x="694743" y="646166"/>
                </a:lnTo>
                <a:lnTo>
                  <a:pt x="694743" y="1116105"/>
                </a:lnTo>
                <a:lnTo>
                  <a:pt x="481365" y="1116105"/>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grpSp>
        <p:nvGrpSpPr>
          <p:cNvPr id="9" name="Google Shape;111;p13">
            <a:extLst>
              <a:ext uri="{FF2B5EF4-FFF2-40B4-BE49-F238E27FC236}">
                <a16:creationId xmlns:a16="http://schemas.microsoft.com/office/drawing/2014/main" id="{772B5C40-6D85-2460-2E71-A5735EB328A8}"/>
              </a:ext>
            </a:extLst>
          </p:cNvPr>
          <p:cNvGrpSpPr/>
          <p:nvPr/>
        </p:nvGrpSpPr>
        <p:grpSpPr>
          <a:xfrm>
            <a:off x="2334220" y="3198594"/>
            <a:ext cx="708338" cy="680190"/>
            <a:chOff x="2315553" y="5461860"/>
            <a:chExt cx="468363" cy="542894"/>
          </a:xfrm>
        </p:grpSpPr>
        <p:sp>
          <p:nvSpPr>
            <p:cNvPr id="10" name="Google Shape;112;p13">
              <a:extLst>
                <a:ext uri="{FF2B5EF4-FFF2-40B4-BE49-F238E27FC236}">
                  <a16:creationId xmlns:a16="http://schemas.microsoft.com/office/drawing/2014/main" id="{F5E37924-AF86-45F7-1EA0-372C93EF4C90}"/>
                </a:ext>
              </a:extLst>
            </p:cNvPr>
            <p:cNvSpPr/>
            <p:nvPr/>
          </p:nvSpPr>
          <p:spPr>
            <a:xfrm>
              <a:off x="2315553" y="5461860"/>
              <a:ext cx="386468" cy="542894"/>
            </a:xfrm>
            <a:custGeom>
              <a:avLst/>
              <a:gdLst/>
              <a:ahLst/>
              <a:cxnLst/>
              <a:rect l="l" t="t" r="r" b="b"/>
              <a:pathLst>
                <a:path w="222229" h="312180" extrusionOk="0">
                  <a:moveTo>
                    <a:pt x="217997" y="290486"/>
                  </a:moveTo>
                  <a:cubicBezTo>
                    <a:pt x="214293" y="290486"/>
                    <a:pt x="211648" y="293132"/>
                    <a:pt x="211648" y="296836"/>
                  </a:cubicBezTo>
                  <a:lnTo>
                    <a:pt x="211648" y="303185"/>
                  </a:lnTo>
                  <a:lnTo>
                    <a:pt x="12699" y="303185"/>
                  </a:lnTo>
                  <a:lnTo>
                    <a:pt x="12699" y="13228"/>
                  </a:lnTo>
                  <a:lnTo>
                    <a:pt x="211648" y="13228"/>
                  </a:lnTo>
                  <a:lnTo>
                    <a:pt x="211648" y="141804"/>
                  </a:lnTo>
                  <a:cubicBezTo>
                    <a:pt x="211648" y="145508"/>
                    <a:pt x="214293" y="148153"/>
                    <a:pt x="217997" y="148153"/>
                  </a:cubicBezTo>
                  <a:cubicBezTo>
                    <a:pt x="221701" y="148153"/>
                    <a:pt x="224346" y="145508"/>
                    <a:pt x="224346" y="141804"/>
                  </a:cubicBezTo>
                  <a:lnTo>
                    <a:pt x="224346" y="6349"/>
                  </a:lnTo>
                  <a:cubicBezTo>
                    <a:pt x="224346" y="2646"/>
                    <a:pt x="221701" y="0"/>
                    <a:pt x="217997" y="0"/>
                  </a:cubicBezTo>
                  <a:lnTo>
                    <a:pt x="6349" y="0"/>
                  </a:lnTo>
                  <a:cubicBezTo>
                    <a:pt x="2646" y="0"/>
                    <a:pt x="0" y="2646"/>
                    <a:pt x="0" y="6349"/>
                  </a:cubicBezTo>
                  <a:lnTo>
                    <a:pt x="0" y="309535"/>
                  </a:lnTo>
                  <a:cubicBezTo>
                    <a:pt x="0" y="313238"/>
                    <a:pt x="2646" y="315884"/>
                    <a:pt x="6349" y="315884"/>
                  </a:cubicBezTo>
                  <a:lnTo>
                    <a:pt x="217997" y="315884"/>
                  </a:lnTo>
                  <a:cubicBezTo>
                    <a:pt x="221701" y="315884"/>
                    <a:pt x="224346" y="313238"/>
                    <a:pt x="224346" y="309535"/>
                  </a:cubicBezTo>
                  <a:lnTo>
                    <a:pt x="224346" y="296836"/>
                  </a:lnTo>
                  <a:cubicBezTo>
                    <a:pt x="224346" y="293132"/>
                    <a:pt x="221172" y="290486"/>
                    <a:pt x="217997" y="290486"/>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1" name="Google Shape;113;p13">
              <a:extLst>
                <a:ext uri="{FF2B5EF4-FFF2-40B4-BE49-F238E27FC236}">
                  <a16:creationId xmlns:a16="http://schemas.microsoft.com/office/drawing/2014/main" id="{9612FC2F-1991-C6B7-BE7B-C2814578FEE7}"/>
                </a:ext>
              </a:extLst>
            </p:cNvPr>
            <p:cNvSpPr/>
            <p:nvPr/>
          </p:nvSpPr>
          <p:spPr>
            <a:xfrm>
              <a:off x="2553875" y="5730545"/>
              <a:ext cx="230041" cy="230041"/>
            </a:xfrm>
            <a:custGeom>
              <a:avLst/>
              <a:gdLst/>
              <a:ahLst/>
              <a:cxnLst/>
              <a:rect l="l" t="t" r="r" b="b"/>
              <a:pathLst>
                <a:path w="132279" h="132279" extrusionOk="0">
                  <a:moveTo>
                    <a:pt x="66140" y="0"/>
                  </a:moveTo>
                  <a:cubicBezTo>
                    <a:pt x="29631" y="0"/>
                    <a:pt x="0" y="29631"/>
                    <a:pt x="0" y="66140"/>
                  </a:cubicBezTo>
                  <a:cubicBezTo>
                    <a:pt x="0" y="102649"/>
                    <a:pt x="29631" y="132280"/>
                    <a:pt x="66140" y="132280"/>
                  </a:cubicBezTo>
                  <a:cubicBezTo>
                    <a:pt x="102649" y="132280"/>
                    <a:pt x="132280" y="102649"/>
                    <a:pt x="132280" y="66140"/>
                  </a:cubicBezTo>
                  <a:cubicBezTo>
                    <a:pt x="132280" y="29631"/>
                    <a:pt x="102649" y="0"/>
                    <a:pt x="66140" y="0"/>
                  </a:cubicBezTo>
                  <a:close/>
                  <a:moveTo>
                    <a:pt x="66140" y="119581"/>
                  </a:moveTo>
                  <a:cubicBezTo>
                    <a:pt x="36509" y="119581"/>
                    <a:pt x="12699" y="95771"/>
                    <a:pt x="12699" y="66140"/>
                  </a:cubicBezTo>
                  <a:cubicBezTo>
                    <a:pt x="12699" y="36509"/>
                    <a:pt x="36509" y="12699"/>
                    <a:pt x="66140" y="12699"/>
                  </a:cubicBezTo>
                  <a:cubicBezTo>
                    <a:pt x="95771" y="12699"/>
                    <a:pt x="119581" y="36509"/>
                    <a:pt x="119581" y="66140"/>
                  </a:cubicBezTo>
                  <a:cubicBezTo>
                    <a:pt x="119581" y="95771"/>
                    <a:pt x="95771" y="119581"/>
                    <a:pt x="66140" y="119581"/>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2" name="Google Shape;114;p13">
              <a:extLst>
                <a:ext uri="{FF2B5EF4-FFF2-40B4-BE49-F238E27FC236}">
                  <a16:creationId xmlns:a16="http://schemas.microsoft.com/office/drawing/2014/main" id="{8ADE2114-BBD2-F207-F6D2-18BBD53694A8}"/>
                </a:ext>
              </a:extLst>
            </p:cNvPr>
            <p:cNvSpPr/>
            <p:nvPr/>
          </p:nvSpPr>
          <p:spPr>
            <a:xfrm>
              <a:off x="2658773" y="5764592"/>
              <a:ext cx="18403" cy="36807"/>
            </a:xfrm>
            <a:custGeom>
              <a:avLst/>
              <a:gdLst/>
              <a:ahLst/>
              <a:cxnLst/>
              <a:rect l="l" t="t" r="r" b="b"/>
              <a:pathLst>
                <a:path w="10582" h="21164" extrusionOk="0">
                  <a:moveTo>
                    <a:pt x="6349" y="21165"/>
                  </a:moveTo>
                  <a:cubicBezTo>
                    <a:pt x="10053" y="21165"/>
                    <a:pt x="12699" y="18519"/>
                    <a:pt x="12699" y="14815"/>
                  </a:cubicBezTo>
                  <a:lnTo>
                    <a:pt x="12699" y="6349"/>
                  </a:lnTo>
                  <a:cubicBezTo>
                    <a:pt x="12699" y="2646"/>
                    <a:pt x="10053" y="0"/>
                    <a:pt x="6349" y="0"/>
                  </a:cubicBezTo>
                  <a:cubicBezTo>
                    <a:pt x="2646" y="0"/>
                    <a:pt x="0" y="2646"/>
                    <a:pt x="0" y="6349"/>
                  </a:cubicBezTo>
                  <a:lnTo>
                    <a:pt x="0" y="14815"/>
                  </a:lnTo>
                  <a:cubicBezTo>
                    <a:pt x="0" y="18519"/>
                    <a:pt x="2646" y="21165"/>
                    <a:pt x="6349" y="21165"/>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3" name="Google Shape;115;p13">
              <a:extLst>
                <a:ext uri="{FF2B5EF4-FFF2-40B4-BE49-F238E27FC236}">
                  <a16:creationId xmlns:a16="http://schemas.microsoft.com/office/drawing/2014/main" id="{E74D8010-7818-B1D1-A471-6C30CF765E53}"/>
                </a:ext>
              </a:extLst>
            </p:cNvPr>
            <p:cNvSpPr/>
            <p:nvPr/>
          </p:nvSpPr>
          <p:spPr>
            <a:xfrm>
              <a:off x="2658773" y="5887894"/>
              <a:ext cx="18403" cy="36807"/>
            </a:xfrm>
            <a:custGeom>
              <a:avLst/>
              <a:gdLst/>
              <a:ahLst/>
              <a:cxnLst/>
              <a:rect l="l" t="t" r="r" b="b"/>
              <a:pathLst>
                <a:path w="10582" h="21164" extrusionOk="0">
                  <a:moveTo>
                    <a:pt x="6349" y="0"/>
                  </a:moveTo>
                  <a:cubicBezTo>
                    <a:pt x="2646" y="0"/>
                    <a:pt x="0" y="2646"/>
                    <a:pt x="0" y="6349"/>
                  </a:cubicBezTo>
                  <a:lnTo>
                    <a:pt x="0" y="14815"/>
                  </a:lnTo>
                  <a:cubicBezTo>
                    <a:pt x="0" y="18519"/>
                    <a:pt x="2646" y="21165"/>
                    <a:pt x="6349" y="21165"/>
                  </a:cubicBezTo>
                  <a:cubicBezTo>
                    <a:pt x="10053" y="21165"/>
                    <a:pt x="12699" y="18519"/>
                    <a:pt x="12699" y="14815"/>
                  </a:cubicBezTo>
                  <a:lnTo>
                    <a:pt x="12699" y="6349"/>
                  </a:lnTo>
                  <a:cubicBezTo>
                    <a:pt x="12699" y="3175"/>
                    <a:pt x="10053" y="0"/>
                    <a:pt x="6349" y="0"/>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4" name="Google Shape;116;p13">
              <a:extLst>
                <a:ext uri="{FF2B5EF4-FFF2-40B4-BE49-F238E27FC236}">
                  <a16:creationId xmlns:a16="http://schemas.microsoft.com/office/drawing/2014/main" id="{A30EBD0E-A5BE-00E0-08A0-FB3D4D1A0D5F}"/>
                </a:ext>
              </a:extLst>
            </p:cNvPr>
            <p:cNvSpPr/>
            <p:nvPr/>
          </p:nvSpPr>
          <p:spPr>
            <a:xfrm>
              <a:off x="2628407" y="5805079"/>
              <a:ext cx="82815" cy="82815"/>
            </a:xfrm>
            <a:custGeom>
              <a:avLst/>
              <a:gdLst/>
              <a:ahLst/>
              <a:cxnLst/>
              <a:rect l="l" t="t" r="r" b="b"/>
              <a:pathLst>
                <a:path w="47620" h="47620" extrusionOk="0">
                  <a:moveTo>
                    <a:pt x="32805" y="16932"/>
                  </a:moveTo>
                  <a:lnTo>
                    <a:pt x="23810" y="16932"/>
                  </a:lnTo>
                  <a:lnTo>
                    <a:pt x="15344" y="16932"/>
                  </a:lnTo>
                  <a:cubicBezTo>
                    <a:pt x="14286" y="16932"/>
                    <a:pt x="13228" y="15874"/>
                    <a:pt x="13228" y="14815"/>
                  </a:cubicBezTo>
                  <a:cubicBezTo>
                    <a:pt x="13228" y="13757"/>
                    <a:pt x="14286" y="12699"/>
                    <a:pt x="15344" y="12699"/>
                  </a:cubicBezTo>
                  <a:lnTo>
                    <a:pt x="41271" y="12699"/>
                  </a:lnTo>
                  <a:cubicBezTo>
                    <a:pt x="44975" y="12699"/>
                    <a:pt x="47621" y="10053"/>
                    <a:pt x="47621" y="6349"/>
                  </a:cubicBezTo>
                  <a:cubicBezTo>
                    <a:pt x="47621" y="2646"/>
                    <a:pt x="44975" y="0"/>
                    <a:pt x="41271" y="0"/>
                  </a:cubicBezTo>
                  <a:lnTo>
                    <a:pt x="15344" y="0"/>
                  </a:lnTo>
                  <a:cubicBezTo>
                    <a:pt x="6878" y="0"/>
                    <a:pt x="0" y="6878"/>
                    <a:pt x="0" y="15344"/>
                  </a:cubicBezTo>
                  <a:cubicBezTo>
                    <a:pt x="0" y="23810"/>
                    <a:pt x="6878" y="30689"/>
                    <a:pt x="15344" y="30689"/>
                  </a:cubicBezTo>
                  <a:lnTo>
                    <a:pt x="23810" y="30689"/>
                  </a:lnTo>
                  <a:lnTo>
                    <a:pt x="32805" y="30689"/>
                  </a:lnTo>
                  <a:cubicBezTo>
                    <a:pt x="33864" y="30689"/>
                    <a:pt x="34922" y="31747"/>
                    <a:pt x="34922" y="32805"/>
                  </a:cubicBezTo>
                  <a:cubicBezTo>
                    <a:pt x="34922" y="33863"/>
                    <a:pt x="33864" y="34922"/>
                    <a:pt x="32805" y="34922"/>
                  </a:cubicBezTo>
                  <a:lnTo>
                    <a:pt x="6349" y="34922"/>
                  </a:lnTo>
                  <a:cubicBezTo>
                    <a:pt x="2646" y="34922"/>
                    <a:pt x="0" y="37567"/>
                    <a:pt x="0" y="41271"/>
                  </a:cubicBezTo>
                  <a:cubicBezTo>
                    <a:pt x="0" y="44975"/>
                    <a:pt x="2646" y="47621"/>
                    <a:pt x="6349" y="47621"/>
                  </a:cubicBezTo>
                  <a:lnTo>
                    <a:pt x="32805" y="47621"/>
                  </a:lnTo>
                  <a:cubicBezTo>
                    <a:pt x="41271" y="47621"/>
                    <a:pt x="48150" y="40742"/>
                    <a:pt x="48150" y="32276"/>
                  </a:cubicBezTo>
                  <a:cubicBezTo>
                    <a:pt x="48150" y="23810"/>
                    <a:pt x="41271" y="16932"/>
                    <a:pt x="32805" y="16932"/>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5" name="Google Shape;117;p13">
              <a:extLst>
                <a:ext uri="{FF2B5EF4-FFF2-40B4-BE49-F238E27FC236}">
                  <a16:creationId xmlns:a16="http://schemas.microsoft.com/office/drawing/2014/main" id="{6984D675-D8BD-80B6-6BC5-DE4A026188E2}"/>
                </a:ext>
              </a:extLst>
            </p:cNvPr>
            <p:cNvSpPr/>
            <p:nvPr/>
          </p:nvSpPr>
          <p:spPr>
            <a:xfrm>
              <a:off x="2392847" y="5564917"/>
              <a:ext cx="230041" cy="18403"/>
            </a:xfrm>
            <a:custGeom>
              <a:avLst/>
              <a:gdLst/>
              <a:ahLst/>
              <a:cxnLst/>
              <a:rect l="l" t="t" r="r" b="b"/>
              <a:pathLst>
                <a:path w="132279" h="10582" extrusionOk="0">
                  <a:moveTo>
                    <a:pt x="129105" y="0"/>
                  </a:moveTo>
                  <a:lnTo>
                    <a:pt x="6349" y="0"/>
                  </a:lnTo>
                  <a:cubicBezTo>
                    <a:pt x="2646" y="0"/>
                    <a:pt x="0" y="2646"/>
                    <a:pt x="0" y="6349"/>
                  </a:cubicBezTo>
                  <a:cubicBezTo>
                    <a:pt x="0" y="10053"/>
                    <a:pt x="2646" y="12699"/>
                    <a:pt x="6349" y="12699"/>
                  </a:cubicBezTo>
                  <a:lnTo>
                    <a:pt x="129105" y="12699"/>
                  </a:lnTo>
                  <a:cubicBezTo>
                    <a:pt x="132809" y="12699"/>
                    <a:pt x="135455" y="10053"/>
                    <a:pt x="135455" y="6349"/>
                  </a:cubicBezTo>
                  <a:cubicBezTo>
                    <a:pt x="135455" y="2646"/>
                    <a:pt x="132809" y="0"/>
                    <a:pt x="129105" y="0"/>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6" name="Google Shape;118;p13">
              <a:extLst>
                <a:ext uri="{FF2B5EF4-FFF2-40B4-BE49-F238E27FC236}">
                  <a16:creationId xmlns:a16="http://schemas.microsoft.com/office/drawing/2014/main" id="{47C27627-0608-0929-2F86-DF514AFD98A7}"/>
                </a:ext>
              </a:extLst>
            </p:cNvPr>
            <p:cNvSpPr/>
            <p:nvPr/>
          </p:nvSpPr>
          <p:spPr>
            <a:xfrm>
              <a:off x="2392847" y="5644971"/>
              <a:ext cx="230041" cy="18403"/>
            </a:xfrm>
            <a:custGeom>
              <a:avLst/>
              <a:gdLst/>
              <a:ahLst/>
              <a:cxnLst/>
              <a:rect l="l" t="t" r="r" b="b"/>
              <a:pathLst>
                <a:path w="132279" h="10582" extrusionOk="0">
                  <a:moveTo>
                    <a:pt x="135455" y="6349"/>
                  </a:moveTo>
                  <a:cubicBezTo>
                    <a:pt x="135455" y="2646"/>
                    <a:pt x="132809" y="0"/>
                    <a:pt x="129105" y="0"/>
                  </a:cubicBezTo>
                  <a:lnTo>
                    <a:pt x="6349" y="0"/>
                  </a:lnTo>
                  <a:cubicBezTo>
                    <a:pt x="2646" y="0"/>
                    <a:pt x="0" y="2646"/>
                    <a:pt x="0" y="6349"/>
                  </a:cubicBezTo>
                  <a:cubicBezTo>
                    <a:pt x="0" y="10053"/>
                    <a:pt x="2646" y="12699"/>
                    <a:pt x="6349" y="12699"/>
                  </a:cubicBezTo>
                  <a:lnTo>
                    <a:pt x="129105" y="12699"/>
                  </a:lnTo>
                  <a:cubicBezTo>
                    <a:pt x="132809" y="12699"/>
                    <a:pt x="135455" y="9524"/>
                    <a:pt x="135455" y="6349"/>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7" name="Google Shape;119;p13">
              <a:extLst>
                <a:ext uri="{FF2B5EF4-FFF2-40B4-BE49-F238E27FC236}">
                  <a16:creationId xmlns:a16="http://schemas.microsoft.com/office/drawing/2014/main" id="{7BC9CB98-2AAC-483B-6C7A-601386C5FF91}"/>
                </a:ext>
              </a:extLst>
            </p:cNvPr>
            <p:cNvSpPr/>
            <p:nvPr/>
          </p:nvSpPr>
          <p:spPr>
            <a:xfrm>
              <a:off x="2393767" y="5724106"/>
              <a:ext cx="193234" cy="18403"/>
            </a:xfrm>
            <a:custGeom>
              <a:avLst/>
              <a:gdLst/>
              <a:ahLst/>
              <a:cxnLst/>
              <a:rect l="l" t="t" r="r" b="b"/>
              <a:pathLst>
                <a:path w="111114" h="10582" extrusionOk="0">
                  <a:moveTo>
                    <a:pt x="112702" y="6349"/>
                  </a:moveTo>
                  <a:cubicBezTo>
                    <a:pt x="112702" y="2646"/>
                    <a:pt x="110057" y="0"/>
                    <a:pt x="106353" y="0"/>
                  </a:cubicBezTo>
                  <a:lnTo>
                    <a:pt x="6349" y="0"/>
                  </a:lnTo>
                  <a:cubicBezTo>
                    <a:pt x="2646" y="0"/>
                    <a:pt x="0" y="2646"/>
                    <a:pt x="0" y="6349"/>
                  </a:cubicBezTo>
                  <a:cubicBezTo>
                    <a:pt x="0" y="10053"/>
                    <a:pt x="2646" y="12699"/>
                    <a:pt x="6349" y="12699"/>
                  </a:cubicBezTo>
                  <a:lnTo>
                    <a:pt x="106353" y="12699"/>
                  </a:lnTo>
                  <a:cubicBezTo>
                    <a:pt x="109528" y="12699"/>
                    <a:pt x="112702" y="10053"/>
                    <a:pt x="112702" y="6349"/>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8" name="Google Shape;120;p13">
              <a:extLst>
                <a:ext uri="{FF2B5EF4-FFF2-40B4-BE49-F238E27FC236}">
                  <a16:creationId xmlns:a16="http://schemas.microsoft.com/office/drawing/2014/main" id="{470468BE-0E91-80EE-FEBB-84D8764C48E6}"/>
                </a:ext>
              </a:extLst>
            </p:cNvPr>
            <p:cNvSpPr/>
            <p:nvPr/>
          </p:nvSpPr>
          <p:spPr>
            <a:xfrm>
              <a:off x="2392847" y="5804159"/>
              <a:ext cx="138024" cy="18403"/>
            </a:xfrm>
            <a:custGeom>
              <a:avLst/>
              <a:gdLst/>
              <a:ahLst/>
              <a:cxnLst/>
              <a:rect l="l" t="t" r="r" b="b"/>
              <a:pathLst>
                <a:path w="79367" h="10582" extrusionOk="0">
                  <a:moveTo>
                    <a:pt x="6349" y="12699"/>
                  </a:moveTo>
                  <a:lnTo>
                    <a:pt x="75135" y="12699"/>
                  </a:lnTo>
                  <a:cubicBezTo>
                    <a:pt x="78839" y="12699"/>
                    <a:pt x="81484" y="10053"/>
                    <a:pt x="81484" y="6349"/>
                  </a:cubicBezTo>
                  <a:cubicBezTo>
                    <a:pt x="81484" y="2646"/>
                    <a:pt x="78839" y="0"/>
                    <a:pt x="75135" y="0"/>
                  </a:cubicBezTo>
                  <a:lnTo>
                    <a:pt x="6349" y="0"/>
                  </a:lnTo>
                  <a:cubicBezTo>
                    <a:pt x="2646" y="0"/>
                    <a:pt x="0" y="2646"/>
                    <a:pt x="0" y="6349"/>
                  </a:cubicBezTo>
                  <a:cubicBezTo>
                    <a:pt x="0" y="10053"/>
                    <a:pt x="3175" y="12699"/>
                    <a:pt x="6349" y="12699"/>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9" name="Google Shape;121;p13">
              <a:extLst>
                <a:ext uri="{FF2B5EF4-FFF2-40B4-BE49-F238E27FC236}">
                  <a16:creationId xmlns:a16="http://schemas.microsoft.com/office/drawing/2014/main" id="{154E76F0-B1E6-F567-A30C-224D5981592E}"/>
                </a:ext>
              </a:extLst>
            </p:cNvPr>
            <p:cNvSpPr/>
            <p:nvPr/>
          </p:nvSpPr>
          <p:spPr>
            <a:xfrm>
              <a:off x="2392847" y="5884212"/>
              <a:ext cx="147226" cy="18403"/>
            </a:xfrm>
            <a:custGeom>
              <a:avLst/>
              <a:gdLst/>
              <a:ahLst/>
              <a:cxnLst/>
              <a:rect l="l" t="t" r="r" b="b"/>
              <a:pathLst>
                <a:path w="84659" h="10582" extrusionOk="0">
                  <a:moveTo>
                    <a:pt x="6349" y="12699"/>
                  </a:moveTo>
                  <a:lnTo>
                    <a:pt x="80426" y="12699"/>
                  </a:lnTo>
                  <a:cubicBezTo>
                    <a:pt x="84130" y="12699"/>
                    <a:pt x="86775" y="10053"/>
                    <a:pt x="86775" y="6349"/>
                  </a:cubicBezTo>
                  <a:cubicBezTo>
                    <a:pt x="86775" y="2646"/>
                    <a:pt x="84130" y="0"/>
                    <a:pt x="80426" y="0"/>
                  </a:cubicBezTo>
                  <a:lnTo>
                    <a:pt x="6349" y="0"/>
                  </a:lnTo>
                  <a:cubicBezTo>
                    <a:pt x="2646" y="0"/>
                    <a:pt x="0" y="2646"/>
                    <a:pt x="0" y="6349"/>
                  </a:cubicBezTo>
                  <a:cubicBezTo>
                    <a:pt x="0" y="10053"/>
                    <a:pt x="3175" y="12699"/>
                    <a:pt x="6349" y="12699"/>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grpSp>
      <p:grpSp>
        <p:nvGrpSpPr>
          <p:cNvPr id="21" name="Group 20">
            <a:extLst>
              <a:ext uri="{FF2B5EF4-FFF2-40B4-BE49-F238E27FC236}">
                <a16:creationId xmlns:a16="http://schemas.microsoft.com/office/drawing/2014/main" id="{9206FC18-3CE0-B3B6-460F-07717B9D6B3F}"/>
              </a:ext>
            </a:extLst>
          </p:cNvPr>
          <p:cNvGrpSpPr/>
          <p:nvPr/>
        </p:nvGrpSpPr>
        <p:grpSpPr>
          <a:xfrm>
            <a:off x="4937509" y="1481506"/>
            <a:ext cx="916805" cy="1251361"/>
            <a:chOff x="3175907" y="1592263"/>
            <a:chExt cx="916805" cy="1251361"/>
          </a:xfrm>
        </p:grpSpPr>
        <p:grpSp>
          <p:nvGrpSpPr>
            <p:cNvPr id="3" name="Google Shape;1747;p25">
              <a:extLst>
                <a:ext uri="{FF2B5EF4-FFF2-40B4-BE49-F238E27FC236}">
                  <a16:creationId xmlns:a16="http://schemas.microsoft.com/office/drawing/2014/main" id="{FEC88072-9256-6C03-4295-5427593B1F81}"/>
                </a:ext>
              </a:extLst>
            </p:cNvPr>
            <p:cNvGrpSpPr/>
            <p:nvPr/>
          </p:nvGrpSpPr>
          <p:grpSpPr>
            <a:xfrm>
              <a:off x="3175907" y="1592263"/>
              <a:ext cx="916805" cy="882029"/>
              <a:chOff x="1902323" y="5487089"/>
              <a:chExt cx="274586" cy="274586"/>
            </a:xfrm>
          </p:grpSpPr>
          <p:sp>
            <p:nvSpPr>
              <p:cNvPr id="5" name="Google Shape;1748;p25">
                <a:extLst>
                  <a:ext uri="{FF2B5EF4-FFF2-40B4-BE49-F238E27FC236}">
                    <a16:creationId xmlns:a16="http://schemas.microsoft.com/office/drawing/2014/main" id="{D26BBAE0-C0E7-CD61-BDAE-093DC4268E09}"/>
                  </a:ext>
                </a:extLst>
              </p:cNvPr>
              <p:cNvSpPr/>
              <p:nvPr/>
            </p:nvSpPr>
            <p:spPr>
              <a:xfrm>
                <a:off x="1902323" y="5487089"/>
                <a:ext cx="274586" cy="274586"/>
              </a:xfrm>
              <a:custGeom>
                <a:avLst/>
                <a:gdLst/>
                <a:ahLst/>
                <a:cxnLst/>
                <a:rect l="l" t="t" r="r" b="b"/>
                <a:pathLst>
                  <a:path w="424" h="424" extrusionOk="0">
                    <a:moveTo>
                      <a:pt x="211" y="0"/>
                    </a:moveTo>
                    <a:lnTo>
                      <a:pt x="211" y="0"/>
                    </a:lnTo>
                    <a:cubicBezTo>
                      <a:pt x="95" y="0"/>
                      <a:pt x="0" y="95"/>
                      <a:pt x="0" y="211"/>
                    </a:cubicBezTo>
                    <a:cubicBezTo>
                      <a:pt x="0" y="328"/>
                      <a:pt x="95" y="423"/>
                      <a:pt x="211" y="423"/>
                    </a:cubicBezTo>
                    <a:cubicBezTo>
                      <a:pt x="328" y="423"/>
                      <a:pt x="423" y="328"/>
                      <a:pt x="423" y="211"/>
                    </a:cubicBezTo>
                    <a:cubicBezTo>
                      <a:pt x="423" y="95"/>
                      <a:pt x="328" y="0"/>
                      <a:pt x="211" y="0"/>
                    </a:cubicBezTo>
                    <a:close/>
                    <a:moveTo>
                      <a:pt x="211" y="407"/>
                    </a:moveTo>
                    <a:lnTo>
                      <a:pt x="211" y="407"/>
                    </a:lnTo>
                    <a:cubicBezTo>
                      <a:pt x="106" y="407"/>
                      <a:pt x="18" y="320"/>
                      <a:pt x="18" y="211"/>
                    </a:cubicBezTo>
                    <a:cubicBezTo>
                      <a:pt x="18" y="106"/>
                      <a:pt x="106" y="16"/>
                      <a:pt x="211" y="16"/>
                    </a:cubicBezTo>
                    <a:cubicBezTo>
                      <a:pt x="320" y="16"/>
                      <a:pt x="407" y="106"/>
                      <a:pt x="407" y="211"/>
                    </a:cubicBezTo>
                    <a:cubicBezTo>
                      <a:pt x="407" y="320"/>
                      <a:pt x="320" y="407"/>
                      <a:pt x="211" y="407"/>
                    </a:cubicBez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sp>
            <p:nvSpPr>
              <p:cNvPr id="6" name="Google Shape;1749;p25">
                <a:extLst>
                  <a:ext uri="{FF2B5EF4-FFF2-40B4-BE49-F238E27FC236}">
                    <a16:creationId xmlns:a16="http://schemas.microsoft.com/office/drawing/2014/main" id="{A3500D77-0B27-273B-B32D-31EF2EA4A980}"/>
                  </a:ext>
                </a:extLst>
              </p:cNvPr>
              <p:cNvSpPr/>
              <p:nvPr/>
            </p:nvSpPr>
            <p:spPr>
              <a:xfrm>
                <a:off x="1968108" y="5621521"/>
                <a:ext cx="145875" cy="100110"/>
              </a:xfrm>
              <a:custGeom>
                <a:avLst/>
                <a:gdLst/>
                <a:ahLst/>
                <a:cxnLst/>
                <a:rect l="l" t="t" r="r" b="b"/>
                <a:pathLst>
                  <a:path w="224" h="154" extrusionOk="0">
                    <a:moveTo>
                      <a:pt x="133" y="0"/>
                    </a:moveTo>
                    <a:lnTo>
                      <a:pt x="133" y="0"/>
                    </a:lnTo>
                    <a:cubicBezTo>
                      <a:pt x="90" y="0"/>
                      <a:pt x="90" y="0"/>
                      <a:pt x="90" y="0"/>
                    </a:cubicBezTo>
                    <a:cubicBezTo>
                      <a:pt x="43" y="0"/>
                      <a:pt x="0" y="66"/>
                      <a:pt x="0" y="145"/>
                    </a:cubicBezTo>
                    <a:cubicBezTo>
                      <a:pt x="0" y="151"/>
                      <a:pt x="6" y="153"/>
                      <a:pt x="11" y="153"/>
                    </a:cubicBezTo>
                    <a:cubicBezTo>
                      <a:pt x="16" y="153"/>
                      <a:pt x="19" y="151"/>
                      <a:pt x="19" y="145"/>
                    </a:cubicBezTo>
                    <a:cubicBezTo>
                      <a:pt x="19" y="77"/>
                      <a:pt x="51" y="18"/>
                      <a:pt x="90" y="18"/>
                    </a:cubicBezTo>
                    <a:cubicBezTo>
                      <a:pt x="133" y="18"/>
                      <a:pt x="133" y="18"/>
                      <a:pt x="133" y="18"/>
                    </a:cubicBezTo>
                    <a:cubicBezTo>
                      <a:pt x="172" y="18"/>
                      <a:pt x="204" y="77"/>
                      <a:pt x="204" y="145"/>
                    </a:cubicBezTo>
                    <a:cubicBezTo>
                      <a:pt x="204" y="151"/>
                      <a:pt x="209" y="153"/>
                      <a:pt x="215" y="153"/>
                    </a:cubicBezTo>
                    <a:cubicBezTo>
                      <a:pt x="217" y="153"/>
                      <a:pt x="223" y="151"/>
                      <a:pt x="223" y="145"/>
                    </a:cubicBezTo>
                    <a:cubicBezTo>
                      <a:pt x="223" y="66"/>
                      <a:pt x="183" y="0"/>
                      <a:pt x="133" y="0"/>
                    </a:cubicBezTo>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sp>
            <p:nvSpPr>
              <p:cNvPr id="7" name="Google Shape;1750;p25">
                <a:extLst>
                  <a:ext uri="{FF2B5EF4-FFF2-40B4-BE49-F238E27FC236}">
                    <a16:creationId xmlns:a16="http://schemas.microsoft.com/office/drawing/2014/main" id="{B42772E7-23F5-8432-5985-8DFB130F1CBC}"/>
                  </a:ext>
                </a:extLst>
              </p:cNvPr>
              <p:cNvSpPr/>
              <p:nvPr/>
            </p:nvSpPr>
            <p:spPr>
              <a:xfrm>
                <a:off x="1999572" y="5527133"/>
                <a:ext cx="85808" cy="94388"/>
              </a:xfrm>
              <a:custGeom>
                <a:avLst/>
                <a:gdLst/>
                <a:ahLst/>
                <a:cxnLst/>
                <a:rect l="l" t="t" r="r" b="b"/>
                <a:pathLst>
                  <a:path w="131" h="146" extrusionOk="0">
                    <a:moveTo>
                      <a:pt x="63" y="145"/>
                    </a:moveTo>
                    <a:lnTo>
                      <a:pt x="63" y="145"/>
                    </a:lnTo>
                    <a:cubicBezTo>
                      <a:pt x="100" y="145"/>
                      <a:pt x="130" y="116"/>
                      <a:pt x="130" y="79"/>
                    </a:cubicBezTo>
                    <a:cubicBezTo>
                      <a:pt x="130" y="63"/>
                      <a:pt x="130" y="63"/>
                      <a:pt x="130" y="63"/>
                    </a:cubicBezTo>
                    <a:cubicBezTo>
                      <a:pt x="130" y="29"/>
                      <a:pt x="100" y="0"/>
                      <a:pt x="63" y="0"/>
                    </a:cubicBezTo>
                    <a:cubicBezTo>
                      <a:pt x="29" y="0"/>
                      <a:pt x="0" y="29"/>
                      <a:pt x="0" y="63"/>
                    </a:cubicBezTo>
                    <a:cubicBezTo>
                      <a:pt x="0" y="79"/>
                      <a:pt x="0" y="79"/>
                      <a:pt x="0" y="79"/>
                    </a:cubicBezTo>
                    <a:cubicBezTo>
                      <a:pt x="0" y="116"/>
                      <a:pt x="29" y="145"/>
                      <a:pt x="63" y="145"/>
                    </a:cubicBezTo>
                    <a:close/>
                    <a:moveTo>
                      <a:pt x="16" y="63"/>
                    </a:moveTo>
                    <a:lnTo>
                      <a:pt x="16" y="63"/>
                    </a:lnTo>
                    <a:cubicBezTo>
                      <a:pt x="16" y="37"/>
                      <a:pt x="37" y="15"/>
                      <a:pt x="63" y="15"/>
                    </a:cubicBezTo>
                    <a:cubicBezTo>
                      <a:pt x="90" y="15"/>
                      <a:pt x="111" y="37"/>
                      <a:pt x="111" y="63"/>
                    </a:cubicBezTo>
                    <a:cubicBezTo>
                      <a:pt x="111" y="79"/>
                      <a:pt x="111" y="79"/>
                      <a:pt x="111" y="79"/>
                    </a:cubicBezTo>
                    <a:cubicBezTo>
                      <a:pt x="111" y="105"/>
                      <a:pt x="90" y="127"/>
                      <a:pt x="63" y="127"/>
                    </a:cubicBezTo>
                    <a:cubicBezTo>
                      <a:pt x="37" y="127"/>
                      <a:pt x="16" y="105"/>
                      <a:pt x="16" y="79"/>
                    </a:cubicBezTo>
                    <a:lnTo>
                      <a:pt x="16" y="63"/>
                    </a:lnTo>
                    <a:close/>
                  </a:path>
                </a:pathLst>
              </a:custGeom>
              <a:solidFill>
                <a:srgbClr val="00000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grpSp>
        <p:sp>
          <p:nvSpPr>
            <p:cNvPr id="20" name="TextBox 19">
              <a:extLst>
                <a:ext uri="{FF2B5EF4-FFF2-40B4-BE49-F238E27FC236}">
                  <a16:creationId xmlns:a16="http://schemas.microsoft.com/office/drawing/2014/main" id="{E81E32F4-DE1B-7C3B-55F9-B7A10B5048A1}"/>
                </a:ext>
              </a:extLst>
            </p:cNvPr>
            <p:cNvSpPr txBox="1"/>
            <p:nvPr/>
          </p:nvSpPr>
          <p:spPr>
            <a:xfrm>
              <a:off x="3232376" y="2474292"/>
              <a:ext cx="800219" cy="369332"/>
            </a:xfrm>
            <a:prstGeom prst="rect">
              <a:avLst/>
            </a:prstGeom>
            <a:noFill/>
          </p:spPr>
          <p:txBody>
            <a:bodyPr wrap="none" rtlCol="0">
              <a:spAutoFit/>
            </a:bodyPr>
            <a:lstStyle/>
            <a:p>
              <a:r>
                <a:rPr lang="en-GB" dirty="0"/>
                <a:t>HNWI</a:t>
              </a:r>
            </a:p>
          </p:txBody>
        </p:sp>
      </p:grpSp>
      <p:sp>
        <p:nvSpPr>
          <p:cNvPr id="22" name="Arrow: Striped Right 21">
            <a:extLst>
              <a:ext uri="{FF2B5EF4-FFF2-40B4-BE49-F238E27FC236}">
                <a16:creationId xmlns:a16="http://schemas.microsoft.com/office/drawing/2014/main" id="{DD1E105F-F050-E910-C160-39C840C95686}"/>
              </a:ext>
            </a:extLst>
          </p:cNvPr>
          <p:cNvSpPr/>
          <p:nvPr/>
        </p:nvSpPr>
        <p:spPr>
          <a:xfrm>
            <a:off x="6096000" y="1600706"/>
            <a:ext cx="978408" cy="484632"/>
          </a:xfrm>
          <a:prstGeom prst="stripedRightArrow">
            <a:avLst/>
          </a:prstGeom>
          <a:solidFill>
            <a:srgbClr val="4696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solidFill>
                <a:sysClr val="windowText" lastClr="000000"/>
              </a:solidFill>
            </a:endParaRPr>
          </a:p>
        </p:txBody>
      </p:sp>
      <p:sp>
        <p:nvSpPr>
          <p:cNvPr id="23" name="Rectangle 22">
            <a:extLst>
              <a:ext uri="{FF2B5EF4-FFF2-40B4-BE49-F238E27FC236}">
                <a16:creationId xmlns:a16="http://schemas.microsoft.com/office/drawing/2014/main" id="{55C89BE8-5F3E-D2D3-3D15-F1CFAEC0A5D1}"/>
              </a:ext>
            </a:extLst>
          </p:cNvPr>
          <p:cNvSpPr/>
          <p:nvPr/>
        </p:nvSpPr>
        <p:spPr>
          <a:xfrm>
            <a:off x="3402989" y="3191533"/>
            <a:ext cx="1115310" cy="680190"/>
          </a:xfrm>
          <a:prstGeom prst="rect">
            <a:avLst/>
          </a:prstGeom>
          <a:solidFill>
            <a:srgbClr val="4696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ysClr val="windowText" lastClr="000000"/>
                </a:solidFill>
              </a:rPr>
              <a:t>Company</a:t>
            </a:r>
          </a:p>
        </p:txBody>
      </p:sp>
      <p:cxnSp>
        <p:nvCxnSpPr>
          <p:cNvPr id="25" name="Connector: Elbow 24">
            <a:extLst>
              <a:ext uri="{FF2B5EF4-FFF2-40B4-BE49-F238E27FC236}">
                <a16:creationId xmlns:a16="http://schemas.microsoft.com/office/drawing/2014/main" id="{0255B7CD-2898-77EB-4ECF-3451FE9D2D9E}"/>
              </a:ext>
            </a:extLst>
          </p:cNvPr>
          <p:cNvCxnSpPr>
            <a:cxnSpLocks/>
          </p:cNvCxnSpPr>
          <p:nvPr/>
        </p:nvCxnSpPr>
        <p:spPr>
          <a:xfrm rot="10800000" flipV="1">
            <a:off x="1535997" y="1913329"/>
            <a:ext cx="3401513" cy="1107725"/>
          </a:xfrm>
          <a:prstGeom prst="bentConnector3">
            <a:avLst>
              <a:gd name="adj1" fmla="val 9992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12BE761B-927E-226F-6262-3A76D6CD3FBE}"/>
              </a:ext>
            </a:extLst>
          </p:cNvPr>
          <p:cNvCxnSpPr/>
          <p:nvPr/>
        </p:nvCxnSpPr>
        <p:spPr>
          <a:xfrm rot="10800000" flipV="1">
            <a:off x="2579689" y="1913329"/>
            <a:ext cx="2357821" cy="1107726"/>
          </a:xfrm>
          <a:prstGeom prst="bentConnector3">
            <a:avLst>
              <a:gd name="adj1" fmla="val 99862"/>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96F00182-E30C-3F29-B243-165663CB4F7E}"/>
              </a:ext>
            </a:extLst>
          </p:cNvPr>
          <p:cNvSpPr txBox="1"/>
          <p:nvPr/>
        </p:nvSpPr>
        <p:spPr>
          <a:xfrm>
            <a:off x="1133022" y="4003571"/>
            <a:ext cx="941283" cy="646331"/>
          </a:xfrm>
          <a:prstGeom prst="rect">
            <a:avLst/>
          </a:prstGeom>
          <a:noFill/>
        </p:spPr>
        <p:txBody>
          <a:bodyPr wrap="none" rtlCol="0">
            <a:spAutoFit/>
          </a:bodyPr>
          <a:lstStyle/>
          <a:p>
            <a:pPr algn="ctr"/>
            <a:r>
              <a:rPr lang="en-GB" dirty="0"/>
              <a:t>Rental</a:t>
            </a:r>
          </a:p>
          <a:p>
            <a:pPr algn="ctr"/>
            <a:r>
              <a:rPr lang="en-GB" dirty="0"/>
              <a:t>Income</a:t>
            </a:r>
          </a:p>
        </p:txBody>
      </p:sp>
      <p:sp>
        <p:nvSpPr>
          <p:cNvPr id="37" name="TextBox 36">
            <a:extLst>
              <a:ext uri="{FF2B5EF4-FFF2-40B4-BE49-F238E27FC236}">
                <a16:creationId xmlns:a16="http://schemas.microsoft.com/office/drawing/2014/main" id="{26F04D4D-7773-DD52-0354-C439E6A4B701}"/>
              </a:ext>
            </a:extLst>
          </p:cNvPr>
          <p:cNvSpPr txBox="1"/>
          <p:nvPr/>
        </p:nvSpPr>
        <p:spPr>
          <a:xfrm>
            <a:off x="2074895" y="4042203"/>
            <a:ext cx="1197764" cy="923330"/>
          </a:xfrm>
          <a:prstGeom prst="rect">
            <a:avLst/>
          </a:prstGeom>
          <a:noFill/>
        </p:spPr>
        <p:txBody>
          <a:bodyPr wrap="none" rtlCol="0">
            <a:spAutoFit/>
          </a:bodyPr>
          <a:lstStyle/>
          <a:p>
            <a:pPr algn="ctr"/>
            <a:r>
              <a:rPr lang="en-GB" dirty="0"/>
              <a:t>Portfolio</a:t>
            </a:r>
          </a:p>
          <a:p>
            <a:pPr algn="ctr"/>
            <a:r>
              <a:rPr lang="en-GB" dirty="0"/>
              <a:t>Dividends</a:t>
            </a:r>
          </a:p>
          <a:p>
            <a:pPr algn="ctr"/>
            <a:r>
              <a:rPr lang="en-GB" dirty="0"/>
              <a:t>Interest</a:t>
            </a:r>
          </a:p>
        </p:txBody>
      </p:sp>
      <p:sp>
        <p:nvSpPr>
          <p:cNvPr id="38" name="TextBox 37">
            <a:extLst>
              <a:ext uri="{FF2B5EF4-FFF2-40B4-BE49-F238E27FC236}">
                <a16:creationId xmlns:a16="http://schemas.microsoft.com/office/drawing/2014/main" id="{53D5D2B7-A248-FD3B-F58D-FF00C3A7291A}"/>
              </a:ext>
            </a:extLst>
          </p:cNvPr>
          <p:cNvSpPr txBox="1"/>
          <p:nvPr/>
        </p:nvSpPr>
        <p:spPr>
          <a:xfrm>
            <a:off x="3159015" y="4015827"/>
            <a:ext cx="1774846" cy="646331"/>
          </a:xfrm>
          <a:prstGeom prst="rect">
            <a:avLst/>
          </a:prstGeom>
          <a:noFill/>
        </p:spPr>
        <p:txBody>
          <a:bodyPr wrap="none" rtlCol="0">
            <a:spAutoFit/>
          </a:bodyPr>
          <a:lstStyle/>
          <a:p>
            <a:pPr algn="ctr"/>
            <a:r>
              <a:rPr lang="en-GB" dirty="0"/>
              <a:t>Gains qualified </a:t>
            </a:r>
          </a:p>
          <a:p>
            <a:pPr algn="ctr"/>
            <a:r>
              <a:rPr lang="en-GB" dirty="0"/>
              <a:t>participation</a:t>
            </a:r>
          </a:p>
        </p:txBody>
      </p:sp>
      <p:sp>
        <p:nvSpPr>
          <p:cNvPr id="39" name="TextBox 38">
            <a:extLst>
              <a:ext uri="{FF2B5EF4-FFF2-40B4-BE49-F238E27FC236}">
                <a16:creationId xmlns:a16="http://schemas.microsoft.com/office/drawing/2014/main" id="{CF4932A0-2B21-DE97-61AE-31F566423EF4}"/>
              </a:ext>
            </a:extLst>
          </p:cNvPr>
          <p:cNvSpPr txBox="1"/>
          <p:nvPr/>
        </p:nvSpPr>
        <p:spPr>
          <a:xfrm>
            <a:off x="7254492" y="1573185"/>
            <a:ext cx="2587183" cy="1323439"/>
          </a:xfrm>
          <a:prstGeom prst="rect">
            <a:avLst/>
          </a:prstGeom>
          <a:noFill/>
        </p:spPr>
        <p:txBody>
          <a:bodyPr wrap="none" rtlCol="0">
            <a:spAutoFit/>
          </a:bodyPr>
          <a:lstStyle/>
          <a:p>
            <a:r>
              <a:rPr lang="en-GB" sz="2000" dirty="0">
                <a:effectLst/>
                <a:latin typeface="Calibri" panose="020F0502020204030204" pitchFamily="34" charset="0"/>
                <a:ea typeface="Calibri" panose="020F0502020204030204" pitchFamily="34" charset="0"/>
                <a:cs typeface="Times New Roman" panose="02020603050405020304" pitchFamily="18" charset="0"/>
              </a:rPr>
              <a:t>Tax preferential regime</a:t>
            </a:r>
          </a:p>
          <a:p>
            <a:pPr marL="285750" indent="-285750">
              <a:buFontTx/>
              <a:buChar char="-"/>
            </a:pPr>
            <a:r>
              <a:rPr lang="en-GB" sz="2000" dirty="0">
                <a:latin typeface="Calibri" panose="020F0502020204030204" pitchFamily="34" charset="0"/>
                <a:cs typeface="Times New Roman" panose="02020603050405020304" pitchFamily="18" charset="0"/>
              </a:rPr>
              <a:t>Spain</a:t>
            </a:r>
          </a:p>
          <a:p>
            <a:pPr marL="285750" indent="-285750">
              <a:buFontTx/>
              <a:buChar char="-"/>
            </a:pPr>
            <a:r>
              <a:rPr lang="en-GB" sz="2000" dirty="0">
                <a:latin typeface="Calibri" panose="020F0502020204030204" pitchFamily="34" charset="0"/>
                <a:cs typeface="Times New Roman" panose="02020603050405020304" pitchFamily="18" charset="0"/>
              </a:rPr>
              <a:t>Portugal</a:t>
            </a:r>
          </a:p>
          <a:p>
            <a:pPr marL="285750" indent="-285750">
              <a:buFontTx/>
              <a:buChar char="-"/>
            </a:pPr>
            <a:r>
              <a:rPr lang="en-GB" sz="2000" dirty="0">
                <a:latin typeface="Calibri" panose="020F0502020204030204" pitchFamily="34" charset="0"/>
                <a:cs typeface="Times New Roman" panose="02020603050405020304" pitchFamily="18" charset="0"/>
              </a:rPr>
              <a:t>Switzerland</a:t>
            </a:r>
          </a:p>
        </p:txBody>
      </p:sp>
      <p:cxnSp>
        <p:nvCxnSpPr>
          <p:cNvPr id="43" name="Straight Arrow Connector 42">
            <a:extLst>
              <a:ext uri="{FF2B5EF4-FFF2-40B4-BE49-F238E27FC236}">
                <a16:creationId xmlns:a16="http://schemas.microsoft.com/office/drawing/2014/main" id="{D8B995FC-A98A-42C7-DBAB-3A1681633225}"/>
              </a:ext>
            </a:extLst>
          </p:cNvPr>
          <p:cNvCxnSpPr/>
          <p:nvPr/>
        </p:nvCxnSpPr>
        <p:spPr>
          <a:xfrm>
            <a:off x="3886200" y="1922520"/>
            <a:ext cx="0" cy="1098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3AE3A09-E599-31D2-38A8-4995624E19D3}"/>
              </a:ext>
            </a:extLst>
          </p:cNvPr>
          <p:cNvSpPr txBox="1"/>
          <p:nvPr/>
        </p:nvSpPr>
        <p:spPr>
          <a:xfrm>
            <a:off x="6085159" y="3602613"/>
            <a:ext cx="4973819" cy="923330"/>
          </a:xfrm>
          <a:prstGeom prst="rect">
            <a:avLst/>
          </a:prstGeom>
          <a:noFill/>
        </p:spPr>
        <p:txBody>
          <a:bodyPr wrap="square" rtlCol="0">
            <a:spAutoFit/>
          </a:bodyPr>
          <a:lstStyle/>
          <a:p>
            <a:r>
              <a:rPr lang="en-GB" b="1" dirty="0"/>
              <a:t>Will tax treaty benefits be important?</a:t>
            </a:r>
          </a:p>
          <a:p>
            <a:endParaRPr lang="en-GB" b="1" dirty="0"/>
          </a:p>
          <a:p>
            <a:r>
              <a:rPr lang="en-GB" b="1" dirty="0"/>
              <a:t>Will the HNWI secure tax treaty benefits?</a:t>
            </a:r>
          </a:p>
        </p:txBody>
      </p:sp>
      <p:sp>
        <p:nvSpPr>
          <p:cNvPr id="45" name="Untertitel 12">
            <a:extLst>
              <a:ext uri="{FF2B5EF4-FFF2-40B4-BE49-F238E27FC236}">
                <a16:creationId xmlns:a16="http://schemas.microsoft.com/office/drawing/2014/main" id="{9B889B96-85BF-6578-6490-5FD2390B76CF}"/>
              </a:ext>
            </a:extLst>
          </p:cNvPr>
          <p:cNvSpPr txBox="1">
            <a:spLocks/>
          </p:cNvSpPr>
          <p:nvPr/>
        </p:nvSpPr>
        <p:spPr>
          <a:xfrm>
            <a:off x="392112" y="190141"/>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4163734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9A6147-893C-41F4-B31A-3CF89EE711C2}"/>
              </a:ext>
            </a:extLst>
          </p:cNvPr>
          <p:cNvSpPr>
            <a:spLocks noGrp="1"/>
          </p:cNvSpPr>
          <p:nvPr>
            <p:ph type="title"/>
          </p:nvPr>
        </p:nvSpPr>
        <p:spPr>
          <a:xfrm>
            <a:off x="979940" y="434459"/>
            <a:ext cx="8279949" cy="594360"/>
          </a:xfrm>
        </p:spPr>
        <p:txBody>
          <a:bodyPr>
            <a:normAutofit/>
          </a:bodyPr>
          <a:lstStyle/>
          <a:p>
            <a:r>
              <a:rPr lang="en-US" sz="2400" b="1" cap="none" dirty="0">
                <a:solidFill>
                  <a:schemeClr val="tx2"/>
                </a:solidFill>
                <a:latin typeface="Arial" panose="020B0604020202020204" pitchFamily="34" charset="0"/>
                <a:ea typeface="Cambria" panose="02040503050406030204" pitchFamily="18" charset="0"/>
                <a:cs typeface="Arial" panose="020B0604020202020204" pitchFamily="34" charset="0"/>
              </a:rPr>
              <a:t>The Spanish Perspective - Special inbound regime</a:t>
            </a:r>
            <a:endParaRPr lang="es-ES" sz="2400" b="1" cap="none" dirty="0">
              <a:solidFill>
                <a:schemeClr val="tx2"/>
              </a:solidFill>
              <a:latin typeface="Arial" panose="020B0604020202020204" pitchFamily="34" charset="0"/>
              <a:ea typeface="Cambria" panose="02040503050406030204" pitchFamily="18" charset="0"/>
              <a:cs typeface="Arial" panose="020B0604020202020204" pitchFamily="34" charset="0"/>
            </a:endParaRPr>
          </a:p>
        </p:txBody>
      </p:sp>
      <p:sp>
        <p:nvSpPr>
          <p:cNvPr id="7" name="CuadroTexto 6">
            <a:extLst>
              <a:ext uri="{FF2B5EF4-FFF2-40B4-BE49-F238E27FC236}">
                <a16:creationId xmlns:a16="http://schemas.microsoft.com/office/drawing/2014/main" id="{F2671F26-5AB8-4EFC-8351-FC2944018436}"/>
              </a:ext>
            </a:extLst>
          </p:cNvPr>
          <p:cNvSpPr txBox="1"/>
          <p:nvPr/>
        </p:nvSpPr>
        <p:spPr>
          <a:xfrm>
            <a:off x="1595887" y="1226435"/>
            <a:ext cx="9397010" cy="3953005"/>
          </a:xfrm>
          <a:prstGeom prst="rect">
            <a:avLst/>
          </a:prstGeom>
          <a:noFill/>
        </p:spPr>
        <p:txBody>
          <a:bodyPr wrap="square">
            <a:spAutoFit/>
          </a:bodyPr>
          <a:lstStyle/>
          <a:p>
            <a:pPr marL="177800" indent="-177800">
              <a:buClr>
                <a:srgbClr val="57626F"/>
              </a:buClr>
              <a:buFont typeface="Arial" panose="020B0604020202020204" pitchFamily="34" charset="0"/>
              <a:buChar char="•"/>
              <a:defRPr sz="1800" b="0" i="0" u="none" strike="noStrike" kern="0" cap="none" spc="0" baseline="0">
                <a:solidFill>
                  <a:srgbClr val="000000"/>
                </a:solidFill>
                <a:uFillTx/>
              </a:defRPr>
            </a:pPr>
            <a:r>
              <a:rPr lang="en-US" sz="1400" kern="0" dirty="0">
                <a:latin typeface="Arial" panose="020B0604020202020204" pitchFamily="34" charset="0"/>
                <a:ea typeface="Cambria" panose="02040503050406030204" pitchFamily="18" charset="0"/>
                <a:cs typeface="Arial" panose="020B0604020202020204" pitchFamily="34" charset="0"/>
              </a:rPr>
              <a:t>In order to qualify for the special regime, certain </a:t>
            </a:r>
            <a:r>
              <a:rPr lang="en-US" sz="1400" u="sng" kern="0" dirty="0">
                <a:latin typeface="Arial" panose="020B0604020202020204" pitchFamily="34" charset="0"/>
                <a:ea typeface="Cambria" panose="02040503050406030204" pitchFamily="18" charset="0"/>
                <a:cs typeface="Arial" panose="020B0604020202020204" pitchFamily="34" charset="0"/>
              </a:rPr>
              <a:t>conditions</a:t>
            </a:r>
            <a:r>
              <a:rPr lang="en-US" sz="1400" kern="0" dirty="0">
                <a:latin typeface="Arial" panose="020B0604020202020204" pitchFamily="34" charset="0"/>
                <a:ea typeface="Cambria" panose="02040503050406030204" pitchFamily="18" charset="0"/>
                <a:cs typeface="Arial" panose="020B0604020202020204" pitchFamily="34" charset="0"/>
              </a:rPr>
              <a:t> must be met. </a:t>
            </a:r>
          </a:p>
          <a:p>
            <a:pPr marL="177800" indent="-177800">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kern="0" dirty="0">
              <a:latin typeface="Arial" panose="020B0604020202020204" pitchFamily="34" charset="0"/>
              <a:ea typeface="Cambria" panose="02040503050406030204" pitchFamily="18" charset="0"/>
              <a:cs typeface="Arial" panose="020B0604020202020204" pitchFamily="34" charset="0"/>
            </a:endParaRPr>
          </a:p>
          <a:p>
            <a:pPr marL="171450" indent="-171450">
              <a:buClr>
                <a:srgbClr val="57626F"/>
              </a:buClr>
              <a:buFont typeface="Arial" panose="020B0604020202020204" pitchFamily="34" charset="0"/>
              <a:buChar char="•"/>
              <a:defRPr sz="1800" b="0" i="0" u="none" strike="noStrike" kern="0" cap="none" spc="0" baseline="0">
                <a:solidFill>
                  <a:srgbClr val="000000"/>
                </a:solidFill>
                <a:uFillTx/>
              </a:defRPr>
            </a:pPr>
            <a:r>
              <a:rPr lang="en-US" sz="1400" kern="0" dirty="0">
                <a:latin typeface="Arial" panose="020B0604020202020204" pitchFamily="34" charset="0"/>
                <a:ea typeface="Cambria" panose="02040503050406030204" pitchFamily="18" charset="0"/>
                <a:cs typeface="Arial" panose="020B0604020202020204" pitchFamily="34" charset="0"/>
              </a:rPr>
              <a:t>It is </a:t>
            </a:r>
            <a:r>
              <a:rPr lang="en-US" sz="1400" b="1" kern="0" dirty="0">
                <a:latin typeface="Arial" panose="020B0604020202020204" pitchFamily="34" charset="0"/>
                <a:ea typeface="Cambria" panose="02040503050406030204" pitchFamily="18" charset="0"/>
                <a:cs typeface="Arial" panose="020B0604020202020204" pitchFamily="34" charset="0"/>
              </a:rPr>
              <a:t>NOT</a:t>
            </a:r>
            <a:r>
              <a:rPr lang="en-US" sz="1400" kern="0" dirty="0">
                <a:latin typeface="Arial" panose="020B0604020202020204" pitchFamily="34" charset="0"/>
                <a:ea typeface="Cambria" panose="02040503050406030204" pitchFamily="18" charset="0"/>
                <a:cs typeface="Arial" panose="020B0604020202020204" pitchFamily="34" charset="0"/>
              </a:rPr>
              <a:t> required to pay any annual forfeit.</a:t>
            </a:r>
            <a:endParaRPr lang="en-US" sz="1400" kern="0" dirty="0">
              <a:solidFill>
                <a:srgbClr val="FF0000"/>
              </a:solidFill>
              <a:latin typeface="Arial" panose="020B0604020202020204" pitchFamily="34" charset="0"/>
              <a:ea typeface="Cambria" panose="02040503050406030204" pitchFamily="18" charset="0"/>
              <a:cs typeface="Arial" panose="020B0604020202020204" pitchFamily="34" charset="0"/>
            </a:endParaRPr>
          </a:p>
          <a:p>
            <a:pPr marL="171450" indent="-171450">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kern="0" dirty="0">
              <a:latin typeface="Arial" panose="020B0604020202020204" pitchFamily="34" charset="0"/>
              <a:ea typeface="Cambria" panose="02040503050406030204" pitchFamily="18" charset="0"/>
              <a:cs typeface="Arial" panose="020B0604020202020204" pitchFamily="34" charset="0"/>
            </a:endParaRPr>
          </a:p>
          <a:p>
            <a:pPr marL="171450" indent="-171450">
              <a:buClr>
                <a:srgbClr val="57626F"/>
              </a:buClr>
              <a:buFont typeface="Arial" panose="020B0604020202020204" pitchFamily="34" charset="0"/>
              <a:buChar char="•"/>
              <a:defRPr sz="1800" b="0" i="0" u="none" strike="noStrike" kern="0" cap="none" spc="0" baseline="0">
                <a:solidFill>
                  <a:srgbClr val="000000"/>
                </a:solidFill>
                <a:uFillTx/>
              </a:defRPr>
            </a:pPr>
            <a:r>
              <a:rPr lang="en-US" sz="1400" kern="0" dirty="0">
                <a:solidFill>
                  <a:srgbClr val="000000"/>
                </a:solidFill>
                <a:latin typeface="Arial" panose="020B0604020202020204" pitchFamily="34" charset="0"/>
                <a:ea typeface="Cambria" panose="02040503050406030204" pitchFamily="18" charset="0"/>
                <a:cs typeface="Arial" panose="020B0604020202020204" pitchFamily="34" charset="0"/>
              </a:rPr>
              <a:t>Relevant amendments to this regime may</a:t>
            </a:r>
            <a:r>
              <a:rPr lang="en-US" sz="1400" kern="0" dirty="0">
                <a:latin typeface="Arial" panose="020B0604020202020204" pitchFamily="34" charset="0"/>
                <a:ea typeface="Cambria" panose="02040503050406030204" pitchFamily="18" charset="0"/>
                <a:cs typeface="Arial" panose="020B0604020202020204" pitchFamily="34" charset="0"/>
              </a:rPr>
              <a:t> be introduced as of 01/01/2023. Still pending to be passed.</a:t>
            </a:r>
          </a:p>
          <a:p>
            <a:pPr marL="171450" indent="-171450">
              <a:buClr>
                <a:srgbClr val="57626F"/>
              </a:buClr>
              <a:buFont typeface="Arial" panose="020B0604020202020204" pitchFamily="34" charset="0"/>
              <a:buChar char="•"/>
              <a:defRPr sz="1800" b="0" i="0" u="none" strike="noStrike" kern="0" cap="none" spc="0" baseline="0">
                <a:solidFill>
                  <a:srgbClr val="000000"/>
                </a:solidFill>
                <a:uFillTx/>
              </a:defRPr>
            </a:pPr>
            <a:endParaRPr lang="en-US" sz="1400" kern="0" dirty="0">
              <a:latin typeface="Arial" panose="020B0604020202020204" pitchFamily="34" charset="0"/>
              <a:ea typeface="Cambria" panose="02040503050406030204" pitchFamily="18" charset="0"/>
              <a:cs typeface="Arial" panose="020B0604020202020204" pitchFamily="34" charset="0"/>
            </a:endParaRPr>
          </a:p>
          <a:p>
            <a:pPr marL="171450" indent="-171450">
              <a:buClr>
                <a:srgbClr val="57626F"/>
              </a:buClr>
              <a:buFont typeface="Arial" panose="020B0604020202020204" pitchFamily="34" charset="0"/>
              <a:buChar char="•"/>
              <a:defRPr sz="1800" b="0" i="0" u="none" strike="noStrike" kern="0" cap="none" spc="0" baseline="0">
                <a:solidFill>
                  <a:srgbClr val="000000"/>
                </a:solidFill>
                <a:uFillTx/>
              </a:defRPr>
            </a:pPr>
            <a:r>
              <a:rPr lang="en-US" sz="1400" kern="0" dirty="0">
                <a:latin typeface="Arial" panose="020B0604020202020204" pitchFamily="34" charset="0"/>
                <a:ea typeface="Cambria" panose="02040503050406030204" pitchFamily="18" charset="0"/>
                <a:cs typeface="Arial" panose="020B0604020202020204" pitchFamily="34" charset="0"/>
              </a:rPr>
              <a:t>BUT </a:t>
            </a:r>
            <a:r>
              <a:rPr lang="en-US" sz="1400" kern="0" dirty="0">
                <a:latin typeface="Arial" panose="020B0604020202020204" pitchFamily="34" charset="0"/>
                <a:ea typeface="Cambria" panose="02040503050406030204" pitchFamily="18" charset="0"/>
                <a:cs typeface="Arial" panose="020B0604020202020204" pitchFamily="34" charset="0"/>
                <a:sym typeface="Wingdings" panose="05000000000000000000" pitchFamily="2" charset="2"/>
              </a:rPr>
              <a:t> the regime has been modified since it was first introduced: </a:t>
            </a:r>
          </a:p>
          <a:p>
            <a:pPr>
              <a:buClr>
                <a:srgbClr val="57626F"/>
              </a:buClr>
              <a:defRPr sz="1800" b="0" i="0" u="none" strike="noStrike" kern="0" cap="none" spc="0" baseline="0">
                <a:solidFill>
                  <a:srgbClr val="000000"/>
                </a:solidFill>
                <a:uFillTx/>
              </a:defRPr>
            </a:pPr>
            <a:endParaRPr lang="en-US" sz="1400" kern="0" dirty="0">
              <a:latin typeface="Arial" panose="020B0604020202020204" pitchFamily="34" charset="0"/>
              <a:ea typeface="Cambria" panose="02040503050406030204" pitchFamily="18" charset="0"/>
              <a:cs typeface="Arial" panose="020B0604020202020204" pitchFamily="34" charset="0"/>
              <a:sym typeface="Wingdings" panose="05000000000000000000" pitchFamily="2" charset="2"/>
            </a:endParaRPr>
          </a:p>
          <a:p>
            <a:pPr lvl="1" algn="just"/>
            <a:r>
              <a:rPr lang="en-US" altLang="es-ES" sz="1400" b="1" u="sng" dirty="0">
                <a:latin typeface="Arial" panose="020B0604020202020204" pitchFamily="34" charset="0"/>
                <a:ea typeface="Cambria" panose="02040503050406030204" pitchFamily="18" charset="0"/>
                <a:cs typeface="Arial" panose="020B0604020202020204" pitchFamily="34" charset="0"/>
              </a:rPr>
              <a:t>Before 2015</a:t>
            </a:r>
          </a:p>
          <a:p>
            <a:pPr lvl="1" algn="just"/>
            <a:endParaRPr lang="en-US" altLang="es-ES" sz="1400" dirty="0">
              <a:latin typeface="Arial" panose="020B0604020202020204" pitchFamily="34" charset="0"/>
              <a:ea typeface="Cambria" panose="02040503050406030204" pitchFamily="18" charset="0"/>
              <a:cs typeface="Arial" panose="020B0604020202020204" pitchFamily="34" charset="0"/>
            </a:endParaRPr>
          </a:p>
          <a:p>
            <a:pPr lvl="1" algn="just"/>
            <a:r>
              <a:rPr lang="en-US" altLang="es-ES" sz="1400" i="1" dirty="0">
                <a:latin typeface="Arial" panose="020B0604020202020204" pitchFamily="34" charset="0"/>
                <a:ea typeface="Cambria" panose="02040503050406030204" pitchFamily="18" charset="0"/>
                <a:cs typeface="Arial" panose="020B0604020202020204" pitchFamily="34" charset="0"/>
              </a:rPr>
              <a:t>“Employment income arising as a consequence of the employment or directorship relationship would be taxed in Spain”. </a:t>
            </a:r>
          </a:p>
          <a:p>
            <a:pPr lvl="1" algn="just"/>
            <a:r>
              <a:rPr lang="en-US" altLang="es-ES" sz="1400" i="1" dirty="0">
                <a:latin typeface="Arial" panose="020B0604020202020204" pitchFamily="34" charset="0"/>
                <a:ea typeface="Cambria" panose="02040503050406030204" pitchFamily="18" charset="0"/>
                <a:cs typeface="Arial" panose="020B0604020202020204" pitchFamily="34" charset="0"/>
              </a:rPr>
              <a:t>“Income obtained abroad cannot exceed the 15%/30% of the total remunerations obtained”. </a:t>
            </a:r>
          </a:p>
          <a:p>
            <a:pPr lvl="1" algn="just"/>
            <a:endParaRPr lang="en-US" altLang="es-ES" sz="1400" i="1" dirty="0">
              <a:latin typeface="Arial" panose="020B0604020202020204" pitchFamily="34" charset="0"/>
              <a:ea typeface="Cambria" panose="02040503050406030204" pitchFamily="18" charset="0"/>
              <a:cs typeface="Arial" panose="020B0604020202020204" pitchFamily="34" charset="0"/>
            </a:endParaRPr>
          </a:p>
          <a:p>
            <a:pPr lvl="1" algn="just"/>
            <a:r>
              <a:rPr lang="en-US" altLang="es-ES" sz="1400" b="1" u="sng" dirty="0">
                <a:latin typeface="Arial" panose="020B0604020202020204" pitchFamily="34" charset="0"/>
                <a:ea typeface="Cambria" panose="02040503050406030204" pitchFamily="18" charset="0"/>
                <a:cs typeface="Arial" panose="020B0604020202020204" pitchFamily="34" charset="0"/>
              </a:rPr>
              <a:t>From 2015 - currently</a:t>
            </a:r>
          </a:p>
          <a:p>
            <a:pPr lvl="1" algn="just"/>
            <a:endParaRPr lang="en-US" altLang="es-ES" sz="1400" i="1" dirty="0">
              <a:latin typeface="Arial" panose="020B0604020202020204" pitchFamily="34" charset="0"/>
              <a:ea typeface="Cambria" panose="02040503050406030204" pitchFamily="18" charset="0"/>
              <a:cs typeface="Arial" panose="020B0604020202020204" pitchFamily="34" charset="0"/>
            </a:endParaRPr>
          </a:p>
          <a:p>
            <a:pPr lvl="1" algn="just"/>
            <a:r>
              <a:rPr lang="en-US" altLang="es-ES" sz="1400" i="1" dirty="0">
                <a:latin typeface="Arial" panose="020B0604020202020204" pitchFamily="34" charset="0"/>
                <a:ea typeface="Cambria" panose="02040503050406030204" pitchFamily="18" charset="0"/>
                <a:cs typeface="Arial" panose="020B0604020202020204" pitchFamily="34" charset="0"/>
              </a:rPr>
              <a:t>“</a:t>
            </a:r>
            <a:r>
              <a:rPr lang="en-US" altLang="es-ES" sz="1400" i="1" u="sng" dirty="0">
                <a:latin typeface="Arial" panose="020B0604020202020204" pitchFamily="34" charset="0"/>
                <a:ea typeface="Cambria" panose="02040503050406030204" pitchFamily="18" charset="0"/>
                <a:cs typeface="Arial" panose="020B0604020202020204" pitchFamily="34" charset="0"/>
              </a:rPr>
              <a:t>The total </a:t>
            </a:r>
            <a:r>
              <a:rPr lang="en-US" altLang="es-ES" sz="1400" i="1" dirty="0">
                <a:latin typeface="Arial" panose="020B0604020202020204" pitchFamily="34" charset="0"/>
                <a:ea typeface="Cambria" panose="02040503050406030204" pitchFamily="18" charset="0"/>
                <a:cs typeface="Arial" panose="020B0604020202020204" pitchFamily="34" charset="0"/>
              </a:rPr>
              <a:t>amount of employment income received by the individual would be considered </a:t>
            </a:r>
            <a:r>
              <a:rPr lang="en-US" altLang="es-ES" sz="1400" i="1" u="sng" dirty="0">
                <a:latin typeface="Arial" panose="020B0604020202020204" pitchFamily="34" charset="0"/>
                <a:ea typeface="Cambria" panose="02040503050406030204" pitchFamily="18" charset="0"/>
                <a:cs typeface="Arial" panose="020B0604020202020204" pitchFamily="34" charset="0"/>
              </a:rPr>
              <a:t>as obtained in Spain”</a:t>
            </a:r>
            <a:endParaRPr lang="en-US" altLang="es-ES" sz="1400" i="1" dirty="0">
              <a:latin typeface="Arial" panose="020B0604020202020204" pitchFamily="34" charset="0"/>
              <a:ea typeface="Cambria" panose="02040503050406030204" pitchFamily="18" charset="0"/>
              <a:cs typeface="Arial" panose="020B0604020202020204" pitchFamily="34" charset="0"/>
            </a:endParaRPr>
          </a:p>
          <a:p>
            <a:pPr>
              <a:lnSpc>
                <a:spcPct val="120000"/>
              </a:lnSpc>
              <a:buClr>
                <a:srgbClr val="57626F"/>
              </a:buClr>
              <a:defRPr sz="1800" b="0" i="0" u="none" strike="noStrike" kern="0" cap="none" spc="0" baseline="0">
                <a:solidFill>
                  <a:srgbClr val="000000"/>
                </a:solidFill>
                <a:uFillTx/>
              </a:defRPr>
            </a:pPr>
            <a:endParaRPr lang="en-US" sz="1200" kern="0" dirty="0">
              <a:latin typeface="Verdana" panose="020B0604030504040204" pitchFamily="34" charset="0"/>
              <a:ea typeface="Verdana" panose="020B0604030504040204" pitchFamily="34" charset="0"/>
            </a:endParaRPr>
          </a:p>
        </p:txBody>
      </p:sp>
      <p:pic>
        <p:nvPicPr>
          <p:cNvPr id="3" name="Picture 2" descr="Attention Icon #383547 - Free Icons Library">
            <a:extLst>
              <a:ext uri="{FF2B5EF4-FFF2-40B4-BE49-F238E27FC236}">
                <a16:creationId xmlns:a16="http://schemas.microsoft.com/office/drawing/2014/main" id="{C6737442-2D36-1678-ECB8-BC5EE62D89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822" y="2036464"/>
            <a:ext cx="454068" cy="454068"/>
          </a:xfrm>
          <a:prstGeom prst="rect">
            <a:avLst/>
          </a:prstGeom>
          <a:noFill/>
          <a:extLst>
            <a:ext uri="{909E8E84-426E-40DD-AFC4-6F175D3DCCD1}">
              <a14:hiddenFill xmlns:a14="http://schemas.microsoft.com/office/drawing/2010/main">
                <a:solidFill>
                  <a:srgbClr val="FFFFFF"/>
                </a:solidFill>
              </a14:hiddenFill>
            </a:ext>
          </a:extLst>
        </p:spPr>
      </p:pic>
      <p:sp>
        <p:nvSpPr>
          <p:cNvPr id="5" name="Elipse 4">
            <a:extLst>
              <a:ext uri="{FF2B5EF4-FFF2-40B4-BE49-F238E27FC236}">
                <a16:creationId xmlns:a16="http://schemas.microsoft.com/office/drawing/2014/main" id="{BE86F248-E143-F6E4-6BF9-4358FC342722}"/>
              </a:ext>
            </a:extLst>
          </p:cNvPr>
          <p:cNvSpPr/>
          <p:nvPr/>
        </p:nvSpPr>
        <p:spPr>
          <a:xfrm>
            <a:off x="3420925" y="2846703"/>
            <a:ext cx="508818" cy="508818"/>
          </a:xfrm>
          <a:prstGeom prst="ellipse">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Elipse 5">
            <a:extLst>
              <a:ext uri="{FF2B5EF4-FFF2-40B4-BE49-F238E27FC236}">
                <a16:creationId xmlns:a16="http://schemas.microsoft.com/office/drawing/2014/main" id="{8B03C043-B7B4-0E0C-56DC-FB0E1289AF26}"/>
              </a:ext>
            </a:extLst>
          </p:cNvPr>
          <p:cNvSpPr/>
          <p:nvPr/>
        </p:nvSpPr>
        <p:spPr>
          <a:xfrm>
            <a:off x="4096436" y="4169718"/>
            <a:ext cx="508818" cy="508818"/>
          </a:xfrm>
          <a:prstGeom prst="ellipse">
            <a:avLst/>
          </a:prstGeom>
          <a:blipFill dpi="0" rotWithShape="1">
            <a:blip r:embed="rId4"/>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Bolha de Pensamento: Nuvem 21">
            <a:extLst>
              <a:ext uri="{FF2B5EF4-FFF2-40B4-BE49-F238E27FC236}">
                <a16:creationId xmlns:a16="http://schemas.microsoft.com/office/drawing/2014/main" id="{04FD8BA6-CE20-8918-BBDF-F16C3B01533A}"/>
              </a:ext>
            </a:extLst>
          </p:cNvPr>
          <p:cNvSpPr/>
          <p:nvPr/>
        </p:nvSpPr>
        <p:spPr>
          <a:xfrm>
            <a:off x="1791894" y="5185984"/>
            <a:ext cx="4120661" cy="1301684"/>
          </a:xfrm>
          <a:prstGeom prst="cloudCallout">
            <a:avLst>
              <a:gd name="adj1" fmla="val -70261"/>
              <a:gd name="adj2" fmla="val -16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ea typeface="Cambria" panose="02040503050406030204" pitchFamily="18" charset="0"/>
                <a:cs typeface="Arial" panose="020B0604020202020204" pitchFamily="34" charset="0"/>
              </a:rPr>
              <a:t>Which are the </a:t>
            </a:r>
            <a:r>
              <a:rPr lang="en-GB" b="1" dirty="0">
                <a:latin typeface="Arial" panose="020B0604020202020204" pitchFamily="34" charset="0"/>
                <a:ea typeface="Cambria" panose="02040503050406030204" pitchFamily="18" charset="0"/>
                <a:cs typeface="Arial" panose="020B0604020202020204" pitchFamily="34" charset="0"/>
              </a:rPr>
              <a:t>benefits</a:t>
            </a:r>
            <a:r>
              <a:rPr lang="en-GB" dirty="0">
                <a:latin typeface="Arial" panose="020B0604020202020204" pitchFamily="34" charset="0"/>
                <a:ea typeface="Cambria" panose="02040503050406030204" pitchFamily="18" charset="0"/>
                <a:cs typeface="Arial" panose="020B0604020202020204" pitchFamily="34" charset="0"/>
              </a:rPr>
              <a:t> of being taxed under this regime? </a:t>
            </a:r>
          </a:p>
        </p:txBody>
      </p:sp>
      <p:sp>
        <p:nvSpPr>
          <p:cNvPr id="9" name="Rectángulo 8">
            <a:extLst>
              <a:ext uri="{FF2B5EF4-FFF2-40B4-BE49-F238E27FC236}">
                <a16:creationId xmlns:a16="http://schemas.microsoft.com/office/drawing/2014/main" id="{948BFF23-140B-3515-1C88-6D6A5415B9E8}"/>
              </a:ext>
            </a:extLst>
          </p:cNvPr>
          <p:cNvSpPr/>
          <p:nvPr/>
        </p:nvSpPr>
        <p:spPr>
          <a:xfrm>
            <a:off x="6086338" y="4996033"/>
            <a:ext cx="5662069" cy="17161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n w="0"/>
              <a:noFill/>
              <a:effectLst>
                <a:outerShdw blurRad="38100" dist="25400" dir="5400000" algn="ctr" rotWithShape="0">
                  <a:srgbClr val="6E747A">
                    <a:alpha val="43000"/>
                  </a:srgbClr>
                </a:outerShdw>
              </a:effectLst>
            </a:endParaRPr>
          </a:p>
        </p:txBody>
      </p:sp>
      <p:sp>
        <p:nvSpPr>
          <p:cNvPr id="10" name="CuadroTexto 9">
            <a:extLst>
              <a:ext uri="{FF2B5EF4-FFF2-40B4-BE49-F238E27FC236}">
                <a16:creationId xmlns:a16="http://schemas.microsoft.com/office/drawing/2014/main" id="{23F97C04-1C77-A77E-6D4A-1905D62874A4}"/>
              </a:ext>
            </a:extLst>
          </p:cNvPr>
          <p:cNvSpPr txBox="1"/>
          <p:nvPr/>
        </p:nvSpPr>
        <p:spPr>
          <a:xfrm>
            <a:off x="6086338" y="5019404"/>
            <a:ext cx="5662069" cy="1692771"/>
          </a:xfrm>
          <a:prstGeom prst="rect">
            <a:avLst/>
          </a:prstGeom>
          <a:noFill/>
        </p:spPr>
        <p:txBody>
          <a:bodyPr wrap="square" rtlCol="0">
            <a:spAutoFit/>
          </a:bodyPr>
          <a:lstStyle/>
          <a:p>
            <a:pPr marL="285750" indent="-285750">
              <a:buFont typeface="Wingdings" panose="05000000000000000000" pitchFamily="2" charset="2"/>
              <a:buChar char="ü"/>
            </a:pP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It applies the year of acquiring the tax resident + </a:t>
            </a:r>
            <a:r>
              <a:rPr lang="en-AU" sz="1300" b="1" kern="0" dirty="0">
                <a:solidFill>
                  <a:srgbClr val="000000"/>
                </a:solidFill>
                <a:latin typeface="Arial" panose="020B0604020202020204" pitchFamily="34" charset="0"/>
                <a:ea typeface="Cambria" panose="02040503050406030204" pitchFamily="18" charset="0"/>
                <a:cs typeface="Arial" panose="020B0604020202020204" pitchFamily="34" charset="0"/>
              </a:rPr>
              <a:t>5 years</a:t>
            </a:r>
          </a:p>
          <a:p>
            <a:pPr marL="285750" indent="-285750">
              <a:buFont typeface="Wingdings" panose="05000000000000000000" pitchFamily="2" charset="2"/>
              <a:buChar char="ü"/>
            </a:pP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PIT: </a:t>
            </a:r>
            <a:r>
              <a:rPr lang="en-AU" sz="1300" b="1" kern="0" dirty="0">
                <a:solidFill>
                  <a:srgbClr val="000000"/>
                </a:solidFill>
                <a:latin typeface="Arial" panose="020B0604020202020204" pitchFamily="34" charset="0"/>
                <a:ea typeface="Cambria" panose="02040503050406030204" pitchFamily="18" charset="0"/>
                <a:cs typeface="Arial" panose="020B0604020202020204" pitchFamily="34" charset="0"/>
              </a:rPr>
              <a:t>0% taxation of foreign</a:t>
            </a: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 source </a:t>
            </a:r>
            <a:r>
              <a:rPr lang="en-AU" sz="1300" b="1" kern="0" dirty="0">
                <a:solidFill>
                  <a:srgbClr val="000000"/>
                </a:solidFill>
                <a:latin typeface="Arial" panose="020B0604020202020204" pitchFamily="34" charset="0"/>
                <a:ea typeface="Cambria" panose="02040503050406030204" pitchFamily="18" charset="0"/>
                <a:cs typeface="Arial" panose="020B0604020202020204" pitchFamily="34" charset="0"/>
              </a:rPr>
              <a:t>income</a:t>
            </a: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 (except employment income tax 24% up to 600k; 47% exceeding.</a:t>
            </a:r>
          </a:p>
          <a:p>
            <a:pPr marL="285750" indent="-285750">
              <a:buFont typeface="Wingdings" panose="05000000000000000000" pitchFamily="2" charset="2"/>
              <a:buChar char="ü"/>
            </a:pP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WT: only levied on net Spanish </a:t>
            </a:r>
            <a:r>
              <a:rPr lang="en-AU" sz="1300" i="1" kern="0" dirty="0">
                <a:solidFill>
                  <a:srgbClr val="000000"/>
                </a:solidFill>
                <a:latin typeface="Arial" panose="020B0604020202020204" pitchFamily="34" charset="0"/>
                <a:ea typeface="Cambria" panose="02040503050406030204" pitchFamily="18" charset="0"/>
                <a:cs typeface="Arial" panose="020B0604020202020204" pitchFamily="34" charset="0"/>
              </a:rPr>
              <a:t>situs </a:t>
            </a: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assets.</a:t>
            </a:r>
          </a:p>
          <a:p>
            <a:pPr marL="285750" indent="-285750">
              <a:buFont typeface="Wingdings" panose="05000000000000000000" pitchFamily="2" charset="2"/>
              <a:buChar char="ü"/>
            </a:pPr>
            <a:r>
              <a:rPr lang="en-AU" sz="1300" b="1" kern="0" dirty="0">
                <a:solidFill>
                  <a:srgbClr val="000000"/>
                </a:solidFill>
                <a:latin typeface="Arial" panose="020B0604020202020204" pitchFamily="34" charset="0"/>
                <a:ea typeface="Cambria" panose="02040503050406030204" pitchFamily="18" charset="0"/>
                <a:cs typeface="Arial" panose="020B0604020202020204" pitchFamily="34" charset="0"/>
              </a:rPr>
              <a:t>No disclosure </a:t>
            </a: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of assets held abroad.</a:t>
            </a:r>
          </a:p>
          <a:p>
            <a:pPr marL="285750" indent="-285750">
              <a:buFont typeface="Wingdings" panose="05000000000000000000" pitchFamily="2" charset="2"/>
              <a:buChar char="ü"/>
            </a:pP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Tax years of application of the regime are </a:t>
            </a:r>
            <a:r>
              <a:rPr lang="en-AU" sz="1300" b="1" kern="0" dirty="0">
                <a:solidFill>
                  <a:srgbClr val="000000"/>
                </a:solidFill>
                <a:latin typeface="Arial" panose="020B0604020202020204" pitchFamily="34" charset="0"/>
                <a:ea typeface="Cambria" panose="02040503050406030204" pitchFamily="18" charset="0"/>
                <a:cs typeface="Arial" panose="020B0604020202020204" pitchFamily="34" charset="0"/>
              </a:rPr>
              <a:t>disregarded</a:t>
            </a: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 for </a:t>
            </a:r>
            <a:r>
              <a:rPr lang="en-AU" sz="1300" b="1" kern="0" dirty="0">
                <a:solidFill>
                  <a:srgbClr val="000000"/>
                </a:solidFill>
                <a:latin typeface="Arial" panose="020B0604020202020204" pitchFamily="34" charset="0"/>
                <a:ea typeface="Cambria" panose="02040503050406030204" pitchFamily="18" charset="0"/>
                <a:cs typeface="Arial" panose="020B0604020202020204" pitchFamily="34" charset="0"/>
              </a:rPr>
              <a:t>exit tax </a:t>
            </a: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obligations.</a:t>
            </a:r>
          </a:p>
          <a:p>
            <a:pPr marL="285750" indent="-285750">
              <a:buFont typeface="Wingdings" panose="05000000000000000000" pitchFamily="2" charset="2"/>
              <a:buChar char="ü"/>
            </a:pPr>
            <a:r>
              <a:rPr lang="en-AU" sz="1300" kern="0" dirty="0">
                <a:solidFill>
                  <a:srgbClr val="000000"/>
                </a:solidFill>
                <a:latin typeface="Arial" panose="020B0604020202020204" pitchFamily="34" charset="0"/>
                <a:ea typeface="Cambria" panose="02040503050406030204" pitchFamily="18" charset="0"/>
                <a:cs typeface="Arial" panose="020B0604020202020204" pitchFamily="34" charset="0"/>
              </a:rPr>
              <a:t>IGT: no specific provisions. </a:t>
            </a:r>
          </a:p>
        </p:txBody>
      </p:sp>
      <p:pic>
        <p:nvPicPr>
          <p:cNvPr id="11" name="Imagen 10" descr="lener">
            <a:extLst>
              <a:ext uri="{FF2B5EF4-FFF2-40B4-BE49-F238E27FC236}">
                <a16:creationId xmlns:a16="http://schemas.microsoft.com/office/drawing/2014/main" id="{6419AB6E-74EA-47C9-8341-6B1940E067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406" y="257938"/>
            <a:ext cx="697459" cy="409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Untertitel 12">
            <a:extLst>
              <a:ext uri="{FF2B5EF4-FFF2-40B4-BE49-F238E27FC236}">
                <a16:creationId xmlns:a16="http://schemas.microsoft.com/office/drawing/2014/main" id="{49FF04DA-DD34-5142-DDF7-64B4B1C49836}"/>
              </a:ext>
            </a:extLst>
          </p:cNvPr>
          <p:cNvSpPr txBox="1">
            <a:spLocks/>
          </p:cNvSpPr>
          <p:nvPr/>
        </p:nvSpPr>
        <p:spPr>
          <a:xfrm>
            <a:off x="979940" y="171677"/>
            <a:ext cx="9360000" cy="244624"/>
          </a:xfrm>
          <a:prstGeom prst="rect">
            <a:avLst/>
          </a:prstGeom>
        </p:spPr>
        <p:txBody>
          <a:bodyPr/>
          <a:lstStyle>
            <a:lvl1pPr marL="266693" indent="-266693" algn="l" defTabSz="914377"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541325" indent="-274632"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2pPr>
            <a:lvl3pPr marL="808018"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3pPr>
            <a:lvl4pPr marL="1074712" indent="-266693"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1339817" indent="-265107" algn="l" defTabSz="914377"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Mobility of HNWI</a:t>
            </a:r>
          </a:p>
        </p:txBody>
      </p:sp>
    </p:spTree>
    <p:extLst>
      <p:ext uri="{BB962C8B-B14F-4D97-AF65-F5344CB8AC3E}">
        <p14:creationId xmlns:p14="http://schemas.microsoft.com/office/powerpoint/2010/main" val="393422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_DEF" val="2057"/>
  <p:tag name="LANG_NAME" val="English UK"/>
  <p:tag name="DES2LAYOUTCOUNT" val="24"/>
  <p:tag name="DES3LAYOUTCOUNT" val="24"/>
  <p:tag name="MASTCOUNT" val="1"/>
  <p:tag name="DES1LAYOUTCOUNT" val="28"/>
  <p:tag name="LINGO_COUNT" val="54"/>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3.xml><?xml version="1.0" encoding="utf-8"?>
<p:tagLst xmlns:a="http://schemas.openxmlformats.org/drawingml/2006/main" xmlns:r="http://schemas.openxmlformats.org/officeDocument/2006/relationships" xmlns:p="http://schemas.openxmlformats.org/presentationml/2006/main">
  <p:tag name="SHAPETYPE" val="Logo"/>
</p:tagLst>
</file>

<file path=ppt/tags/tag1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5.xml><?xml version="1.0" encoding="utf-8"?>
<p:tagLst xmlns:a="http://schemas.openxmlformats.org/drawingml/2006/main" xmlns:r="http://schemas.openxmlformats.org/officeDocument/2006/relationships" xmlns:p="http://schemas.openxmlformats.org/presentationml/2006/main">
  <p:tag name="SHAPETYPE" val="Logo"/>
</p:tagLst>
</file>

<file path=ppt/tags/tag106.xml><?xml version="1.0" encoding="utf-8"?>
<p:tagLst xmlns:a="http://schemas.openxmlformats.org/drawingml/2006/main" xmlns:r="http://schemas.openxmlformats.org/officeDocument/2006/relationships" xmlns:p="http://schemas.openxmlformats.org/presentationml/2006/main">
  <p:tag name="SHAPETYPE" val="Logo"/>
</p:tagLst>
</file>

<file path=ppt/tags/tag10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8.xml><?xml version="1.0" encoding="utf-8"?>
<p:tagLst xmlns:a="http://schemas.openxmlformats.org/drawingml/2006/main" xmlns:r="http://schemas.openxmlformats.org/officeDocument/2006/relationships" xmlns:p="http://schemas.openxmlformats.org/presentationml/2006/main">
  <p:tag name="SHAPETYPE" val="Logo"/>
</p:tagLst>
</file>

<file path=ppt/tags/tag109.xml><?xml version="1.0" encoding="utf-8"?>
<p:tagLst xmlns:a="http://schemas.openxmlformats.org/drawingml/2006/main" xmlns:r="http://schemas.openxmlformats.org/officeDocument/2006/relationships" xmlns:p="http://schemas.openxmlformats.org/presentationml/2006/main">
  <p:tag name="SHAPETYPE" val="Logo"/>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1.xml><?xml version="1.0" encoding="utf-8"?>
<p:tagLst xmlns:a="http://schemas.openxmlformats.org/drawingml/2006/main" xmlns:r="http://schemas.openxmlformats.org/officeDocument/2006/relationships" xmlns:p="http://schemas.openxmlformats.org/presentationml/2006/main">
  <p:tag name="SHAPETYPE" val="Logo"/>
</p:tagLst>
</file>

<file path=ppt/tags/tag1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5.xml><?xml version="1.0" encoding="utf-8"?>
<p:tagLst xmlns:a="http://schemas.openxmlformats.org/drawingml/2006/main" xmlns:r="http://schemas.openxmlformats.org/officeDocument/2006/relationships" xmlns:p="http://schemas.openxmlformats.org/presentationml/2006/main">
  <p:tag name="SHAPETYPE" val="Logo"/>
</p:tagLst>
</file>

<file path=ppt/tags/tag1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8.xml><?xml version="1.0" encoding="utf-8"?>
<p:tagLst xmlns:a="http://schemas.openxmlformats.org/drawingml/2006/main" xmlns:r="http://schemas.openxmlformats.org/officeDocument/2006/relationships" xmlns:p="http://schemas.openxmlformats.org/presentationml/2006/main">
  <p:tag name="SHAPETYPE" val="Logo"/>
</p:tagLst>
</file>

<file path=ppt/tags/tag13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TYPE" val="Logo"/>
</p:tagLst>
</file>

<file path=ppt/tags/tag14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4.xml><?xml version="1.0" encoding="utf-8"?>
<p:tagLst xmlns:a="http://schemas.openxmlformats.org/drawingml/2006/main" xmlns:r="http://schemas.openxmlformats.org/officeDocument/2006/relationships" xmlns:p="http://schemas.openxmlformats.org/presentationml/2006/main">
  <p:tag name="SHAPETYPE" val="Logo"/>
</p:tagLst>
</file>

<file path=ppt/tags/tag14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6.xml><?xml version="1.0" encoding="utf-8"?>
<p:tagLst xmlns:a="http://schemas.openxmlformats.org/drawingml/2006/main" xmlns:r="http://schemas.openxmlformats.org/officeDocument/2006/relationships" xmlns:p="http://schemas.openxmlformats.org/presentationml/2006/main">
  <p:tag name="SHAPETYPE" val="Logo"/>
</p:tagLst>
</file>

<file path=ppt/tags/tag1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8.xml><?xml version="1.0" encoding="utf-8"?>
<p:tagLst xmlns:a="http://schemas.openxmlformats.org/drawingml/2006/main" xmlns:r="http://schemas.openxmlformats.org/officeDocument/2006/relationships" xmlns:p="http://schemas.openxmlformats.org/presentationml/2006/main">
  <p:tag name="SHAPETYPE" val="Logo"/>
</p:tagLst>
</file>

<file path=ppt/tags/tag14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5.xml><?xml version="1.0" encoding="utf-8"?>
<p:tagLst xmlns:a="http://schemas.openxmlformats.org/drawingml/2006/main" xmlns:r="http://schemas.openxmlformats.org/officeDocument/2006/relationships" xmlns:p="http://schemas.openxmlformats.org/presentationml/2006/main">
  <p:tag name="SHAPETYPE" val="Logo"/>
</p:tagLst>
</file>

<file path=ppt/tags/tag1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7.xml><?xml version="1.0" encoding="utf-8"?>
<p:tagLst xmlns:a="http://schemas.openxmlformats.org/drawingml/2006/main" xmlns:r="http://schemas.openxmlformats.org/officeDocument/2006/relationships" xmlns:p="http://schemas.openxmlformats.org/presentationml/2006/main">
  <p:tag name="SHAPETYPE" val="Logo"/>
</p:tagLst>
</file>

<file path=ppt/tags/tag16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9.xml><?xml version="1.0" encoding="utf-8"?>
<p:tagLst xmlns:a="http://schemas.openxmlformats.org/drawingml/2006/main" xmlns:r="http://schemas.openxmlformats.org/officeDocument/2006/relationships" xmlns:p="http://schemas.openxmlformats.org/presentationml/2006/main">
  <p:tag name="SHAPETYPE" val="Logo"/>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1.xml><?xml version="1.0" encoding="utf-8"?>
<p:tagLst xmlns:a="http://schemas.openxmlformats.org/drawingml/2006/main" xmlns:r="http://schemas.openxmlformats.org/officeDocument/2006/relationships" xmlns:p="http://schemas.openxmlformats.org/presentationml/2006/main">
  <p:tag name="SHAPETYPE" val="Logo"/>
</p:tagLst>
</file>

<file path=ppt/tags/tag17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3.xml><?xml version="1.0" encoding="utf-8"?>
<p:tagLst xmlns:a="http://schemas.openxmlformats.org/drawingml/2006/main" xmlns:r="http://schemas.openxmlformats.org/officeDocument/2006/relationships" xmlns:p="http://schemas.openxmlformats.org/presentationml/2006/main">
  <p:tag name="SHAPETYPE" val="Logo"/>
</p:tagLst>
</file>

<file path=ppt/tags/tag17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7.xml><?xml version="1.0" encoding="utf-8"?>
<p:tagLst xmlns:a="http://schemas.openxmlformats.org/drawingml/2006/main" xmlns:r="http://schemas.openxmlformats.org/officeDocument/2006/relationships" xmlns:p="http://schemas.openxmlformats.org/presentationml/2006/main">
  <p:tag name="SHAPETYPE" val="Logo"/>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irzq0hOEp0yZkFu9jXDuVQ"/>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T">
  <a:themeElements>
    <a:clrScheme name="WT Sage Green">
      <a:dk1>
        <a:srgbClr val="000000"/>
      </a:dk1>
      <a:lt1>
        <a:srgbClr val="FFFFFF"/>
      </a:lt1>
      <a:dk2>
        <a:srgbClr val="B9B9B9"/>
      </a:dk2>
      <a:lt2>
        <a:srgbClr val="F0F0F0"/>
      </a:lt2>
      <a:accent1>
        <a:srgbClr val="999999"/>
      </a:accent1>
      <a:accent2>
        <a:srgbClr val="46968C"/>
      </a:accent2>
      <a:accent3>
        <a:srgbClr val="F0F0F0"/>
      </a:accent3>
      <a:accent4>
        <a:srgbClr val="E3E3E3"/>
      </a:accent4>
      <a:accent5>
        <a:srgbClr val="B9B9B9"/>
      </a:accent5>
      <a:accent6>
        <a:srgbClr val="000000"/>
      </a:accent6>
      <a:hlink>
        <a:srgbClr val="999999"/>
      </a:hlink>
      <a:folHlink>
        <a:srgbClr val="9999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46968C"/>
        </a:solidFill>
        <a:ln>
          <a:noFill/>
        </a:ln>
      </a:spPr>
      <a:bodyPr rtlCol="0" anchor="ctr"/>
      <a:lstStyle>
        <a:defPPr algn="ctr">
          <a:defRPr b="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WT Sage Green">
      <a:srgbClr val="46968C"/>
    </a:custClr>
    <a:custClr name="WT Red">
      <a:srgbClr val="EB504B"/>
    </a:custClr>
    <a:custClr name="WT Sea Blue">
      <a:srgbClr val="5087DC"/>
    </a:custClr>
    <a:custClr name="WT Lilac">
      <a:srgbClr val="8787D2"/>
    </a:custClr>
    <a:custClr name="WT Pistachio Green">
      <a:srgbClr val="7DC896"/>
    </a:custClr>
    <a:custClr name="WT Sky Blue">
      <a:srgbClr val="82C8FA"/>
    </a:custClr>
    <a:custClr name="WT Yellow">
      <a:srgbClr val="FFE178"/>
    </a:custClr>
    <a:custClr name="WT Grey">
      <a:srgbClr val="B9B9B9"/>
    </a:custClr>
    <a:custClr name="WT Soft Pink">
      <a:srgbClr val="D2AABE"/>
    </a:custClr>
    <a:custClr name="WT Melon">
      <a:srgbClr val="FF825A"/>
    </a:custClr>
  </a:custClrLst>
  <a:extLst>
    <a:ext uri="{05A4C25C-085E-4340-85A3-A5531E510DB2}">
      <thm15:themeFamily xmlns:thm15="http://schemas.microsoft.com/office/thememl/2012/main" name="WT_Example Slides_new.potx" id="{EB06AB61-50A4-4A5E-A052-A67DAC0FC1C9}" vid="{29376310-9457-498E-B126-1E7784B32CC8}"/>
    </a:ext>
  </a:extLst>
</a:theme>
</file>

<file path=ppt/theme/theme2.xml><?xml version="1.0" encoding="utf-8"?>
<a:theme xmlns:a="http://schemas.openxmlformats.org/drawingml/2006/main" name="PitchPerfect 2">
  <a:themeElements>
    <a:clrScheme name="Mathesons">
      <a:dk1>
        <a:srgbClr val="505050"/>
      </a:dk1>
      <a:lt1>
        <a:sysClr val="window" lastClr="FFFFFF"/>
      </a:lt1>
      <a:dk2>
        <a:srgbClr val="E60000"/>
      </a:dk2>
      <a:lt2>
        <a:srgbClr val="CCCCCC"/>
      </a:lt2>
      <a:accent1>
        <a:srgbClr val="8C8C8C"/>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Mathesons">
      <a:majorFont>
        <a:latin typeface="Corporate S"/>
        <a:ea typeface=""/>
        <a:cs typeface=""/>
      </a:majorFont>
      <a:minorFont>
        <a:latin typeface="Corporate 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TemplatePresentationStyle.potx" id="{5ADABF3C-BC04-457E-9DA7-ADD32DA78F64}" vid="{1516B371-B23B-43D5-8298-FDAF98C027D6}"/>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Homburger">
  <a:themeElements>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fontScheme name="Homburger">
      <a:majorFont>
        <a:latin typeface="Aktiv Grotesk Homburger"/>
        <a:ea typeface=""/>
        <a:cs typeface=""/>
      </a:majorFont>
      <a:minorFont>
        <a:latin typeface="Aktiv Grotesk Homburg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w="19050">
          <a:solidFill>
            <a:srgbClr val="969696"/>
          </a:solidFill>
        </a:ln>
      </a:spPr>
      <a:bodyPr rtlCol="0" anchor="ctr"/>
      <a:lstStyle>
        <a:defPPr algn="ctr">
          <a:defRPr sz="12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969696"/>
          </a:solidFill>
          <a:headEnd type="none"/>
          <a:tailEnd type="none" w="sm" len="sm"/>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raClrScheme>
      <a:clrScheme name="HOM Blue">
        <a:dk1>
          <a:sysClr val="windowText" lastClr="000000"/>
        </a:dk1>
        <a:lt1>
          <a:sysClr val="window" lastClr="FFFFFF"/>
        </a:lt1>
        <a:dk2>
          <a:srgbClr val="46B4D7"/>
        </a:dk2>
        <a:lt2>
          <a:srgbClr val="46B4D7"/>
        </a:lt2>
        <a:accent1>
          <a:srgbClr val="46CFF0"/>
        </a:accent1>
        <a:accent2>
          <a:srgbClr val="9664E1"/>
        </a:accent2>
        <a:accent3>
          <a:srgbClr val="FF7382"/>
        </a:accent3>
        <a:accent4>
          <a:srgbClr val="3F42FF"/>
        </a:accent4>
        <a:accent5>
          <a:srgbClr val="28E6A5"/>
        </a:accent5>
        <a:accent6>
          <a:srgbClr val="FFA65F"/>
        </a:accent6>
        <a:hlink>
          <a:srgbClr val="46B4D7"/>
        </a:hlink>
        <a:folHlink>
          <a:srgbClr val="B4E1EF"/>
        </a:folHlink>
      </a:clrScheme>
    </a:extraClrScheme>
    <a:extraClrScheme>
      <a:clrScheme name="HOM Green">
        <a:dk1>
          <a:sysClr val="windowText" lastClr="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extraClrScheme>
    <a:extraClrScheme>
      <a:clrScheme name="HOM Red">
        <a:dk1>
          <a:sysClr val="windowText" lastClr="000000"/>
        </a:dk1>
        <a:lt1>
          <a:sysClr val="window" lastClr="FFFFFF"/>
        </a:lt1>
        <a:dk2>
          <a:srgbClr val="FF7382"/>
        </a:dk2>
        <a:lt2>
          <a:srgbClr val="FF7382"/>
        </a:lt2>
        <a:accent1>
          <a:srgbClr val="FF7382"/>
        </a:accent1>
        <a:accent2>
          <a:srgbClr val="46CFF0"/>
        </a:accent2>
        <a:accent3>
          <a:srgbClr val="9664E1"/>
        </a:accent3>
        <a:accent4>
          <a:srgbClr val="28E6A5"/>
        </a:accent4>
        <a:accent5>
          <a:srgbClr val="3F42FF"/>
        </a:accent5>
        <a:accent6>
          <a:srgbClr val="FFA65F"/>
        </a:accent6>
        <a:hlink>
          <a:srgbClr val="FF7382"/>
        </a:hlink>
        <a:folHlink>
          <a:srgbClr val="FFC7CD"/>
        </a:folHlink>
      </a:clrScheme>
    </a:extraClrScheme>
    <a:extraClrScheme>
      <a:clrScheme name="HOM Violet">
        <a:dk1>
          <a:sysClr val="windowText" lastClr="000000"/>
        </a:dk1>
        <a:lt1>
          <a:sysClr val="window" lastClr="FFFFFF"/>
        </a:lt1>
        <a:dk2>
          <a:srgbClr val="9664E1"/>
        </a:dk2>
        <a:lt2>
          <a:srgbClr val="9664E1"/>
        </a:lt2>
        <a:accent1>
          <a:srgbClr val="9664E1"/>
        </a:accent1>
        <a:accent2>
          <a:srgbClr val="46CFF0"/>
        </a:accent2>
        <a:accent3>
          <a:srgbClr val="9664E1"/>
        </a:accent3>
        <a:accent4>
          <a:srgbClr val="28E6A5"/>
        </a:accent4>
        <a:accent5>
          <a:srgbClr val="3F42FF"/>
        </a:accent5>
        <a:accent6>
          <a:srgbClr val="FFA65F"/>
        </a:accent6>
        <a:hlink>
          <a:srgbClr val="9664E1"/>
        </a:hlink>
        <a:folHlink>
          <a:srgbClr val="D5C1F2"/>
        </a:folHlink>
      </a:clrScheme>
    </a:extraClrScheme>
  </a:extraClrSchemeLst>
  <a:custClrLst>
    <a:custClr name="Grey">
      <a:srgbClr val="969696"/>
    </a:custClr>
    <a:custClr name="Light Grey">
      <a:srgbClr val="F0F0F0"/>
    </a:custClr>
    <a:custClr name="Dark Blue">
      <a:srgbClr val="3F42FF"/>
    </a:custClr>
    <a:custClr name="Orange">
      <a:srgbClr val="FFA65F"/>
    </a:custClr>
    <a:custClr name="Sand">
      <a:srgbClr val="DCD7C8"/>
    </a:custClr>
    <a:custClr name="Dark Grey">
      <a:srgbClr val="505050"/>
    </a:custClr>
  </a:custClrLst>
  <a:extLst>
    <a:ext uri="{05A4C25C-085E-4340-85A3-A5531E510DB2}">
      <thm15:themeFamily xmlns:thm15="http://schemas.microsoft.com/office/thememl/2012/main" name="Homburger_169_20210823(1).potx" id="{FBDF2785-AF49-462D-87F9-5A3DD034E377}" vid="{5B4A52D4-3E26-411D-A590-7651A7CC3333}"/>
    </a:ext>
  </a:extLst>
</a:theme>
</file>

<file path=ppt/theme/theme6.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0.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1.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2.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3.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4.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5.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6.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7.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8.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19.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0.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1.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2.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3.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4.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5.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6.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7.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8.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29.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0.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1.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2.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3.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4.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5.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6.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7.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8.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39.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0.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1.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2.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3.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4.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5.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6.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7.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8.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49.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0.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1.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2.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3.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4.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5.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6.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7.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8.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59.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6.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7.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8.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ppt/theme/themeOverride9.xml><?xml version="1.0" encoding="utf-8"?>
<a:themeOverride xmlns:a="http://schemas.openxmlformats.org/drawingml/2006/main">
  <a:clrScheme name="Homburger - Green">
    <a:dk1>
      <a:srgbClr val="000000"/>
    </a:dk1>
    <a:lt1>
      <a:sysClr val="window" lastClr="FFFFFF"/>
    </a:lt1>
    <a:dk2>
      <a:srgbClr val="28C591"/>
    </a:dk2>
    <a:lt2>
      <a:srgbClr val="28C591"/>
    </a:lt2>
    <a:accent1>
      <a:srgbClr val="28E6A5"/>
    </a:accent1>
    <a:accent2>
      <a:srgbClr val="3F42FF"/>
    </a:accent2>
    <a:accent3>
      <a:srgbClr val="FF7382"/>
    </a:accent3>
    <a:accent4>
      <a:srgbClr val="46CFF0"/>
    </a:accent4>
    <a:accent5>
      <a:srgbClr val="9664E1"/>
    </a:accent5>
    <a:accent6>
      <a:srgbClr val="FFA65F"/>
    </a:accent6>
    <a:hlink>
      <a:srgbClr val="28C591"/>
    </a:hlink>
    <a:folHlink>
      <a:srgbClr val="A4ECD4"/>
    </a:folHlink>
  </a:clrScheme>
</a:themeOverride>
</file>

<file path=customXML/item.xml>��< ? x m l   v e r s i o n = " 1 . 0 "   e n c o d i n g = " u t f - 1 6 " ? >  
 < p r o p e r t i e s   x m l n s = " h t t p : / / w w w . i m a n a g e . c o m / w o r k / x m l s c h e m a " >  
     < d o c u m e n t i d > P E R S O E N L I C H ! 1 2 9 4 5 4 4 . 2 < / d o c u m e n t i d >  
     < s e n d e r i d > M W P < / s e n d e r i d >  
     < s e n d e r e m a i l > P I A . M O S S E R @ H O M B U R G E R . C H < / s e n d e r e m a i l >  
     < l a s t m o d i f i e d > 2 0 2 2 - 0 9 - 1 2 T 0 8 : 0 1 : 5 5 . 0 0 0 0 0 0 0 + 0 2 : 0 0 < / l a s t m o d i f i e d >  
     < d a t a b a s e > P E R S O E N L I C H < / d a t a b a s e >  
 < / p r o p e r t i e s > 
</file>

<file path=docProps/app.xml><?xml version="1.0" encoding="utf-8"?>
<Properties xmlns="http://schemas.openxmlformats.org/officeDocument/2006/extended-properties" xmlns:vt="http://schemas.openxmlformats.org/officeDocument/2006/docPropsVTypes">
  <Template>WT_Example Slides_new</Template>
  <TotalTime>0</TotalTime>
  <Words>4690</Words>
  <Application>Microsoft Office PowerPoint</Application>
  <PresentationFormat>Breitbild</PresentationFormat>
  <Paragraphs>477</Paragraphs>
  <Slides>33</Slides>
  <Notes>5</Notes>
  <HiddenSlides>0</HiddenSlides>
  <MMClips>0</MMClips>
  <ScaleCrop>false</ScaleCrop>
  <HeadingPairs>
    <vt:vector size="8" baseType="variant">
      <vt:variant>
        <vt:lpstr>Verwendete Schriftarten</vt:lpstr>
      </vt:variant>
      <vt:variant>
        <vt:i4>14</vt:i4>
      </vt:variant>
      <vt:variant>
        <vt:lpstr>Design</vt:lpstr>
      </vt:variant>
      <vt:variant>
        <vt:i4>7</vt:i4>
      </vt:variant>
      <vt:variant>
        <vt:lpstr>Eingebettete OLE-Server</vt:lpstr>
      </vt:variant>
      <vt:variant>
        <vt:i4>1</vt:i4>
      </vt:variant>
      <vt:variant>
        <vt:lpstr>Folientitel</vt:lpstr>
      </vt:variant>
      <vt:variant>
        <vt:i4>33</vt:i4>
      </vt:variant>
    </vt:vector>
  </HeadingPairs>
  <TitlesOfParts>
    <vt:vector size="55" baseType="lpstr">
      <vt:lpstr>Aktiv Grotesk Homburger</vt:lpstr>
      <vt:lpstr>Aldhabi</vt:lpstr>
      <vt:lpstr>Arial</vt:lpstr>
      <vt:lpstr>Bebas Neue Bold</vt:lpstr>
      <vt:lpstr>Calibri</vt:lpstr>
      <vt:lpstr>Calibri Light</vt:lpstr>
      <vt:lpstr>Cambria</vt:lpstr>
      <vt:lpstr>Corbel</vt:lpstr>
      <vt:lpstr>Corporate S</vt:lpstr>
      <vt:lpstr>Corporate S Light</vt:lpstr>
      <vt:lpstr>Courier New</vt:lpstr>
      <vt:lpstr>Georgia</vt:lpstr>
      <vt:lpstr>Verdana</vt:lpstr>
      <vt:lpstr>Wingdings</vt:lpstr>
      <vt:lpstr>WT</vt:lpstr>
      <vt:lpstr>PitchPerfect 2</vt:lpstr>
      <vt:lpstr>Custom Design</vt:lpstr>
      <vt:lpstr>1_Custom Design</vt:lpstr>
      <vt:lpstr>Homburger</vt:lpstr>
      <vt:lpstr>2_Custom Design</vt:lpstr>
      <vt:lpstr>3_Custom Design</vt:lpstr>
      <vt:lpstr>think-cell Folie</vt:lpstr>
      <vt:lpstr>PowerPoint-Präsentation</vt:lpstr>
      <vt:lpstr>Mobility of HNWI after the pandemic:            Tax preferential regimes and application of    tax treaties</vt:lpstr>
      <vt:lpstr>Our 5 goals for this session</vt:lpstr>
      <vt:lpstr>Migration Trends, Outflows and Inflows</vt:lpstr>
      <vt:lpstr>Setting the Scene</vt:lpstr>
      <vt:lpstr>Setting the Scene</vt:lpstr>
      <vt:lpstr>Setting the Scene</vt:lpstr>
      <vt:lpstr>Case Study 1 – The Residence Perspective</vt:lpstr>
      <vt:lpstr>The Spanish Perspective - Special inbound regime</vt:lpstr>
      <vt:lpstr>The Spanish Perspective – Practical approach</vt:lpstr>
      <vt:lpstr>The Spanish Perspective – Outbound cases</vt:lpstr>
      <vt:lpstr>PowerPoint-Präsentation</vt:lpstr>
      <vt:lpstr>PowerPoint-Präsentation</vt:lpstr>
      <vt:lpstr>Lump-sum taxation and residence</vt:lpstr>
      <vt:lpstr>Lump-sum taxation and treaty relief</vt:lpstr>
      <vt:lpstr>Lump-sum taxation and information exchange</vt:lpstr>
      <vt:lpstr>Case Study 2 – The Source Perspective</vt:lpstr>
      <vt:lpstr>PowerPoint-Präsentation</vt:lpstr>
      <vt:lpstr>PowerPoint-Präsentation</vt:lpstr>
      <vt:lpstr>PowerPoint-Präsentation</vt:lpstr>
      <vt:lpstr>PowerPoint-Präsentation</vt:lpstr>
      <vt:lpstr>PowerPoint-Präsentation</vt:lpstr>
      <vt:lpstr>The new German exit taxation | Overview</vt:lpstr>
      <vt:lpstr>Optimization strategies| Management Holding </vt:lpstr>
      <vt:lpstr>Alternative strategy | Foundation   </vt:lpstr>
      <vt:lpstr>Preliminary conclusions</vt:lpstr>
      <vt:lpstr>Mobility of HNWI: Appendix (Spain, Portugal, Switzerland)</vt:lpstr>
      <vt:lpstr>Spain – special tax regime</vt:lpstr>
      <vt:lpstr>Portuguese NHR regime</vt:lpstr>
      <vt:lpstr>Portuguese NHR regime</vt:lpstr>
      <vt:lpstr>Lump-sum taxation in Switzerland</vt:lpstr>
      <vt:lpstr>Calculation of lump-sum tax basi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Schmidt, Niklas</dc:creator>
  <cp:lastModifiedBy>MWP</cp:lastModifiedBy>
  <cp:revision>63</cp:revision>
  <cp:lastPrinted>2022-04-05T18:59:40Z</cp:lastPrinted>
  <dcterms:created xsi:type="dcterms:W3CDTF">2022-04-05T10:44:04Z</dcterms:created>
  <dcterms:modified xsi:type="dcterms:W3CDTF">2022-09-12T06:01:55Z</dcterms:modified>
</cp:coreProperties>
</file>